
<file path=[Content_Types].xml><?xml version="1.0" encoding="utf-8"?>
<Types xmlns="http://schemas.openxmlformats.org/package/2006/content-types">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1.xml" ContentType="application/vnd.openxmlformats-officedocument.presentationml.notesSlide+xml"/>
  <Override PartName="/ppt/tags/tag9.xml" ContentType="application/vnd.openxmlformats-officedocument.presentationml.tags+xml"/>
  <Override PartName="/ppt/notesSlides/notesSlide22.xml" ContentType="application/vnd.openxmlformats-officedocument.presentationml.notesSlide+xml"/>
  <Override PartName="/ppt/tags/tag10.xml" ContentType="application/vnd.openxmlformats-officedocument.presentationml.tags+xml"/>
  <Override PartName="/ppt/notesSlides/notesSlide23.xml" ContentType="application/vnd.openxmlformats-officedocument.presentationml.notesSlide+xml"/>
  <Override PartName="/ppt/tags/tag1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4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16.xml" ContentType="application/vnd.openxmlformats-officedocument.presentationml.tags+xml"/>
  <Override PartName="/ppt/notesSlides/notesSlide4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4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5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59.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60.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61.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62.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23.xml" ContentType="application/vnd.openxmlformats-officedocument.presentationml.tags+xml"/>
  <Override PartName="/ppt/tags/tag24.xml" ContentType="application/vnd.openxmlformats-officedocument.presentationml.tags+xml"/>
  <Override PartName="/ppt/notesSlides/notesSlide6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6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70.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71.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72.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75.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tags/tag29.xml" ContentType="application/vnd.openxmlformats-officedocument.presentationml.tags+xml"/>
  <Override PartName="/ppt/tags/tag30.xml" ContentType="application/vnd.openxmlformats-officedocument.presentationml.tags+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78.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2"/>
  </p:sldMasterIdLst>
  <p:notesMasterIdLst>
    <p:notesMasterId r:id="rId96"/>
  </p:notesMasterIdLst>
  <p:handoutMasterIdLst>
    <p:handoutMasterId r:id="rId97"/>
  </p:handoutMasterIdLst>
  <p:sldIdLst>
    <p:sldId id="260" r:id="rId13"/>
    <p:sldId id="258" r:id="rId14"/>
    <p:sldId id="562" r:id="rId15"/>
    <p:sldId id="561" r:id="rId16"/>
    <p:sldId id="534" r:id="rId17"/>
    <p:sldId id="589" r:id="rId18"/>
    <p:sldId id="2076136982" r:id="rId19"/>
    <p:sldId id="257" r:id="rId20"/>
    <p:sldId id="592" r:id="rId21"/>
    <p:sldId id="3684" r:id="rId22"/>
    <p:sldId id="2076136703" r:id="rId23"/>
    <p:sldId id="2076136981" r:id="rId24"/>
    <p:sldId id="2076138399" r:id="rId25"/>
    <p:sldId id="593" r:id="rId26"/>
    <p:sldId id="594" r:id="rId27"/>
    <p:sldId id="2076136704" r:id="rId28"/>
    <p:sldId id="595" r:id="rId29"/>
    <p:sldId id="597" r:id="rId30"/>
    <p:sldId id="2076136636" r:id="rId31"/>
    <p:sldId id="599" r:id="rId32"/>
    <p:sldId id="2076136701" r:id="rId33"/>
    <p:sldId id="601" r:id="rId34"/>
    <p:sldId id="2076136638" r:id="rId35"/>
    <p:sldId id="2076136571" r:id="rId36"/>
    <p:sldId id="2076136642" r:id="rId37"/>
    <p:sldId id="2076136643" r:id="rId38"/>
    <p:sldId id="2076136640" r:id="rId39"/>
    <p:sldId id="2076136644" r:id="rId40"/>
    <p:sldId id="2076136645" r:id="rId41"/>
    <p:sldId id="2076136650" r:id="rId42"/>
    <p:sldId id="2076136651" r:id="rId43"/>
    <p:sldId id="2076136652" r:id="rId44"/>
    <p:sldId id="2076136641" r:id="rId45"/>
    <p:sldId id="602" r:id="rId46"/>
    <p:sldId id="603" r:id="rId47"/>
    <p:sldId id="2076136647" r:id="rId48"/>
    <p:sldId id="2076136646" r:id="rId49"/>
    <p:sldId id="2076136648" r:id="rId50"/>
    <p:sldId id="2076136649" r:id="rId51"/>
    <p:sldId id="2076136653" r:id="rId52"/>
    <p:sldId id="2076136654" r:id="rId53"/>
    <p:sldId id="2076136655" r:id="rId54"/>
    <p:sldId id="560" r:id="rId55"/>
    <p:sldId id="2076136662" r:id="rId56"/>
    <p:sldId id="564" r:id="rId57"/>
    <p:sldId id="565" r:id="rId58"/>
    <p:sldId id="566" r:id="rId59"/>
    <p:sldId id="2076136663" r:id="rId60"/>
    <p:sldId id="2076136664" r:id="rId61"/>
    <p:sldId id="2076136665" r:id="rId62"/>
    <p:sldId id="2076136668" r:id="rId63"/>
    <p:sldId id="2076136669" r:id="rId64"/>
    <p:sldId id="2076136691" r:id="rId65"/>
    <p:sldId id="570" r:id="rId66"/>
    <p:sldId id="571" r:id="rId67"/>
    <p:sldId id="572" r:id="rId68"/>
    <p:sldId id="573" r:id="rId69"/>
    <p:sldId id="2076136670" r:id="rId70"/>
    <p:sldId id="2076136671" r:id="rId71"/>
    <p:sldId id="2076136672" r:id="rId72"/>
    <p:sldId id="2076136673" r:id="rId73"/>
    <p:sldId id="2076136674" r:id="rId74"/>
    <p:sldId id="2076136675" r:id="rId75"/>
    <p:sldId id="2076136676" r:id="rId76"/>
    <p:sldId id="2076136677" r:id="rId77"/>
    <p:sldId id="2076136678" r:id="rId78"/>
    <p:sldId id="2076136702" r:id="rId79"/>
    <p:sldId id="576" r:id="rId80"/>
    <p:sldId id="577" r:id="rId81"/>
    <p:sldId id="588" r:id="rId82"/>
    <p:sldId id="581" r:id="rId83"/>
    <p:sldId id="582" r:id="rId84"/>
    <p:sldId id="2076136692" r:id="rId85"/>
    <p:sldId id="2076136693" r:id="rId86"/>
    <p:sldId id="2076136694" r:id="rId87"/>
    <p:sldId id="2076136695" r:id="rId88"/>
    <p:sldId id="2076136696" r:id="rId89"/>
    <p:sldId id="2076136697" r:id="rId90"/>
    <p:sldId id="2076136699" r:id="rId91"/>
    <p:sldId id="586" r:id="rId92"/>
    <p:sldId id="587" r:id="rId93"/>
    <p:sldId id="2076136700" r:id="rId94"/>
    <p:sldId id="259" r:id="rId95"/>
  </p:sldIdLst>
  <p:sldSz cx="12192000" cy="6858000"/>
  <p:notesSz cx="6858000" cy="9144000"/>
  <p:custDataLst>
    <p:tags r:id="rId9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1" id="{25ADF4C8-2200-4410-9F45-B05F5BA6D4E6}">
          <p14:sldIdLst>
            <p14:sldId id="561"/>
            <p14:sldId id="534"/>
            <p14:sldId id="589"/>
            <p14:sldId id="2076136982"/>
            <p14:sldId id="257"/>
            <p14:sldId id="592"/>
            <p14:sldId id="3684"/>
            <p14:sldId id="2076136703"/>
            <p14:sldId id="2076136981"/>
            <p14:sldId id="2076138399"/>
            <p14:sldId id="593"/>
            <p14:sldId id="594"/>
            <p14:sldId id="2076136704"/>
            <p14:sldId id="595"/>
            <p14:sldId id="597"/>
            <p14:sldId id="2076136636"/>
            <p14:sldId id="599"/>
            <p14:sldId id="2076136701"/>
            <p14:sldId id="601"/>
            <p14:sldId id="2076136638"/>
            <p14:sldId id="2076136571"/>
            <p14:sldId id="2076136642"/>
            <p14:sldId id="2076136643"/>
            <p14:sldId id="2076136640"/>
            <p14:sldId id="2076136644"/>
            <p14:sldId id="2076136645"/>
            <p14:sldId id="2076136650"/>
            <p14:sldId id="2076136651"/>
            <p14:sldId id="2076136652"/>
            <p14:sldId id="2076136641"/>
            <p14:sldId id="602"/>
            <p14:sldId id="603"/>
            <p14:sldId id="2076136647"/>
            <p14:sldId id="2076136646"/>
            <p14:sldId id="2076136648"/>
            <p14:sldId id="2076136649"/>
            <p14:sldId id="2076136653"/>
            <p14:sldId id="2076136654"/>
            <p14:sldId id="2076136655"/>
            <p14:sldId id="560"/>
            <p14:sldId id="2076136662"/>
          </p14:sldIdLst>
        </p14:section>
        <p14:section name="Lesson2" id="{6F639A05-2893-48A9-A600-6681E43668C4}">
          <p14:sldIdLst>
            <p14:sldId id="564"/>
            <p14:sldId id="565"/>
            <p14:sldId id="566"/>
            <p14:sldId id="2076136663"/>
            <p14:sldId id="2076136664"/>
            <p14:sldId id="2076136665"/>
            <p14:sldId id="2076136668"/>
            <p14:sldId id="2076136669"/>
            <p14:sldId id="2076136691"/>
            <p14:sldId id="570"/>
          </p14:sldIdLst>
        </p14:section>
        <p14:section name="Lesson3" id="{555EB127-B06E-428F-91FE-B308FD5309AF}">
          <p14:sldIdLst>
            <p14:sldId id="571"/>
            <p14:sldId id="572"/>
            <p14:sldId id="573"/>
            <p14:sldId id="2076136670"/>
            <p14:sldId id="2076136671"/>
            <p14:sldId id="2076136672"/>
            <p14:sldId id="2076136673"/>
            <p14:sldId id="2076136674"/>
            <p14:sldId id="2076136675"/>
            <p14:sldId id="2076136676"/>
            <p14:sldId id="2076136677"/>
            <p14:sldId id="2076136678"/>
            <p14:sldId id="2076136702"/>
            <p14:sldId id="576"/>
            <p14:sldId id="577"/>
          </p14:sldIdLst>
        </p14:section>
        <p14:section name="Lesson4" id="{B988058E-EBBA-49F2-9401-F6E190AAE0DF}">
          <p14:sldIdLst>
            <p14:sldId id="588"/>
            <p14:sldId id="581"/>
            <p14:sldId id="582"/>
            <p14:sldId id="2076136692"/>
            <p14:sldId id="2076136693"/>
            <p14:sldId id="2076136694"/>
            <p14:sldId id="2076136695"/>
            <p14:sldId id="2076136696"/>
            <p14:sldId id="2076136697"/>
            <p14:sldId id="2076136699"/>
            <p14:sldId id="586"/>
            <p14:sldId id="587"/>
            <p14:sldId id="2076136700"/>
          </p14:sldIdLst>
        </p14:section>
        <p14:section name="End" id="{055D6A13-ED50-42FA-829F-CC2B8CC81B17}">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 id="2" name="Renata Festa" initials="RF" lastIdx="3" clrIdx="1">
    <p:extLst>
      <p:ext uri="{19B8F6BF-5375-455C-9EA6-DF929625EA0E}">
        <p15:presenceInfo xmlns:p15="http://schemas.microsoft.com/office/powerpoint/2012/main" userId="S::rfesta@microsoft.com::6f22df47-533b-4c2a-a3c1-7f9ad1d63e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243A5E"/>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FA2523-17CE-49B4-9F1E-13E112D8D9C3}" v="8" dt="2020-10-16T21:50:19.367"/>
    <p1510:client id="{55A645A5-8446-4DC7-84B2-3846788E9E4A}" v="89" dt="2020-10-16T21:45:05.6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1328" autoAdjust="0"/>
  </p:normalViewPr>
  <p:slideViewPr>
    <p:cSldViewPr snapToGrid="0">
      <p:cViewPr varScale="1">
        <p:scale>
          <a:sx n="112" d="100"/>
          <a:sy n="112" d="100"/>
        </p:scale>
        <p:origin x="62" y="8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6" Type="http://schemas.openxmlformats.org/officeDocument/2006/relationships/slide" Target="slides/slide4.xml"/><Relationship Id="rId11" Type="http://schemas.openxmlformats.org/officeDocument/2006/relationships/customXml" Target="../customXml/item11.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theme" Target="theme/theme1.xml"/><Relationship Id="rId5" Type="http://schemas.openxmlformats.org/officeDocument/2006/relationships/customXml" Target="../customXml/item5.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1.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tableStyles" Target="tableStyle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slide" Target="slides/slide71.xml"/><Relationship Id="rId88" Type="http://schemas.openxmlformats.org/officeDocument/2006/relationships/slide" Target="slides/slide76.xml"/><Relationship Id="rId91" Type="http://schemas.openxmlformats.org/officeDocument/2006/relationships/slide" Target="slides/slide79.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customXml" Target="../customXml/item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94" Type="http://schemas.openxmlformats.org/officeDocument/2006/relationships/slide" Target="slides/slide82.xml"/><Relationship Id="rId99" Type="http://schemas.openxmlformats.org/officeDocument/2006/relationships/commentAuthors" Target="commentAuthors.xml"/><Relationship Id="rId10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handoutMaster" Target="handoutMasters/handoutMaster1.xml"/><Relationship Id="rId104" Type="http://schemas.microsoft.com/office/2016/11/relationships/changesInfo" Target="changesInfos/changesInfo1.xml"/><Relationship Id="rId7" Type="http://schemas.openxmlformats.org/officeDocument/2006/relationships/customXml" Target="../customXml/item7.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presProps" Target="presProps.xml"/><Relationship Id="rId105"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tags" Target="tags/tag1.xml"/><Relationship Id="rId3" Type="http://schemas.openxmlformats.org/officeDocument/2006/relationships/customXml" Target="../customXml/item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tuhan Yildiz" userId="90f344fc-4655-4923-aeaf-697bba59c1a7" providerId="ADAL" clId="{56FBBF3B-0C1A-4DA3-85D1-A8ED2EAB4583}"/>
    <pc:docChg chg="undo custSel modSld sldOrd">
      <pc:chgData name="Batuhan Yildiz" userId="90f344fc-4655-4923-aeaf-697bba59c1a7" providerId="ADAL" clId="{56FBBF3B-0C1A-4DA3-85D1-A8ED2EAB4583}" dt="2020-05-19T22:26:47.687" v="133" actId="12100"/>
      <pc:docMkLst>
        <pc:docMk/>
      </pc:docMkLst>
      <pc:sldChg chg="addSp delSp modSp mod">
        <pc:chgData name="Batuhan Yildiz" userId="90f344fc-4655-4923-aeaf-697bba59c1a7" providerId="ADAL" clId="{56FBBF3B-0C1A-4DA3-85D1-A8ED2EAB4583}" dt="2020-05-19T22:15:12.962" v="79" actId="12100"/>
        <pc:sldMkLst>
          <pc:docMk/>
          <pc:sldMk cId="641676752" sldId="589"/>
        </pc:sldMkLst>
        <pc:spChg chg="add del mod">
          <ac:chgData name="Batuhan Yildiz" userId="90f344fc-4655-4923-aeaf-697bba59c1a7" providerId="ADAL" clId="{56FBBF3B-0C1A-4DA3-85D1-A8ED2EAB4583}" dt="2020-05-19T19:24:34.126" v="63" actId="478"/>
          <ac:spMkLst>
            <pc:docMk/>
            <pc:sldMk cId="641676752" sldId="589"/>
            <ac:spMk id="7" creationId="{020C9893-1A78-44B6-91FD-BA530D8A7F18}"/>
          </ac:spMkLst>
        </pc:spChg>
        <pc:spChg chg="add mod">
          <ac:chgData name="Batuhan Yildiz" userId="90f344fc-4655-4923-aeaf-697bba59c1a7" providerId="ADAL" clId="{56FBBF3B-0C1A-4DA3-85D1-A8ED2EAB4583}" dt="2020-05-19T19:26:12.352" v="74" actId="20577"/>
          <ac:spMkLst>
            <pc:docMk/>
            <pc:sldMk cId="641676752" sldId="589"/>
            <ac:spMk id="8" creationId="{EA792C95-F225-435D-8F58-50A370E966D0}"/>
          </ac:spMkLst>
        </pc:spChg>
        <pc:graphicFrameChg chg="mod">
          <ac:chgData name="Batuhan Yildiz" userId="90f344fc-4655-4923-aeaf-697bba59c1a7" providerId="ADAL" clId="{56FBBF3B-0C1A-4DA3-85D1-A8ED2EAB4583}" dt="2020-05-19T22:15:12.962" v="79" actId="12100"/>
          <ac:graphicFrameMkLst>
            <pc:docMk/>
            <pc:sldMk cId="641676752" sldId="589"/>
            <ac:graphicFrameMk id="6" creationId="{04DE0AED-3D4D-4F08-82DC-72CF55A44BB2}"/>
          </ac:graphicFrameMkLst>
        </pc:graphicFrameChg>
      </pc:sldChg>
      <pc:sldChg chg="modSp">
        <pc:chgData name="Batuhan Yildiz" userId="90f344fc-4655-4923-aeaf-697bba59c1a7" providerId="ADAL" clId="{56FBBF3B-0C1A-4DA3-85D1-A8ED2EAB4583}" dt="2020-05-19T22:15:29.103" v="80" actId="12100"/>
        <pc:sldMkLst>
          <pc:docMk/>
          <pc:sldMk cId="1639023780" sldId="593"/>
        </pc:sldMkLst>
        <pc:graphicFrameChg chg="mod">
          <ac:chgData name="Batuhan Yildiz" userId="90f344fc-4655-4923-aeaf-697bba59c1a7" providerId="ADAL" clId="{56FBBF3B-0C1A-4DA3-85D1-A8ED2EAB4583}" dt="2020-05-19T22:15:29.103" v="80" actId="12100"/>
          <ac:graphicFrameMkLst>
            <pc:docMk/>
            <pc:sldMk cId="1639023780" sldId="593"/>
            <ac:graphicFrameMk id="54" creationId="{C48F65C3-D79D-423B-9670-51D674871622}"/>
          </ac:graphicFrameMkLst>
        </pc:graphicFrameChg>
      </pc:sldChg>
      <pc:sldChg chg="modSp">
        <pc:chgData name="Batuhan Yildiz" userId="90f344fc-4655-4923-aeaf-697bba59c1a7" providerId="ADAL" clId="{56FBBF3B-0C1A-4DA3-85D1-A8ED2EAB4583}" dt="2020-05-19T22:15:57.662" v="81" actId="12100"/>
        <pc:sldMkLst>
          <pc:docMk/>
          <pc:sldMk cId="3481897816" sldId="594"/>
        </pc:sldMkLst>
        <pc:graphicFrameChg chg="mod">
          <ac:chgData name="Batuhan Yildiz" userId="90f344fc-4655-4923-aeaf-697bba59c1a7" providerId="ADAL" clId="{56FBBF3B-0C1A-4DA3-85D1-A8ED2EAB4583}" dt="2020-05-19T22:15:57.662" v="81" actId="12100"/>
          <ac:graphicFrameMkLst>
            <pc:docMk/>
            <pc:sldMk cId="3481897816" sldId="594"/>
            <ac:graphicFrameMk id="5" creationId="{61082510-4C94-44B7-B8E2-D51744F02EFD}"/>
          </ac:graphicFrameMkLst>
        </pc:graphicFrameChg>
      </pc:sldChg>
      <pc:sldChg chg="modSp">
        <pc:chgData name="Batuhan Yildiz" userId="90f344fc-4655-4923-aeaf-697bba59c1a7" providerId="ADAL" clId="{56FBBF3B-0C1A-4DA3-85D1-A8ED2EAB4583}" dt="2020-05-19T22:16:21.257" v="82" actId="12100"/>
        <pc:sldMkLst>
          <pc:docMk/>
          <pc:sldMk cId="129772539" sldId="597"/>
        </pc:sldMkLst>
        <pc:graphicFrameChg chg="mod">
          <ac:chgData name="Batuhan Yildiz" userId="90f344fc-4655-4923-aeaf-697bba59c1a7" providerId="ADAL" clId="{56FBBF3B-0C1A-4DA3-85D1-A8ED2EAB4583}" dt="2020-05-19T22:16:21.257" v="82" actId="12100"/>
          <ac:graphicFrameMkLst>
            <pc:docMk/>
            <pc:sldMk cId="129772539" sldId="597"/>
            <ac:graphicFrameMk id="56" creationId="{AA37CBE4-8426-49ED-855E-F7D6AF9139AA}"/>
          </ac:graphicFrameMkLst>
        </pc:graphicFrameChg>
      </pc:sldChg>
      <pc:sldChg chg="modSp">
        <pc:chgData name="Batuhan Yildiz" userId="90f344fc-4655-4923-aeaf-697bba59c1a7" providerId="ADAL" clId="{56FBBF3B-0C1A-4DA3-85D1-A8ED2EAB4583}" dt="2020-05-19T22:16:50.277" v="84" actId="12100"/>
        <pc:sldMkLst>
          <pc:docMk/>
          <pc:sldMk cId="783530848" sldId="599"/>
        </pc:sldMkLst>
        <pc:graphicFrameChg chg="mod">
          <ac:chgData name="Batuhan Yildiz" userId="90f344fc-4655-4923-aeaf-697bba59c1a7" providerId="ADAL" clId="{56FBBF3B-0C1A-4DA3-85D1-A8ED2EAB4583}" dt="2020-05-19T22:16:50.277" v="84" actId="12100"/>
          <ac:graphicFrameMkLst>
            <pc:docMk/>
            <pc:sldMk cId="783530848" sldId="599"/>
            <ac:graphicFrameMk id="9" creationId="{580710EA-282A-47EC-93C4-EC32C29CD39B}"/>
          </ac:graphicFrameMkLst>
        </pc:graphicFrameChg>
      </pc:sldChg>
      <pc:sldChg chg="modSp">
        <pc:chgData name="Batuhan Yildiz" userId="90f344fc-4655-4923-aeaf-697bba59c1a7" providerId="ADAL" clId="{56FBBF3B-0C1A-4DA3-85D1-A8ED2EAB4583}" dt="2020-05-19T22:16:59.611" v="85" actId="12100"/>
        <pc:sldMkLst>
          <pc:docMk/>
          <pc:sldMk cId="2369490167" sldId="600"/>
        </pc:sldMkLst>
        <pc:graphicFrameChg chg="mod">
          <ac:chgData name="Batuhan Yildiz" userId="90f344fc-4655-4923-aeaf-697bba59c1a7" providerId="ADAL" clId="{56FBBF3B-0C1A-4DA3-85D1-A8ED2EAB4583}" dt="2020-05-19T22:16:59.611" v="85" actId="12100"/>
          <ac:graphicFrameMkLst>
            <pc:docMk/>
            <pc:sldMk cId="2369490167" sldId="600"/>
            <ac:graphicFrameMk id="8" creationId="{BC89735D-35A1-4B37-9372-A27C46EE4072}"/>
          </ac:graphicFrameMkLst>
        </pc:graphicFrameChg>
      </pc:sldChg>
      <pc:sldChg chg="modSp">
        <pc:chgData name="Batuhan Yildiz" userId="90f344fc-4655-4923-aeaf-697bba59c1a7" providerId="ADAL" clId="{56FBBF3B-0C1A-4DA3-85D1-A8ED2EAB4583}" dt="2020-05-19T22:19:40.567" v="100" actId="255"/>
        <pc:sldMkLst>
          <pc:docMk/>
          <pc:sldMk cId="1398347698" sldId="602"/>
        </pc:sldMkLst>
        <pc:graphicFrameChg chg="mod">
          <ac:chgData name="Batuhan Yildiz" userId="90f344fc-4655-4923-aeaf-697bba59c1a7" providerId="ADAL" clId="{56FBBF3B-0C1A-4DA3-85D1-A8ED2EAB4583}" dt="2020-05-19T22:19:40.567" v="100" actId="255"/>
          <ac:graphicFrameMkLst>
            <pc:docMk/>
            <pc:sldMk cId="1398347698" sldId="602"/>
            <ac:graphicFrameMk id="43" creationId="{FEF1F9D0-F334-4A9E-9AA9-4DBC8F03075C}"/>
          </ac:graphicFrameMkLst>
        </pc:graphicFrameChg>
      </pc:sldChg>
      <pc:sldChg chg="modSp">
        <pc:chgData name="Batuhan Yildiz" userId="90f344fc-4655-4923-aeaf-697bba59c1a7" providerId="ADAL" clId="{56FBBF3B-0C1A-4DA3-85D1-A8ED2EAB4583}" dt="2020-05-19T22:18:07.359" v="92" actId="255"/>
        <pc:sldMkLst>
          <pc:docMk/>
          <pc:sldMk cId="428745910" sldId="2076136571"/>
        </pc:sldMkLst>
        <pc:graphicFrameChg chg="mod">
          <ac:chgData name="Batuhan Yildiz" userId="90f344fc-4655-4923-aeaf-697bba59c1a7" providerId="ADAL" clId="{56FBBF3B-0C1A-4DA3-85D1-A8ED2EAB4583}" dt="2020-05-19T22:18:07.359" v="92" actId="255"/>
          <ac:graphicFrameMkLst>
            <pc:docMk/>
            <pc:sldMk cId="428745910" sldId="2076136571"/>
            <ac:graphicFrameMk id="7" creationId="{06FC3312-3751-49D5-9529-688AF08D3398}"/>
          </ac:graphicFrameMkLst>
        </pc:graphicFrameChg>
      </pc:sldChg>
      <pc:sldChg chg="modSp mod">
        <pc:chgData name="Batuhan Yildiz" userId="90f344fc-4655-4923-aeaf-697bba59c1a7" providerId="ADAL" clId="{56FBBF3B-0C1A-4DA3-85D1-A8ED2EAB4583}" dt="2020-05-19T22:16:30.249" v="83" actId="12385"/>
        <pc:sldMkLst>
          <pc:docMk/>
          <pc:sldMk cId="4139485802" sldId="2076136636"/>
        </pc:sldMkLst>
        <pc:graphicFrameChg chg="modGraphic">
          <ac:chgData name="Batuhan Yildiz" userId="90f344fc-4655-4923-aeaf-697bba59c1a7" providerId="ADAL" clId="{56FBBF3B-0C1A-4DA3-85D1-A8ED2EAB4583}" dt="2020-05-19T22:16:30.249" v="83" actId="12385"/>
          <ac:graphicFrameMkLst>
            <pc:docMk/>
            <pc:sldMk cId="4139485802" sldId="2076136636"/>
            <ac:graphicFrameMk id="23" creationId="{B0DE46E9-B9D5-4510-A31A-1FBA0F0F23A2}"/>
          </ac:graphicFrameMkLst>
        </pc:graphicFrameChg>
      </pc:sldChg>
      <pc:sldChg chg="ord">
        <pc:chgData name="Batuhan Yildiz" userId="90f344fc-4655-4923-aeaf-697bba59c1a7" providerId="ADAL" clId="{56FBBF3B-0C1A-4DA3-85D1-A8ED2EAB4583}" dt="2020-05-19T19:27:47.990" v="76"/>
        <pc:sldMkLst>
          <pc:docMk/>
          <pc:sldMk cId="364567982" sldId="2076136646"/>
        </pc:sldMkLst>
      </pc:sldChg>
      <pc:sldChg chg="ord">
        <pc:chgData name="Batuhan Yildiz" userId="90f344fc-4655-4923-aeaf-697bba59c1a7" providerId="ADAL" clId="{56FBBF3B-0C1A-4DA3-85D1-A8ED2EAB4583}" dt="2020-05-19T19:28:58.268" v="78"/>
        <pc:sldMkLst>
          <pc:docMk/>
          <pc:sldMk cId="4117970720" sldId="2076136647"/>
        </pc:sldMkLst>
      </pc:sldChg>
      <pc:sldChg chg="modSp">
        <pc:chgData name="Batuhan Yildiz" userId="90f344fc-4655-4923-aeaf-697bba59c1a7" providerId="ADAL" clId="{56FBBF3B-0C1A-4DA3-85D1-A8ED2EAB4583}" dt="2020-05-19T22:20:08.664" v="101" actId="12100"/>
        <pc:sldMkLst>
          <pc:docMk/>
          <pc:sldMk cId="2575335592" sldId="2076136652"/>
        </pc:sldMkLst>
        <pc:graphicFrameChg chg="mod">
          <ac:chgData name="Batuhan Yildiz" userId="90f344fc-4655-4923-aeaf-697bba59c1a7" providerId="ADAL" clId="{56FBBF3B-0C1A-4DA3-85D1-A8ED2EAB4583}" dt="2020-05-19T22:20:08.664" v="101" actId="12100"/>
          <ac:graphicFrameMkLst>
            <pc:docMk/>
            <pc:sldMk cId="2575335592" sldId="2076136652"/>
            <ac:graphicFrameMk id="87" creationId="{9792F5B8-D284-4E2F-8E89-9BB7C415AF50}"/>
          </ac:graphicFrameMkLst>
        </pc:graphicFrameChg>
      </pc:sldChg>
      <pc:sldChg chg="modSp">
        <pc:chgData name="Batuhan Yildiz" userId="90f344fc-4655-4923-aeaf-697bba59c1a7" providerId="ADAL" clId="{56FBBF3B-0C1A-4DA3-85D1-A8ED2EAB4583}" dt="2020-05-19T22:21:26.861" v="109" actId="255"/>
        <pc:sldMkLst>
          <pc:docMk/>
          <pc:sldMk cId="3992590962" sldId="2076136654"/>
        </pc:sldMkLst>
        <pc:graphicFrameChg chg="mod">
          <ac:chgData name="Batuhan Yildiz" userId="90f344fc-4655-4923-aeaf-697bba59c1a7" providerId="ADAL" clId="{56FBBF3B-0C1A-4DA3-85D1-A8ED2EAB4583}" dt="2020-05-19T22:21:26.861" v="109" actId="255"/>
          <ac:graphicFrameMkLst>
            <pc:docMk/>
            <pc:sldMk cId="3992590962" sldId="2076136654"/>
            <ac:graphicFrameMk id="5" creationId="{ACFBD576-BC35-470F-AD93-9943AE29C551}"/>
          </ac:graphicFrameMkLst>
        </pc:graphicFrameChg>
      </pc:sldChg>
      <pc:sldChg chg="modSp">
        <pc:chgData name="Batuhan Yildiz" userId="90f344fc-4655-4923-aeaf-697bba59c1a7" providerId="ADAL" clId="{56FBBF3B-0C1A-4DA3-85D1-A8ED2EAB4583}" dt="2020-05-19T22:21:39.470" v="110" actId="12100"/>
        <pc:sldMkLst>
          <pc:docMk/>
          <pc:sldMk cId="4236357783" sldId="2076136655"/>
        </pc:sldMkLst>
        <pc:graphicFrameChg chg="mod">
          <ac:chgData name="Batuhan Yildiz" userId="90f344fc-4655-4923-aeaf-697bba59c1a7" providerId="ADAL" clId="{56FBBF3B-0C1A-4DA3-85D1-A8ED2EAB4583}" dt="2020-05-19T22:21:39.470" v="110" actId="12100"/>
          <ac:graphicFrameMkLst>
            <pc:docMk/>
            <pc:sldMk cId="4236357783" sldId="2076136655"/>
            <ac:graphicFrameMk id="5" creationId="{99F96923-6F93-4314-845E-DE2C51DDCED2}"/>
          </ac:graphicFrameMkLst>
        </pc:graphicFrameChg>
      </pc:sldChg>
      <pc:sldChg chg="modSp">
        <pc:chgData name="Batuhan Yildiz" userId="90f344fc-4655-4923-aeaf-697bba59c1a7" providerId="ADAL" clId="{56FBBF3B-0C1A-4DA3-85D1-A8ED2EAB4583}" dt="2020-05-19T22:22:00.706" v="113" actId="255"/>
        <pc:sldMkLst>
          <pc:docMk/>
          <pc:sldMk cId="576151350" sldId="2076136663"/>
        </pc:sldMkLst>
        <pc:graphicFrameChg chg="mod">
          <ac:chgData name="Batuhan Yildiz" userId="90f344fc-4655-4923-aeaf-697bba59c1a7" providerId="ADAL" clId="{56FBBF3B-0C1A-4DA3-85D1-A8ED2EAB4583}" dt="2020-05-19T22:22:00.706" v="113" actId="255"/>
          <ac:graphicFrameMkLst>
            <pc:docMk/>
            <pc:sldMk cId="576151350" sldId="2076136663"/>
            <ac:graphicFrameMk id="6" creationId="{B0CC26BA-DFB8-43D6-B002-070DD5FC78D2}"/>
          </ac:graphicFrameMkLst>
        </pc:graphicFrameChg>
      </pc:sldChg>
      <pc:sldChg chg="modSp mod">
        <pc:chgData name="Batuhan Yildiz" userId="90f344fc-4655-4923-aeaf-697bba59c1a7" providerId="ADAL" clId="{56FBBF3B-0C1A-4DA3-85D1-A8ED2EAB4583}" dt="2020-05-19T22:22:17.507" v="119" actId="947"/>
        <pc:sldMkLst>
          <pc:docMk/>
          <pc:sldMk cId="3049863206" sldId="2076136664"/>
        </pc:sldMkLst>
        <pc:spChg chg="mod">
          <ac:chgData name="Batuhan Yildiz" userId="90f344fc-4655-4923-aeaf-697bba59c1a7" providerId="ADAL" clId="{56FBBF3B-0C1A-4DA3-85D1-A8ED2EAB4583}" dt="2020-05-19T22:22:17.507" v="119" actId="947"/>
          <ac:spMkLst>
            <pc:docMk/>
            <pc:sldMk cId="3049863206" sldId="2076136664"/>
            <ac:spMk id="7" creationId="{697BB698-8A02-4A95-8359-2F89451BD2E0}"/>
          </ac:spMkLst>
        </pc:spChg>
        <pc:spChg chg="mod">
          <ac:chgData name="Batuhan Yildiz" userId="90f344fc-4655-4923-aeaf-697bba59c1a7" providerId="ADAL" clId="{56FBBF3B-0C1A-4DA3-85D1-A8ED2EAB4583}" dt="2020-05-19T22:22:13.681" v="116" actId="947"/>
          <ac:spMkLst>
            <pc:docMk/>
            <pc:sldMk cId="3049863206" sldId="2076136664"/>
            <ac:spMk id="8" creationId="{6480B1C8-EB2A-497D-9DE9-1C444812EDFA}"/>
          </ac:spMkLst>
        </pc:spChg>
        <pc:spChg chg="mod">
          <ac:chgData name="Batuhan Yildiz" userId="90f344fc-4655-4923-aeaf-697bba59c1a7" providerId="ADAL" clId="{56FBBF3B-0C1A-4DA3-85D1-A8ED2EAB4583}" dt="2020-05-19T22:22:13.684" v="117" actId="947"/>
          <ac:spMkLst>
            <pc:docMk/>
            <pc:sldMk cId="3049863206" sldId="2076136664"/>
            <ac:spMk id="9" creationId="{E1D581F7-650B-4A10-B2BE-2A7CF4E8B434}"/>
          </ac:spMkLst>
        </pc:spChg>
        <pc:spChg chg="mod">
          <ac:chgData name="Batuhan Yildiz" userId="90f344fc-4655-4923-aeaf-697bba59c1a7" providerId="ADAL" clId="{56FBBF3B-0C1A-4DA3-85D1-A8ED2EAB4583}" dt="2020-05-19T22:22:13.689" v="118" actId="947"/>
          <ac:spMkLst>
            <pc:docMk/>
            <pc:sldMk cId="3049863206" sldId="2076136664"/>
            <ac:spMk id="10" creationId="{59474DAC-E394-408D-A3B2-78E15D318A30}"/>
          </ac:spMkLst>
        </pc:spChg>
      </pc:sldChg>
      <pc:sldChg chg="modSp mod">
        <pc:chgData name="Batuhan Yildiz" userId="90f344fc-4655-4923-aeaf-697bba59c1a7" providerId="ADAL" clId="{56FBBF3B-0C1A-4DA3-85D1-A8ED2EAB4583}" dt="2020-05-19T22:25:20.699" v="127" actId="12385"/>
        <pc:sldMkLst>
          <pc:docMk/>
          <pc:sldMk cId="664316681" sldId="2076136671"/>
        </pc:sldMkLst>
        <pc:graphicFrameChg chg="mod modGraphic">
          <ac:chgData name="Batuhan Yildiz" userId="90f344fc-4655-4923-aeaf-697bba59c1a7" providerId="ADAL" clId="{56FBBF3B-0C1A-4DA3-85D1-A8ED2EAB4583}" dt="2020-05-19T22:25:20.699" v="127" actId="12385"/>
          <ac:graphicFrameMkLst>
            <pc:docMk/>
            <pc:sldMk cId="664316681" sldId="2076136671"/>
            <ac:graphicFrameMk id="5" creationId="{C08CE232-D447-467A-942B-7BF0381757EE}"/>
          </ac:graphicFrameMkLst>
        </pc:graphicFrameChg>
      </pc:sldChg>
      <pc:sldChg chg="modSp">
        <pc:chgData name="Batuhan Yildiz" userId="90f344fc-4655-4923-aeaf-697bba59c1a7" providerId="ADAL" clId="{56FBBF3B-0C1A-4DA3-85D1-A8ED2EAB4583}" dt="2020-05-19T22:23:34.548" v="120" actId="12100"/>
        <pc:sldMkLst>
          <pc:docMk/>
          <pc:sldMk cId="1400860027" sldId="2076136674"/>
        </pc:sldMkLst>
        <pc:graphicFrameChg chg="mod">
          <ac:chgData name="Batuhan Yildiz" userId="90f344fc-4655-4923-aeaf-697bba59c1a7" providerId="ADAL" clId="{56FBBF3B-0C1A-4DA3-85D1-A8ED2EAB4583}" dt="2020-05-19T22:23:34.548" v="120" actId="12100"/>
          <ac:graphicFrameMkLst>
            <pc:docMk/>
            <pc:sldMk cId="1400860027" sldId="2076136674"/>
            <ac:graphicFrameMk id="5" creationId="{44C78A62-EAD4-4FB9-BEC8-25D4F06D852F}"/>
          </ac:graphicFrameMkLst>
        </pc:graphicFrameChg>
      </pc:sldChg>
      <pc:sldChg chg="modSp">
        <pc:chgData name="Batuhan Yildiz" userId="90f344fc-4655-4923-aeaf-697bba59c1a7" providerId="ADAL" clId="{56FBBF3B-0C1A-4DA3-85D1-A8ED2EAB4583}" dt="2020-05-19T22:25:34.486" v="128" actId="12100"/>
        <pc:sldMkLst>
          <pc:docMk/>
          <pc:sldMk cId="1776456625" sldId="2076136676"/>
        </pc:sldMkLst>
        <pc:graphicFrameChg chg="mod">
          <ac:chgData name="Batuhan Yildiz" userId="90f344fc-4655-4923-aeaf-697bba59c1a7" providerId="ADAL" clId="{56FBBF3B-0C1A-4DA3-85D1-A8ED2EAB4583}" dt="2020-05-19T22:25:34.486" v="128" actId="12100"/>
          <ac:graphicFrameMkLst>
            <pc:docMk/>
            <pc:sldMk cId="1776456625" sldId="2076136676"/>
            <ac:graphicFrameMk id="5" creationId="{4C9D9838-DDE5-46DA-820C-29D7C6E20381}"/>
          </ac:graphicFrameMkLst>
        </pc:graphicFrameChg>
      </pc:sldChg>
      <pc:sldChg chg="modSp">
        <pc:chgData name="Batuhan Yildiz" userId="90f344fc-4655-4923-aeaf-697bba59c1a7" providerId="ADAL" clId="{56FBBF3B-0C1A-4DA3-85D1-A8ED2EAB4583}" dt="2020-05-19T22:25:40.842" v="129" actId="12100"/>
        <pc:sldMkLst>
          <pc:docMk/>
          <pc:sldMk cId="2694391453" sldId="2076136678"/>
        </pc:sldMkLst>
        <pc:graphicFrameChg chg="mod">
          <ac:chgData name="Batuhan Yildiz" userId="90f344fc-4655-4923-aeaf-697bba59c1a7" providerId="ADAL" clId="{56FBBF3B-0C1A-4DA3-85D1-A8ED2EAB4583}" dt="2020-05-19T22:25:40.842" v="129" actId="12100"/>
          <ac:graphicFrameMkLst>
            <pc:docMk/>
            <pc:sldMk cId="2694391453" sldId="2076136678"/>
            <ac:graphicFrameMk id="5" creationId="{3F0C86E6-FBC3-46E2-BD89-7A0FCECD7C9E}"/>
          </ac:graphicFrameMkLst>
        </pc:graphicFrameChg>
      </pc:sldChg>
      <pc:sldChg chg="modSp">
        <pc:chgData name="Batuhan Yildiz" userId="90f344fc-4655-4923-aeaf-697bba59c1a7" providerId="ADAL" clId="{56FBBF3B-0C1A-4DA3-85D1-A8ED2EAB4583}" dt="2020-05-19T22:25:57.232" v="131" actId="12100"/>
        <pc:sldMkLst>
          <pc:docMk/>
          <pc:sldMk cId="664196446" sldId="2076136692"/>
        </pc:sldMkLst>
        <pc:graphicFrameChg chg="mod">
          <ac:chgData name="Batuhan Yildiz" userId="90f344fc-4655-4923-aeaf-697bba59c1a7" providerId="ADAL" clId="{56FBBF3B-0C1A-4DA3-85D1-A8ED2EAB4583}" dt="2020-05-19T22:25:57.232" v="131" actId="12100"/>
          <ac:graphicFrameMkLst>
            <pc:docMk/>
            <pc:sldMk cId="664196446" sldId="2076136692"/>
            <ac:graphicFrameMk id="7" creationId="{18FFD0BA-ED18-4F81-8C66-3DA154E8B166}"/>
          </ac:graphicFrameMkLst>
        </pc:graphicFrameChg>
      </pc:sldChg>
      <pc:sldChg chg="modSp">
        <pc:chgData name="Batuhan Yildiz" userId="90f344fc-4655-4923-aeaf-697bba59c1a7" providerId="ADAL" clId="{56FBBF3B-0C1A-4DA3-85D1-A8ED2EAB4583}" dt="2020-05-19T22:26:41.933" v="132" actId="12100"/>
        <pc:sldMkLst>
          <pc:docMk/>
          <pc:sldMk cId="776602614" sldId="2076136697"/>
        </pc:sldMkLst>
        <pc:graphicFrameChg chg="mod">
          <ac:chgData name="Batuhan Yildiz" userId="90f344fc-4655-4923-aeaf-697bba59c1a7" providerId="ADAL" clId="{56FBBF3B-0C1A-4DA3-85D1-A8ED2EAB4583}" dt="2020-05-19T22:26:41.933" v="132" actId="12100"/>
          <ac:graphicFrameMkLst>
            <pc:docMk/>
            <pc:sldMk cId="776602614" sldId="2076136697"/>
            <ac:graphicFrameMk id="65" creationId="{7103A620-1990-4718-988F-41E4F6B5B358}"/>
          </ac:graphicFrameMkLst>
        </pc:graphicFrameChg>
      </pc:sldChg>
      <pc:sldChg chg="modSp">
        <pc:chgData name="Batuhan Yildiz" userId="90f344fc-4655-4923-aeaf-697bba59c1a7" providerId="ADAL" clId="{56FBBF3B-0C1A-4DA3-85D1-A8ED2EAB4583}" dt="2020-05-19T22:26:47.687" v="133" actId="12100"/>
        <pc:sldMkLst>
          <pc:docMk/>
          <pc:sldMk cId="1523218829" sldId="2076136699"/>
        </pc:sldMkLst>
        <pc:graphicFrameChg chg="mod">
          <ac:chgData name="Batuhan Yildiz" userId="90f344fc-4655-4923-aeaf-697bba59c1a7" providerId="ADAL" clId="{56FBBF3B-0C1A-4DA3-85D1-A8ED2EAB4583}" dt="2020-05-19T22:26:47.687" v="133" actId="12100"/>
          <ac:graphicFrameMkLst>
            <pc:docMk/>
            <pc:sldMk cId="1523218829" sldId="2076136699"/>
            <ac:graphicFrameMk id="35" creationId="{D0B76E88-7116-4F9D-BCE3-FD82DC90077B}"/>
          </ac:graphicFrameMkLst>
        </pc:graphicFrameChg>
      </pc:sldChg>
    </pc:docChg>
  </pc:docChgLst>
  <pc:docChgLst>
    <pc:chgData name="Rizwan Hassan" userId="04ec4a88-24aa-4abd-b901-af898e55845d" providerId="ADAL" clId="{55A645A5-8446-4DC7-84B2-3846788E9E4A}"/>
    <pc:docChg chg="custSel modSld sldOrd">
      <pc:chgData name="Rizwan Hassan" userId="04ec4a88-24aa-4abd-b901-af898e55845d" providerId="ADAL" clId="{55A645A5-8446-4DC7-84B2-3846788E9E4A}" dt="2020-10-16T21:45:05.623" v="176" actId="14100"/>
      <pc:docMkLst>
        <pc:docMk/>
      </pc:docMkLst>
      <pc:sldChg chg="modSp mod modNotesTx">
        <pc:chgData name="Rizwan Hassan" userId="04ec4a88-24aa-4abd-b901-af898e55845d" providerId="ADAL" clId="{55A645A5-8446-4DC7-84B2-3846788E9E4A}" dt="2020-10-16T21:41:42.630" v="126" actId="20577"/>
        <pc:sldMkLst>
          <pc:docMk/>
          <pc:sldMk cId="783530848" sldId="599"/>
        </pc:sldMkLst>
        <pc:spChg chg="mod">
          <ac:chgData name="Rizwan Hassan" userId="04ec4a88-24aa-4abd-b901-af898e55845d" providerId="ADAL" clId="{55A645A5-8446-4DC7-84B2-3846788E9E4A}" dt="2020-10-15T20:04:48.989" v="73" actId="1076"/>
          <ac:spMkLst>
            <pc:docMk/>
            <pc:sldMk cId="783530848" sldId="599"/>
            <ac:spMk id="10" creationId="{65CACE8B-44F7-491A-83A9-1D3DD248E43D}"/>
          </ac:spMkLst>
        </pc:spChg>
        <pc:graphicFrameChg chg="mod">
          <ac:chgData name="Rizwan Hassan" userId="04ec4a88-24aa-4abd-b901-af898e55845d" providerId="ADAL" clId="{55A645A5-8446-4DC7-84B2-3846788E9E4A}" dt="2020-10-16T21:41:42.630" v="126" actId="20577"/>
          <ac:graphicFrameMkLst>
            <pc:docMk/>
            <pc:sldMk cId="783530848" sldId="599"/>
            <ac:graphicFrameMk id="9" creationId="{580710EA-282A-47EC-93C4-EC32C29CD39B}"/>
          </ac:graphicFrameMkLst>
        </pc:graphicFrameChg>
      </pc:sldChg>
      <pc:sldChg chg="ord">
        <pc:chgData name="Rizwan Hassan" userId="04ec4a88-24aa-4abd-b901-af898e55845d" providerId="ADAL" clId="{55A645A5-8446-4DC7-84B2-3846788E9E4A}" dt="2020-10-15T20:11:04.602" v="84"/>
        <pc:sldMkLst>
          <pc:docMk/>
          <pc:sldMk cId="1325401877" sldId="603"/>
        </pc:sldMkLst>
      </pc:sldChg>
      <pc:sldChg chg="modNotesTx">
        <pc:chgData name="Rizwan Hassan" userId="04ec4a88-24aa-4abd-b901-af898e55845d" providerId="ADAL" clId="{55A645A5-8446-4DC7-84B2-3846788E9E4A}" dt="2020-10-15T20:08:15.384" v="82" actId="20577"/>
        <pc:sldMkLst>
          <pc:docMk/>
          <pc:sldMk cId="2276845176" sldId="2076136638"/>
        </pc:sldMkLst>
      </pc:sldChg>
      <pc:sldChg chg="modSp mod">
        <pc:chgData name="Rizwan Hassan" userId="04ec4a88-24aa-4abd-b901-af898e55845d" providerId="ADAL" clId="{55A645A5-8446-4DC7-84B2-3846788E9E4A}" dt="2020-10-16T21:42:23.729" v="135" actId="20577"/>
        <pc:sldMkLst>
          <pc:docMk/>
          <pc:sldMk cId="1168460214" sldId="2076136642"/>
        </pc:sldMkLst>
        <pc:graphicFrameChg chg="modGraphic">
          <ac:chgData name="Rizwan Hassan" userId="04ec4a88-24aa-4abd-b901-af898e55845d" providerId="ADAL" clId="{55A645A5-8446-4DC7-84B2-3846788E9E4A}" dt="2020-10-16T21:42:23.729" v="135" actId="20577"/>
          <ac:graphicFrameMkLst>
            <pc:docMk/>
            <pc:sldMk cId="1168460214" sldId="2076136642"/>
            <ac:graphicFrameMk id="14" creationId="{81DA0D0A-6A76-479C-9608-A86440D4607E}"/>
          </ac:graphicFrameMkLst>
        </pc:graphicFrameChg>
      </pc:sldChg>
      <pc:sldChg chg="modSp mod">
        <pc:chgData name="Rizwan Hassan" userId="04ec4a88-24aa-4abd-b901-af898e55845d" providerId="ADAL" clId="{55A645A5-8446-4DC7-84B2-3846788E9E4A}" dt="2020-10-16T21:43:41.472" v="171" actId="20577"/>
        <pc:sldMkLst>
          <pc:docMk/>
          <pc:sldMk cId="2835470576" sldId="2076136645"/>
        </pc:sldMkLst>
        <pc:spChg chg="mod">
          <ac:chgData name="Rizwan Hassan" userId="04ec4a88-24aa-4abd-b901-af898e55845d" providerId="ADAL" clId="{55A645A5-8446-4DC7-84B2-3846788E9E4A}" dt="2020-10-16T21:43:41.472" v="171" actId="20577"/>
          <ac:spMkLst>
            <pc:docMk/>
            <pc:sldMk cId="2835470576" sldId="2076136645"/>
            <ac:spMk id="6" creationId="{E466DD75-8A7F-4686-B27A-FB3C6BEE4C2C}"/>
          </ac:spMkLst>
        </pc:spChg>
        <pc:graphicFrameChg chg="modGraphic">
          <ac:chgData name="Rizwan Hassan" userId="04ec4a88-24aa-4abd-b901-af898e55845d" providerId="ADAL" clId="{55A645A5-8446-4DC7-84B2-3846788E9E4A}" dt="2020-10-16T21:43:23.309" v="138" actId="14100"/>
          <ac:graphicFrameMkLst>
            <pc:docMk/>
            <pc:sldMk cId="2835470576" sldId="2076136645"/>
            <ac:graphicFrameMk id="5" creationId="{BB42184F-CA1B-4A7B-9844-D1A2357E0022}"/>
          </ac:graphicFrameMkLst>
        </pc:graphicFrameChg>
      </pc:sldChg>
      <pc:sldChg chg="mod modShow">
        <pc:chgData name="Rizwan Hassan" userId="04ec4a88-24aa-4abd-b901-af898e55845d" providerId="ADAL" clId="{55A645A5-8446-4DC7-84B2-3846788E9E4A}" dt="2020-10-15T20:11:48.027" v="85" actId="729"/>
        <pc:sldMkLst>
          <pc:docMk/>
          <pc:sldMk cId="3992590962" sldId="2076136654"/>
        </pc:sldMkLst>
      </pc:sldChg>
      <pc:sldChg chg="mod modShow">
        <pc:chgData name="Rizwan Hassan" userId="04ec4a88-24aa-4abd-b901-af898e55845d" providerId="ADAL" clId="{55A645A5-8446-4DC7-84B2-3846788E9E4A}" dt="2020-10-15T20:11:52.515" v="86" actId="729"/>
        <pc:sldMkLst>
          <pc:docMk/>
          <pc:sldMk cId="4236357783" sldId="2076136655"/>
        </pc:sldMkLst>
      </pc:sldChg>
      <pc:sldChg chg="modSp mod">
        <pc:chgData name="Rizwan Hassan" userId="04ec4a88-24aa-4abd-b901-af898e55845d" providerId="ADAL" clId="{55A645A5-8446-4DC7-84B2-3846788E9E4A}" dt="2020-10-16T21:44:25.548" v="172" actId="20577"/>
        <pc:sldMkLst>
          <pc:docMk/>
          <pc:sldMk cId="1771447696" sldId="2076136665"/>
        </pc:sldMkLst>
        <pc:spChg chg="mod">
          <ac:chgData name="Rizwan Hassan" userId="04ec4a88-24aa-4abd-b901-af898e55845d" providerId="ADAL" clId="{55A645A5-8446-4DC7-84B2-3846788E9E4A}" dt="2020-10-16T21:44:25.548" v="172" actId="20577"/>
          <ac:spMkLst>
            <pc:docMk/>
            <pc:sldMk cId="1771447696" sldId="2076136665"/>
            <ac:spMk id="3" creationId="{F7F9C079-1EB3-4F42-8AF7-4181F65F9937}"/>
          </ac:spMkLst>
        </pc:spChg>
      </pc:sldChg>
      <pc:sldChg chg="modSp mod">
        <pc:chgData name="Rizwan Hassan" userId="04ec4a88-24aa-4abd-b901-af898e55845d" providerId="ADAL" clId="{55A645A5-8446-4DC7-84B2-3846788E9E4A}" dt="2020-10-15T20:12:35.342" v="87" actId="122"/>
        <pc:sldMkLst>
          <pc:docMk/>
          <pc:sldMk cId="664316681" sldId="2076136671"/>
        </pc:sldMkLst>
        <pc:graphicFrameChg chg="modGraphic">
          <ac:chgData name="Rizwan Hassan" userId="04ec4a88-24aa-4abd-b901-af898e55845d" providerId="ADAL" clId="{55A645A5-8446-4DC7-84B2-3846788E9E4A}" dt="2020-10-15T20:12:35.342" v="87" actId="122"/>
          <ac:graphicFrameMkLst>
            <pc:docMk/>
            <pc:sldMk cId="664316681" sldId="2076136671"/>
            <ac:graphicFrameMk id="5" creationId="{C08CE232-D447-467A-942B-7BF0381757EE}"/>
          </ac:graphicFrameMkLst>
        </pc:graphicFrameChg>
      </pc:sldChg>
      <pc:sldChg chg="modSp mod">
        <pc:chgData name="Rizwan Hassan" userId="04ec4a88-24aa-4abd-b901-af898e55845d" providerId="ADAL" clId="{55A645A5-8446-4DC7-84B2-3846788E9E4A}" dt="2020-10-16T21:44:52.712" v="174" actId="14100"/>
        <pc:sldMkLst>
          <pc:docMk/>
          <pc:sldMk cId="357102091" sldId="2076136672"/>
        </pc:sldMkLst>
        <pc:graphicFrameChg chg="modGraphic">
          <ac:chgData name="Rizwan Hassan" userId="04ec4a88-24aa-4abd-b901-af898e55845d" providerId="ADAL" clId="{55A645A5-8446-4DC7-84B2-3846788E9E4A}" dt="2020-10-16T21:44:52.712" v="174" actId="14100"/>
          <ac:graphicFrameMkLst>
            <pc:docMk/>
            <pc:sldMk cId="357102091" sldId="2076136672"/>
            <ac:graphicFrameMk id="6" creationId="{40D25BCA-181A-4CF5-B031-3C6F0F7350DA}"/>
          </ac:graphicFrameMkLst>
        </pc:graphicFrameChg>
      </pc:sldChg>
      <pc:sldChg chg="modSp mod">
        <pc:chgData name="Rizwan Hassan" userId="04ec4a88-24aa-4abd-b901-af898e55845d" providerId="ADAL" clId="{55A645A5-8446-4DC7-84B2-3846788E9E4A}" dt="2020-10-16T21:45:05.623" v="176" actId="14100"/>
        <pc:sldMkLst>
          <pc:docMk/>
          <pc:sldMk cId="1100248008" sldId="2076136673"/>
        </pc:sldMkLst>
        <pc:graphicFrameChg chg="mod modGraphic">
          <ac:chgData name="Rizwan Hassan" userId="04ec4a88-24aa-4abd-b901-af898e55845d" providerId="ADAL" clId="{55A645A5-8446-4DC7-84B2-3846788E9E4A}" dt="2020-10-16T21:45:05.623" v="176" actId="14100"/>
          <ac:graphicFrameMkLst>
            <pc:docMk/>
            <pc:sldMk cId="1100248008" sldId="2076136673"/>
            <ac:graphicFrameMk id="6" creationId="{EA658248-1496-4FAD-9CFE-BAE13B30DA44}"/>
          </ac:graphicFrameMkLst>
        </pc:graphicFrameChg>
      </pc:sldChg>
    </pc:docChg>
  </pc:docChgLst>
  <pc:docChgLst>
    <pc:chgData name="Renata Festa" userId="6f22df47-533b-4c2a-a3c1-7f9ad1d63e10" providerId="ADAL" clId="{7D997690-04A4-4675-83D7-2E1CC2ED1A4E}"/>
    <pc:docChg chg="undo redo custSel mod addSld delSld modSld sldOrd addSection delSection modSection">
      <pc:chgData name="Renata Festa" userId="6f22df47-533b-4c2a-a3c1-7f9ad1d63e10" providerId="ADAL" clId="{7D997690-04A4-4675-83D7-2E1CC2ED1A4E}" dt="2020-03-27T17:23:44.570" v="5002" actId="12090"/>
      <pc:docMkLst>
        <pc:docMk/>
      </pc:docMkLst>
      <pc:sldChg chg="addSp delSp modSp mod modShow modNotesTx">
        <pc:chgData name="Renata Festa" userId="6f22df47-533b-4c2a-a3c1-7f9ad1d63e10" providerId="ADAL" clId="{7D997690-04A4-4675-83D7-2E1CC2ED1A4E}" dt="2020-03-24T17:41:22.488" v="2692" actId="962"/>
        <pc:sldMkLst>
          <pc:docMk/>
          <pc:sldMk cId="3235270007" sldId="257"/>
        </pc:sldMkLst>
        <pc:spChg chg="mod">
          <ac:chgData name="Renata Festa" userId="6f22df47-533b-4c2a-a3c1-7f9ad1d63e10" providerId="ADAL" clId="{7D997690-04A4-4675-83D7-2E1CC2ED1A4E}" dt="2020-03-23T12:54:20.104" v="37"/>
          <ac:spMkLst>
            <pc:docMk/>
            <pc:sldMk cId="3235270007" sldId="257"/>
            <ac:spMk id="2" creationId="{EB67312A-9819-43C6-8D84-D9136E6CFFCC}"/>
          </ac:spMkLst>
        </pc:spChg>
        <pc:spChg chg="del">
          <ac:chgData name="Renata Festa" userId="6f22df47-533b-4c2a-a3c1-7f9ad1d63e10" providerId="ADAL" clId="{7D997690-04A4-4675-83D7-2E1CC2ED1A4E}" dt="2020-03-24T14:01:03.490" v="1640" actId="478"/>
          <ac:spMkLst>
            <pc:docMk/>
            <pc:sldMk cId="3235270007" sldId="257"/>
            <ac:spMk id="3" creationId="{F35E8CBB-5A7D-4DEF-BAF7-8DD5D042F9E0}"/>
          </ac:spMkLst>
        </pc:spChg>
        <pc:spChg chg="add del">
          <ac:chgData name="Renata Festa" userId="6f22df47-533b-4c2a-a3c1-7f9ad1d63e10" providerId="ADAL" clId="{7D997690-04A4-4675-83D7-2E1CC2ED1A4E}" dt="2020-03-24T14:01:05.893" v="1641" actId="478"/>
          <ac:spMkLst>
            <pc:docMk/>
            <pc:sldMk cId="3235270007" sldId="257"/>
            <ac:spMk id="4" creationId="{F3616A99-090F-45E1-9334-58D58B148205}"/>
          </ac:spMkLst>
        </pc:spChg>
        <pc:spChg chg="add del mod">
          <ac:chgData name="Renata Festa" userId="6f22df47-533b-4c2a-a3c1-7f9ad1d63e10" providerId="ADAL" clId="{7D997690-04A4-4675-83D7-2E1CC2ED1A4E}" dt="2020-03-23T12:54:26.195" v="39"/>
          <ac:spMkLst>
            <pc:docMk/>
            <pc:sldMk cId="3235270007" sldId="257"/>
            <ac:spMk id="5" creationId="{120C9C47-B2C8-4A72-8228-2C0EAE37E56D}"/>
          </ac:spMkLst>
        </pc:spChg>
        <pc:spChg chg="add mod">
          <ac:chgData name="Renata Festa" userId="6f22df47-533b-4c2a-a3c1-7f9ad1d63e10" providerId="ADAL" clId="{7D997690-04A4-4675-83D7-2E1CC2ED1A4E}" dt="2020-03-24T17:37:41.257" v="2365" actId="164"/>
          <ac:spMkLst>
            <pc:docMk/>
            <pc:sldMk cId="3235270007" sldId="257"/>
            <ac:spMk id="6" creationId="{EDB7564E-95B8-498D-A68B-0F745DF938D7}"/>
          </ac:spMkLst>
        </pc:spChg>
        <pc:spChg chg="add mod">
          <ac:chgData name="Renata Festa" userId="6f22df47-533b-4c2a-a3c1-7f9ad1d63e10" providerId="ADAL" clId="{7D997690-04A4-4675-83D7-2E1CC2ED1A4E}" dt="2020-03-24T17:37:41.257" v="2365" actId="164"/>
          <ac:spMkLst>
            <pc:docMk/>
            <pc:sldMk cId="3235270007" sldId="257"/>
            <ac:spMk id="9" creationId="{3E2A1003-40AF-44B8-BA85-28DCF450597B}"/>
          </ac:spMkLst>
        </pc:spChg>
        <pc:spChg chg="add mod">
          <ac:chgData name="Renata Festa" userId="6f22df47-533b-4c2a-a3c1-7f9ad1d63e10" providerId="ADAL" clId="{7D997690-04A4-4675-83D7-2E1CC2ED1A4E}" dt="2020-03-24T17:37:41.257" v="2365" actId="164"/>
          <ac:spMkLst>
            <pc:docMk/>
            <pc:sldMk cId="3235270007" sldId="257"/>
            <ac:spMk id="10" creationId="{53D98052-D14F-42BA-92BB-9851E65DAB4B}"/>
          </ac:spMkLst>
        </pc:spChg>
        <pc:spChg chg="add mod">
          <ac:chgData name="Renata Festa" userId="6f22df47-533b-4c2a-a3c1-7f9ad1d63e10" providerId="ADAL" clId="{7D997690-04A4-4675-83D7-2E1CC2ED1A4E}" dt="2020-03-24T17:37:41.257" v="2365" actId="164"/>
          <ac:spMkLst>
            <pc:docMk/>
            <pc:sldMk cId="3235270007" sldId="257"/>
            <ac:spMk id="14" creationId="{FCBDD917-082F-4047-8A62-46398353D8FF}"/>
          </ac:spMkLst>
        </pc:spChg>
        <pc:spChg chg="add mod">
          <ac:chgData name="Renata Festa" userId="6f22df47-533b-4c2a-a3c1-7f9ad1d63e10" providerId="ADAL" clId="{7D997690-04A4-4675-83D7-2E1CC2ED1A4E}" dt="2020-03-24T17:37:41.257" v="2365" actId="164"/>
          <ac:spMkLst>
            <pc:docMk/>
            <pc:sldMk cId="3235270007" sldId="257"/>
            <ac:spMk id="16" creationId="{ECEEC552-C320-4B8A-8E19-CCB704187752}"/>
          </ac:spMkLst>
        </pc:spChg>
        <pc:spChg chg="add mod">
          <ac:chgData name="Renata Festa" userId="6f22df47-533b-4c2a-a3c1-7f9ad1d63e10" providerId="ADAL" clId="{7D997690-04A4-4675-83D7-2E1CC2ED1A4E}" dt="2020-03-24T17:37:41.257" v="2365" actId="164"/>
          <ac:spMkLst>
            <pc:docMk/>
            <pc:sldMk cId="3235270007" sldId="257"/>
            <ac:spMk id="17" creationId="{161959DF-3FEF-49EE-AD7F-BC2780D8C697}"/>
          </ac:spMkLst>
        </pc:spChg>
        <pc:spChg chg="add mod">
          <ac:chgData name="Renata Festa" userId="6f22df47-533b-4c2a-a3c1-7f9ad1d63e10" providerId="ADAL" clId="{7D997690-04A4-4675-83D7-2E1CC2ED1A4E}" dt="2020-03-24T17:37:41.257" v="2365" actId="164"/>
          <ac:spMkLst>
            <pc:docMk/>
            <pc:sldMk cId="3235270007" sldId="257"/>
            <ac:spMk id="18" creationId="{4BBA0E84-B9B4-4172-8950-1FCD58746588}"/>
          </ac:spMkLst>
        </pc:spChg>
        <pc:spChg chg="add mod">
          <ac:chgData name="Renata Festa" userId="6f22df47-533b-4c2a-a3c1-7f9ad1d63e10" providerId="ADAL" clId="{7D997690-04A4-4675-83D7-2E1CC2ED1A4E}" dt="2020-03-24T17:37:41.257" v="2365" actId="164"/>
          <ac:spMkLst>
            <pc:docMk/>
            <pc:sldMk cId="3235270007" sldId="257"/>
            <ac:spMk id="27" creationId="{693CA917-DEBE-45D0-8561-ABC9DC2A2B3E}"/>
          </ac:spMkLst>
        </pc:spChg>
        <pc:spChg chg="add mod">
          <ac:chgData name="Renata Festa" userId="6f22df47-533b-4c2a-a3c1-7f9ad1d63e10" providerId="ADAL" clId="{7D997690-04A4-4675-83D7-2E1CC2ED1A4E}" dt="2020-03-24T17:37:41.257" v="2365" actId="164"/>
          <ac:spMkLst>
            <pc:docMk/>
            <pc:sldMk cId="3235270007" sldId="257"/>
            <ac:spMk id="37" creationId="{C1678387-11D3-47A8-BF88-479655335A22}"/>
          </ac:spMkLst>
        </pc:spChg>
        <pc:spChg chg="add mod">
          <ac:chgData name="Renata Festa" userId="6f22df47-533b-4c2a-a3c1-7f9ad1d63e10" providerId="ADAL" clId="{7D997690-04A4-4675-83D7-2E1CC2ED1A4E}" dt="2020-03-24T17:37:41.257" v="2365" actId="164"/>
          <ac:spMkLst>
            <pc:docMk/>
            <pc:sldMk cId="3235270007" sldId="257"/>
            <ac:spMk id="38" creationId="{E12235C6-BFFD-4659-B7A0-C596D372C69B}"/>
          </ac:spMkLst>
        </pc:spChg>
        <pc:spChg chg="add mod">
          <ac:chgData name="Renata Festa" userId="6f22df47-533b-4c2a-a3c1-7f9ad1d63e10" providerId="ADAL" clId="{7D997690-04A4-4675-83D7-2E1CC2ED1A4E}" dt="2020-03-24T17:37:41.257" v="2365" actId="164"/>
          <ac:spMkLst>
            <pc:docMk/>
            <pc:sldMk cId="3235270007" sldId="257"/>
            <ac:spMk id="44" creationId="{D95A261B-B6C0-4FAF-B95D-FE32FC45A872}"/>
          </ac:spMkLst>
        </pc:spChg>
        <pc:spChg chg="add mod">
          <ac:chgData name="Renata Festa" userId="6f22df47-533b-4c2a-a3c1-7f9ad1d63e10" providerId="ADAL" clId="{7D997690-04A4-4675-83D7-2E1CC2ED1A4E}" dt="2020-03-24T17:37:41.257" v="2365" actId="164"/>
          <ac:spMkLst>
            <pc:docMk/>
            <pc:sldMk cId="3235270007" sldId="257"/>
            <ac:spMk id="45" creationId="{8FF55B84-B17D-4EFB-9E46-90AE337A7349}"/>
          </ac:spMkLst>
        </pc:spChg>
        <pc:grpChg chg="add mod">
          <ac:chgData name="Renata Festa" userId="6f22df47-533b-4c2a-a3c1-7f9ad1d63e10" providerId="ADAL" clId="{7D997690-04A4-4675-83D7-2E1CC2ED1A4E}" dt="2020-03-24T17:41:22.488" v="2692" actId="962"/>
          <ac:grpSpMkLst>
            <pc:docMk/>
            <pc:sldMk cId="3235270007" sldId="257"/>
            <ac:grpSpMk id="3" creationId="{4D34517C-A9CA-4D67-9E91-2CBD2D1B944D}"/>
          </ac:grpSpMkLst>
        </pc:grpChg>
        <pc:grpChg chg="add mod">
          <ac:chgData name="Renata Festa" userId="6f22df47-533b-4c2a-a3c1-7f9ad1d63e10" providerId="ADAL" clId="{7D997690-04A4-4675-83D7-2E1CC2ED1A4E}" dt="2020-03-24T17:37:41.257" v="2365" actId="164"/>
          <ac:grpSpMkLst>
            <pc:docMk/>
            <pc:sldMk cId="3235270007" sldId="257"/>
            <ac:grpSpMk id="19" creationId="{469D03F4-DEDA-4EA7-A144-54F37A55B242}"/>
          </ac:grpSpMkLst>
        </pc:grpChg>
        <pc:grpChg chg="add mod">
          <ac:chgData name="Renata Festa" userId="6f22df47-533b-4c2a-a3c1-7f9ad1d63e10" providerId="ADAL" clId="{7D997690-04A4-4675-83D7-2E1CC2ED1A4E}" dt="2020-03-24T17:37:41.257" v="2365" actId="164"/>
          <ac:grpSpMkLst>
            <pc:docMk/>
            <pc:sldMk cId="3235270007" sldId="257"/>
            <ac:grpSpMk id="22" creationId="{06810C62-B434-4EEF-A49F-E1995C8EEE76}"/>
          </ac:grpSpMkLst>
        </pc:grpChg>
        <pc:grpChg chg="add mod">
          <ac:chgData name="Renata Festa" userId="6f22df47-533b-4c2a-a3c1-7f9ad1d63e10" providerId="ADAL" clId="{7D997690-04A4-4675-83D7-2E1CC2ED1A4E}" dt="2020-03-24T17:37:41.257" v="2365" actId="164"/>
          <ac:grpSpMkLst>
            <pc:docMk/>
            <pc:sldMk cId="3235270007" sldId="257"/>
            <ac:grpSpMk id="28" creationId="{0438842F-E604-43D4-8894-732D926E0D21}"/>
          </ac:grpSpMkLst>
        </pc:grpChg>
        <pc:grpChg chg="add mod">
          <ac:chgData name="Renata Festa" userId="6f22df47-533b-4c2a-a3c1-7f9ad1d63e10" providerId="ADAL" clId="{7D997690-04A4-4675-83D7-2E1CC2ED1A4E}" dt="2020-03-24T17:37:41.257" v="2365" actId="164"/>
          <ac:grpSpMkLst>
            <pc:docMk/>
            <pc:sldMk cId="3235270007" sldId="257"/>
            <ac:grpSpMk id="32" creationId="{418424C3-0316-4737-8B67-DB7EB144EC94}"/>
          </ac:grpSpMkLst>
        </pc:grpChg>
        <pc:grpChg chg="add mod">
          <ac:chgData name="Renata Festa" userId="6f22df47-533b-4c2a-a3c1-7f9ad1d63e10" providerId="ADAL" clId="{7D997690-04A4-4675-83D7-2E1CC2ED1A4E}" dt="2020-03-24T17:37:41.257" v="2365" actId="164"/>
          <ac:grpSpMkLst>
            <pc:docMk/>
            <pc:sldMk cId="3235270007" sldId="257"/>
            <ac:grpSpMk id="39" creationId="{F23EB9B5-375F-499C-9D19-074944059085}"/>
          </ac:grpSpMkLst>
        </pc:grpChg>
        <pc:cxnChg chg="add mod">
          <ac:chgData name="Renata Festa" userId="6f22df47-533b-4c2a-a3c1-7f9ad1d63e10" providerId="ADAL" clId="{7D997690-04A4-4675-83D7-2E1CC2ED1A4E}" dt="2020-03-24T17:37:41.257" v="2365" actId="164"/>
          <ac:cxnSpMkLst>
            <pc:docMk/>
            <pc:sldMk cId="3235270007" sldId="257"/>
            <ac:cxnSpMk id="7" creationId="{B6CA9BDF-3F50-427B-B968-73FEB652A872}"/>
          </ac:cxnSpMkLst>
        </pc:cxnChg>
        <pc:cxnChg chg="add mod">
          <ac:chgData name="Renata Festa" userId="6f22df47-533b-4c2a-a3c1-7f9ad1d63e10" providerId="ADAL" clId="{7D997690-04A4-4675-83D7-2E1CC2ED1A4E}" dt="2020-03-24T17:37:41.257" v="2365" actId="164"/>
          <ac:cxnSpMkLst>
            <pc:docMk/>
            <pc:sldMk cId="3235270007" sldId="257"/>
            <ac:cxnSpMk id="8" creationId="{3CF66CF4-251C-479C-8DFD-DA97C8AA0F0C}"/>
          </ac:cxnSpMkLst>
        </pc:cxnChg>
        <pc:cxnChg chg="add mod">
          <ac:chgData name="Renata Festa" userId="6f22df47-533b-4c2a-a3c1-7f9ad1d63e10" providerId="ADAL" clId="{7D997690-04A4-4675-83D7-2E1CC2ED1A4E}" dt="2020-03-24T17:37:41.257" v="2365" actId="164"/>
          <ac:cxnSpMkLst>
            <pc:docMk/>
            <pc:sldMk cId="3235270007" sldId="257"/>
            <ac:cxnSpMk id="11" creationId="{5BEF7A87-9DAA-4FFF-94AB-B054732AC944}"/>
          </ac:cxnSpMkLst>
        </pc:cxnChg>
        <pc:cxnChg chg="add mod">
          <ac:chgData name="Renata Festa" userId="6f22df47-533b-4c2a-a3c1-7f9ad1d63e10" providerId="ADAL" clId="{7D997690-04A4-4675-83D7-2E1CC2ED1A4E}" dt="2020-03-24T17:37:41.257" v="2365" actId="164"/>
          <ac:cxnSpMkLst>
            <pc:docMk/>
            <pc:sldMk cId="3235270007" sldId="257"/>
            <ac:cxnSpMk id="12" creationId="{19502B52-5A05-47BA-861C-ACD7AAC7738D}"/>
          </ac:cxnSpMkLst>
        </pc:cxnChg>
        <pc:cxnChg chg="add mod">
          <ac:chgData name="Renata Festa" userId="6f22df47-533b-4c2a-a3c1-7f9ad1d63e10" providerId="ADAL" clId="{7D997690-04A4-4675-83D7-2E1CC2ED1A4E}" dt="2020-03-24T17:37:41.257" v="2365" actId="164"/>
          <ac:cxnSpMkLst>
            <pc:docMk/>
            <pc:sldMk cId="3235270007" sldId="257"/>
            <ac:cxnSpMk id="13" creationId="{3D38FC40-1040-41CB-B8F4-3B028BE9B3C4}"/>
          </ac:cxnSpMkLst>
        </pc:cxnChg>
        <pc:cxnChg chg="add mod">
          <ac:chgData name="Renata Festa" userId="6f22df47-533b-4c2a-a3c1-7f9ad1d63e10" providerId="ADAL" clId="{7D997690-04A4-4675-83D7-2E1CC2ED1A4E}" dt="2020-03-24T17:37:41.257" v="2365" actId="164"/>
          <ac:cxnSpMkLst>
            <pc:docMk/>
            <pc:sldMk cId="3235270007" sldId="257"/>
            <ac:cxnSpMk id="15" creationId="{4EBD0CCB-611C-4FD5-948D-F5697EED421A}"/>
          </ac:cxnSpMkLst>
        </pc:cxnChg>
        <pc:cxnChg chg="add mod">
          <ac:chgData name="Renata Festa" userId="6f22df47-533b-4c2a-a3c1-7f9ad1d63e10" providerId="ADAL" clId="{7D997690-04A4-4675-83D7-2E1CC2ED1A4E}" dt="2020-03-24T17:37:41.257" v="2365" actId="164"/>
          <ac:cxnSpMkLst>
            <pc:docMk/>
            <pc:sldMk cId="3235270007" sldId="257"/>
            <ac:cxnSpMk id="25" creationId="{B5F70571-79C1-493D-ADDD-BE3B9275586D}"/>
          </ac:cxnSpMkLst>
        </pc:cxnChg>
        <pc:cxnChg chg="add mod">
          <ac:chgData name="Renata Festa" userId="6f22df47-533b-4c2a-a3c1-7f9ad1d63e10" providerId="ADAL" clId="{7D997690-04A4-4675-83D7-2E1CC2ED1A4E}" dt="2020-03-24T17:37:41.257" v="2365" actId="164"/>
          <ac:cxnSpMkLst>
            <pc:docMk/>
            <pc:sldMk cId="3235270007" sldId="257"/>
            <ac:cxnSpMk id="26" creationId="{119B66B4-4D7A-467A-B3CE-BEBB005ED6AA}"/>
          </ac:cxnSpMkLst>
        </pc:cxnChg>
        <pc:cxnChg chg="add mod">
          <ac:chgData name="Renata Festa" userId="6f22df47-533b-4c2a-a3c1-7f9ad1d63e10" providerId="ADAL" clId="{7D997690-04A4-4675-83D7-2E1CC2ED1A4E}" dt="2020-03-24T17:37:41.257" v="2365" actId="164"/>
          <ac:cxnSpMkLst>
            <pc:docMk/>
            <pc:sldMk cId="3235270007" sldId="257"/>
            <ac:cxnSpMk id="35" creationId="{BB1BC3D7-28B2-4A1C-8526-B0123B2A2446}"/>
          </ac:cxnSpMkLst>
        </pc:cxnChg>
        <pc:cxnChg chg="add mod">
          <ac:chgData name="Renata Festa" userId="6f22df47-533b-4c2a-a3c1-7f9ad1d63e10" providerId="ADAL" clId="{7D997690-04A4-4675-83D7-2E1CC2ED1A4E}" dt="2020-03-24T17:37:41.257" v="2365" actId="164"/>
          <ac:cxnSpMkLst>
            <pc:docMk/>
            <pc:sldMk cId="3235270007" sldId="257"/>
            <ac:cxnSpMk id="36" creationId="{8A808728-50BE-44C3-B429-1C76E0B3F888}"/>
          </ac:cxnSpMkLst>
        </pc:cxnChg>
        <pc:cxnChg chg="add mod">
          <ac:chgData name="Renata Festa" userId="6f22df47-533b-4c2a-a3c1-7f9ad1d63e10" providerId="ADAL" clId="{7D997690-04A4-4675-83D7-2E1CC2ED1A4E}" dt="2020-03-24T17:37:41.257" v="2365" actId="164"/>
          <ac:cxnSpMkLst>
            <pc:docMk/>
            <pc:sldMk cId="3235270007" sldId="257"/>
            <ac:cxnSpMk id="42" creationId="{4EF5167A-90DB-4CE1-9179-93A7F342132F}"/>
          </ac:cxnSpMkLst>
        </pc:cxnChg>
        <pc:cxnChg chg="add mod">
          <ac:chgData name="Renata Festa" userId="6f22df47-533b-4c2a-a3c1-7f9ad1d63e10" providerId="ADAL" clId="{7D997690-04A4-4675-83D7-2E1CC2ED1A4E}" dt="2020-03-24T17:37:41.257" v="2365" actId="164"/>
          <ac:cxnSpMkLst>
            <pc:docMk/>
            <pc:sldMk cId="3235270007" sldId="257"/>
            <ac:cxnSpMk id="43" creationId="{8929777F-4906-45BC-8814-3E8BC7F44D99}"/>
          </ac:cxnSpMkLst>
        </pc:cxnChg>
        <pc:cxnChg chg="add mod">
          <ac:chgData name="Renata Festa" userId="6f22df47-533b-4c2a-a3c1-7f9ad1d63e10" providerId="ADAL" clId="{7D997690-04A4-4675-83D7-2E1CC2ED1A4E}" dt="2020-03-24T17:37:41.257" v="2365" actId="164"/>
          <ac:cxnSpMkLst>
            <pc:docMk/>
            <pc:sldMk cId="3235270007" sldId="257"/>
            <ac:cxnSpMk id="46" creationId="{6D162B8A-4C86-4B87-95A1-C21D98DE01CD}"/>
          </ac:cxnSpMkLst>
        </pc:cxnChg>
        <pc:cxnChg chg="add mod">
          <ac:chgData name="Renata Festa" userId="6f22df47-533b-4c2a-a3c1-7f9ad1d63e10" providerId="ADAL" clId="{7D997690-04A4-4675-83D7-2E1CC2ED1A4E}" dt="2020-03-24T17:37:41.257" v="2365" actId="164"/>
          <ac:cxnSpMkLst>
            <pc:docMk/>
            <pc:sldMk cId="3235270007" sldId="257"/>
            <ac:cxnSpMk id="47" creationId="{7B27DA6E-9183-47D0-8D8D-11A9E977A825}"/>
          </ac:cxnSpMkLst>
        </pc:cxnChg>
        <pc:cxnChg chg="add mod">
          <ac:chgData name="Renata Festa" userId="6f22df47-533b-4c2a-a3c1-7f9ad1d63e10" providerId="ADAL" clId="{7D997690-04A4-4675-83D7-2E1CC2ED1A4E}" dt="2020-03-24T17:37:41.257" v="2365" actId="164"/>
          <ac:cxnSpMkLst>
            <pc:docMk/>
            <pc:sldMk cId="3235270007" sldId="257"/>
            <ac:cxnSpMk id="48" creationId="{79187E3D-AC1C-49DD-9E20-066D891BECF7}"/>
          </ac:cxnSpMkLst>
        </pc:cxnChg>
        <pc:cxnChg chg="add mod">
          <ac:chgData name="Renata Festa" userId="6f22df47-533b-4c2a-a3c1-7f9ad1d63e10" providerId="ADAL" clId="{7D997690-04A4-4675-83D7-2E1CC2ED1A4E}" dt="2020-03-24T17:37:41.257" v="2365" actId="164"/>
          <ac:cxnSpMkLst>
            <pc:docMk/>
            <pc:sldMk cId="3235270007" sldId="257"/>
            <ac:cxnSpMk id="49" creationId="{28C7AB2B-4C0F-46A3-B7FD-18FAD4CAA43D}"/>
          </ac:cxnSpMkLst>
        </pc:cxnChg>
      </pc:sldChg>
      <pc:sldChg chg="addSp delSp modSp mod">
        <pc:chgData name="Renata Festa" userId="6f22df47-533b-4c2a-a3c1-7f9ad1d63e10" providerId="ADAL" clId="{7D997690-04A4-4675-83D7-2E1CC2ED1A4E}" dt="2020-03-24T17:38:05.093" v="2415" actId="962"/>
        <pc:sldMkLst>
          <pc:docMk/>
          <pc:sldMk cId="1196121053" sldId="260"/>
        </pc:sldMkLst>
        <pc:spChg chg="mod">
          <ac:chgData name="Renata Festa" userId="6f22df47-533b-4c2a-a3c1-7f9ad1d63e10" providerId="ADAL" clId="{7D997690-04A4-4675-83D7-2E1CC2ED1A4E}" dt="2020-03-20T18:48:30.372" v="0"/>
          <ac:spMkLst>
            <pc:docMk/>
            <pc:sldMk cId="1196121053" sldId="260"/>
            <ac:spMk id="4" creationId="{5D85DF47-300F-4085-B774-DDE734B96F99}"/>
          </ac:spMkLst>
        </pc:spChg>
        <pc:spChg chg="add del mod">
          <ac:chgData name="Renata Festa" userId="6f22df47-533b-4c2a-a3c1-7f9ad1d63e10" providerId="ADAL" clId="{7D997690-04A4-4675-83D7-2E1CC2ED1A4E}" dt="2020-03-24T17:38:05.093" v="2415" actId="962"/>
          <ac:spMkLst>
            <pc:docMk/>
            <pc:sldMk cId="1196121053" sldId="260"/>
            <ac:spMk id="6" creationId="{0B24CF9C-EA03-4678-8221-3892B00F4889}"/>
          </ac:spMkLst>
        </pc:spChg>
        <pc:spChg chg="add">
          <ac:chgData name="Renata Festa" userId="6f22df47-533b-4c2a-a3c1-7f9ad1d63e10" providerId="ADAL" clId="{7D997690-04A4-4675-83D7-2E1CC2ED1A4E}" dt="2020-03-24T17:35:45.617" v="2362"/>
          <ac:spMkLst>
            <pc:docMk/>
            <pc:sldMk cId="1196121053" sldId="260"/>
            <ac:spMk id="16" creationId="{2BFCE26A-066E-4A38-932B-6CCAA6CE1249}"/>
          </ac:spMkLst>
        </pc:spChg>
        <pc:grpChg chg="add">
          <ac:chgData name="Renata Festa" userId="6f22df47-533b-4c2a-a3c1-7f9ad1d63e10" providerId="ADAL" clId="{7D997690-04A4-4675-83D7-2E1CC2ED1A4E}" dt="2020-03-24T17:35:45.617" v="2362"/>
          <ac:grpSpMkLst>
            <pc:docMk/>
            <pc:sldMk cId="1196121053" sldId="260"/>
            <ac:grpSpMk id="7" creationId="{261D9595-CE7D-4D58-A1AF-FD629EB2B795}"/>
          </ac:grpSpMkLst>
        </pc:grpChg>
      </pc:sldChg>
      <pc:sldChg chg="del mod modShow">
        <pc:chgData name="Renata Festa" userId="6f22df47-533b-4c2a-a3c1-7f9ad1d63e10" providerId="ADAL" clId="{7D997690-04A4-4675-83D7-2E1CC2ED1A4E}" dt="2020-03-24T14:26:08.878" v="1810" actId="47"/>
        <pc:sldMkLst>
          <pc:docMk/>
          <pc:sldMk cId="4267675391" sldId="531"/>
        </pc:sldMkLst>
      </pc:sldChg>
      <pc:sldChg chg="modAnim">
        <pc:chgData name="Renata Festa" userId="6f22df47-533b-4c2a-a3c1-7f9ad1d63e10" providerId="ADAL" clId="{7D997690-04A4-4675-83D7-2E1CC2ED1A4E}" dt="2020-03-20T18:53:09.583" v="22"/>
        <pc:sldMkLst>
          <pc:docMk/>
          <pc:sldMk cId="2621600474" sldId="534"/>
        </pc:sldMkLst>
      </pc:sldChg>
      <pc:sldChg chg="del mod modShow">
        <pc:chgData name="Renata Festa" userId="6f22df47-533b-4c2a-a3c1-7f9ad1d63e10" providerId="ADAL" clId="{7D997690-04A4-4675-83D7-2E1CC2ED1A4E}" dt="2020-03-24T14:26:06.816" v="1809" actId="47"/>
        <pc:sldMkLst>
          <pc:docMk/>
          <pc:sldMk cId="1861621179" sldId="535"/>
        </pc:sldMkLst>
      </pc:sldChg>
      <pc:sldChg chg="mod ord modShow">
        <pc:chgData name="Renata Festa" userId="6f22df47-533b-4c2a-a3c1-7f9ad1d63e10" providerId="ADAL" clId="{7D997690-04A4-4675-83D7-2E1CC2ED1A4E}" dt="2020-03-24T16:04:19.768" v="2116"/>
        <pc:sldMkLst>
          <pc:docMk/>
          <pc:sldMk cId="2980146838" sldId="560"/>
        </pc:sldMkLst>
      </pc:sldChg>
      <pc:sldChg chg="modSp">
        <pc:chgData name="Renata Festa" userId="6f22df47-533b-4c2a-a3c1-7f9ad1d63e10" providerId="ADAL" clId="{7D997690-04A4-4675-83D7-2E1CC2ED1A4E}" dt="2020-03-20T18:49:40.154" v="1"/>
        <pc:sldMkLst>
          <pc:docMk/>
          <pc:sldMk cId="1615560134" sldId="562"/>
        </pc:sldMkLst>
        <pc:spChg chg="mod">
          <ac:chgData name="Renata Festa" userId="6f22df47-533b-4c2a-a3c1-7f9ad1d63e10" providerId="ADAL" clId="{7D997690-04A4-4675-83D7-2E1CC2ED1A4E}" dt="2020-03-20T18:49:40.154" v="1"/>
          <ac:spMkLst>
            <pc:docMk/>
            <pc:sldMk cId="1615560134" sldId="562"/>
            <ac:spMk id="3" creationId="{859B2BAE-A383-4E74-B3CF-9AC64DA11727}"/>
          </ac:spMkLst>
        </pc:spChg>
      </pc:sldChg>
      <pc:sldChg chg="del mod modShow">
        <pc:chgData name="Renata Festa" userId="6f22df47-533b-4c2a-a3c1-7f9ad1d63e10" providerId="ADAL" clId="{7D997690-04A4-4675-83D7-2E1CC2ED1A4E}" dt="2020-03-24T14:26:03.342" v="1808" actId="47"/>
        <pc:sldMkLst>
          <pc:docMk/>
          <pc:sldMk cId="3735096506" sldId="563"/>
        </pc:sldMkLst>
      </pc:sldChg>
      <pc:sldChg chg="addSp delSp modSp mod modAnim modNotesTx">
        <pc:chgData name="Renata Festa" userId="6f22df47-533b-4c2a-a3c1-7f9ad1d63e10" providerId="ADAL" clId="{7D997690-04A4-4675-83D7-2E1CC2ED1A4E}" dt="2020-03-24T14:28:03.031" v="1837" actId="478"/>
        <pc:sldMkLst>
          <pc:docMk/>
          <pc:sldMk cId="4221783869" sldId="566"/>
        </pc:sldMkLst>
        <pc:spChg chg="mod">
          <ac:chgData name="Renata Festa" userId="6f22df47-533b-4c2a-a3c1-7f9ad1d63e10" providerId="ADAL" clId="{7D997690-04A4-4675-83D7-2E1CC2ED1A4E}" dt="2020-03-24T14:27:19.126" v="1829"/>
          <ac:spMkLst>
            <pc:docMk/>
            <pc:sldMk cId="4221783869" sldId="566"/>
            <ac:spMk id="2" creationId="{EB67312A-9819-43C6-8D84-D9136E6CFFCC}"/>
          </ac:spMkLst>
        </pc:spChg>
        <pc:spChg chg="del">
          <ac:chgData name="Renata Festa" userId="6f22df47-533b-4c2a-a3c1-7f9ad1d63e10" providerId="ADAL" clId="{7D997690-04A4-4675-83D7-2E1CC2ED1A4E}" dt="2020-03-24T14:27:27.667" v="1830" actId="478"/>
          <ac:spMkLst>
            <pc:docMk/>
            <pc:sldMk cId="4221783869" sldId="566"/>
            <ac:spMk id="3" creationId="{F35E8CBB-5A7D-4DEF-BAF7-8DD5D042F9E0}"/>
          </ac:spMkLst>
        </pc:spChg>
        <pc:spChg chg="del">
          <ac:chgData name="Renata Festa" userId="6f22df47-533b-4c2a-a3c1-7f9ad1d63e10" providerId="ADAL" clId="{7D997690-04A4-4675-83D7-2E1CC2ED1A4E}" dt="2020-03-24T14:28:03.031" v="1837" actId="478"/>
          <ac:spMkLst>
            <pc:docMk/>
            <pc:sldMk cId="4221783869" sldId="566"/>
            <ac:spMk id="4" creationId="{F3616A99-090F-45E1-9334-58D58B148205}"/>
          </ac:spMkLst>
        </pc:spChg>
        <pc:spChg chg="add del">
          <ac:chgData name="Renata Festa" userId="6f22df47-533b-4c2a-a3c1-7f9ad1d63e10" providerId="ADAL" clId="{7D997690-04A4-4675-83D7-2E1CC2ED1A4E}" dt="2020-03-24T14:27:36.085" v="1832"/>
          <ac:spMkLst>
            <pc:docMk/>
            <pc:sldMk cId="4221783869" sldId="566"/>
            <ac:spMk id="6" creationId="{5EBDB0B5-B11A-4B08-9CC3-AE9D75957C1F}"/>
          </ac:spMkLst>
        </pc:spChg>
        <pc:spChg chg="add del">
          <ac:chgData name="Renata Festa" userId="6f22df47-533b-4c2a-a3c1-7f9ad1d63e10" providerId="ADAL" clId="{7D997690-04A4-4675-83D7-2E1CC2ED1A4E}" dt="2020-03-24T14:27:36.085" v="1832"/>
          <ac:spMkLst>
            <pc:docMk/>
            <pc:sldMk cId="4221783869" sldId="566"/>
            <ac:spMk id="7" creationId="{33EF053B-0CE6-4015-A7E4-7965960B1AD5}"/>
          </ac:spMkLst>
        </pc:spChg>
        <pc:spChg chg="add del">
          <ac:chgData name="Renata Festa" userId="6f22df47-533b-4c2a-a3c1-7f9ad1d63e10" providerId="ADAL" clId="{7D997690-04A4-4675-83D7-2E1CC2ED1A4E}" dt="2020-03-24T14:27:36.085" v="1832"/>
          <ac:spMkLst>
            <pc:docMk/>
            <pc:sldMk cId="4221783869" sldId="566"/>
            <ac:spMk id="8" creationId="{A86D2AD5-A172-4045-8913-491A728229DF}"/>
          </ac:spMkLst>
        </pc:spChg>
        <pc:spChg chg="add del">
          <ac:chgData name="Renata Festa" userId="6f22df47-533b-4c2a-a3c1-7f9ad1d63e10" providerId="ADAL" clId="{7D997690-04A4-4675-83D7-2E1CC2ED1A4E}" dt="2020-03-24T14:27:36.085" v="1832"/>
          <ac:spMkLst>
            <pc:docMk/>
            <pc:sldMk cId="4221783869" sldId="566"/>
            <ac:spMk id="9" creationId="{47C3FDF1-39B8-4E35-8E1F-1D2025A295BC}"/>
          </ac:spMkLst>
        </pc:spChg>
        <pc:spChg chg="add del">
          <ac:chgData name="Renata Festa" userId="6f22df47-533b-4c2a-a3c1-7f9ad1d63e10" providerId="ADAL" clId="{7D997690-04A4-4675-83D7-2E1CC2ED1A4E}" dt="2020-03-24T14:27:36.085" v="1832"/>
          <ac:spMkLst>
            <pc:docMk/>
            <pc:sldMk cId="4221783869" sldId="566"/>
            <ac:spMk id="10" creationId="{F9682F92-1972-43A0-AE3E-3724B22FE061}"/>
          </ac:spMkLst>
        </pc:spChg>
        <pc:spChg chg="add del">
          <ac:chgData name="Renata Festa" userId="6f22df47-533b-4c2a-a3c1-7f9ad1d63e10" providerId="ADAL" clId="{7D997690-04A4-4675-83D7-2E1CC2ED1A4E}" dt="2020-03-24T14:27:36.085" v="1832"/>
          <ac:spMkLst>
            <pc:docMk/>
            <pc:sldMk cId="4221783869" sldId="566"/>
            <ac:spMk id="11" creationId="{DB6E9A94-30EE-4AAD-B8BF-B27AD93C78D4}"/>
          </ac:spMkLst>
        </pc:spChg>
        <pc:spChg chg="add del">
          <ac:chgData name="Renata Festa" userId="6f22df47-533b-4c2a-a3c1-7f9ad1d63e10" providerId="ADAL" clId="{7D997690-04A4-4675-83D7-2E1CC2ED1A4E}" dt="2020-03-24T14:27:36.085" v="1832"/>
          <ac:spMkLst>
            <pc:docMk/>
            <pc:sldMk cId="4221783869" sldId="566"/>
            <ac:spMk id="12" creationId="{AC789E82-967C-4787-B7D9-10E38579BB3A}"/>
          </ac:spMkLst>
        </pc:spChg>
        <pc:spChg chg="add mod">
          <ac:chgData name="Renata Festa" userId="6f22df47-533b-4c2a-a3c1-7f9ad1d63e10" providerId="ADAL" clId="{7D997690-04A4-4675-83D7-2E1CC2ED1A4E}" dt="2020-03-24T14:27:41.775" v="1834" actId="1076"/>
          <ac:spMkLst>
            <pc:docMk/>
            <pc:sldMk cId="4221783869" sldId="566"/>
            <ac:spMk id="13" creationId="{7E1F657D-671F-46B0-954E-21F31BE1E988}"/>
          </ac:spMkLst>
        </pc:spChg>
        <pc:spChg chg="add mod">
          <ac:chgData name="Renata Festa" userId="6f22df47-533b-4c2a-a3c1-7f9ad1d63e10" providerId="ADAL" clId="{7D997690-04A4-4675-83D7-2E1CC2ED1A4E}" dt="2020-03-24T14:27:41.775" v="1834" actId="1076"/>
          <ac:spMkLst>
            <pc:docMk/>
            <pc:sldMk cId="4221783869" sldId="566"/>
            <ac:spMk id="14" creationId="{2624B2E8-8694-4C65-AD93-3BC649C3965F}"/>
          </ac:spMkLst>
        </pc:spChg>
        <pc:spChg chg="add mod">
          <ac:chgData name="Renata Festa" userId="6f22df47-533b-4c2a-a3c1-7f9ad1d63e10" providerId="ADAL" clId="{7D997690-04A4-4675-83D7-2E1CC2ED1A4E}" dt="2020-03-24T14:27:41.775" v="1834" actId="1076"/>
          <ac:spMkLst>
            <pc:docMk/>
            <pc:sldMk cId="4221783869" sldId="566"/>
            <ac:spMk id="15" creationId="{61C92396-E779-4B67-928B-BF6248F77FE0}"/>
          </ac:spMkLst>
        </pc:spChg>
        <pc:spChg chg="add mod">
          <ac:chgData name="Renata Festa" userId="6f22df47-533b-4c2a-a3c1-7f9ad1d63e10" providerId="ADAL" clId="{7D997690-04A4-4675-83D7-2E1CC2ED1A4E}" dt="2020-03-24T14:27:41.775" v="1834" actId="1076"/>
          <ac:spMkLst>
            <pc:docMk/>
            <pc:sldMk cId="4221783869" sldId="566"/>
            <ac:spMk id="16" creationId="{18B63CD2-A1E5-46CB-B25D-927C2632553B}"/>
          </ac:spMkLst>
        </pc:spChg>
        <pc:spChg chg="add mod">
          <ac:chgData name="Renata Festa" userId="6f22df47-533b-4c2a-a3c1-7f9ad1d63e10" providerId="ADAL" clId="{7D997690-04A4-4675-83D7-2E1CC2ED1A4E}" dt="2020-03-24T14:27:41.775" v="1834" actId="1076"/>
          <ac:spMkLst>
            <pc:docMk/>
            <pc:sldMk cId="4221783869" sldId="566"/>
            <ac:spMk id="17" creationId="{C6CDD43F-350B-47AC-AF36-B761B62925E1}"/>
          </ac:spMkLst>
        </pc:spChg>
        <pc:spChg chg="add mod">
          <ac:chgData name="Renata Festa" userId="6f22df47-533b-4c2a-a3c1-7f9ad1d63e10" providerId="ADAL" clId="{7D997690-04A4-4675-83D7-2E1CC2ED1A4E}" dt="2020-03-24T14:27:41.775" v="1834" actId="1076"/>
          <ac:spMkLst>
            <pc:docMk/>
            <pc:sldMk cId="4221783869" sldId="566"/>
            <ac:spMk id="18" creationId="{41EF61EC-6A4E-449B-B0A8-09C1749FDA3F}"/>
          </ac:spMkLst>
        </pc:spChg>
        <pc:spChg chg="add mod">
          <ac:chgData name="Renata Festa" userId="6f22df47-533b-4c2a-a3c1-7f9ad1d63e10" providerId="ADAL" clId="{7D997690-04A4-4675-83D7-2E1CC2ED1A4E}" dt="2020-03-24T14:27:45.293" v="1835" actId="1076"/>
          <ac:spMkLst>
            <pc:docMk/>
            <pc:sldMk cId="4221783869" sldId="566"/>
            <ac:spMk id="19" creationId="{7F7818A5-BA8A-4AAC-B80A-4A04351C1C7D}"/>
          </ac:spMkLst>
        </pc:spChg>
        <pc:picChg chg="add del">
          <ac:chgData name="Renata Festa" userId="6f22df47-533b-4c2a-a3c1-7f9ad1d63e10" providerId="ADAL" clId="{7D997690-04A4-4675-83D7-2E1CC2ED1A4E}" dt="2020-03-24T14:27:12.616" v="1828"/>
          <ac:picMkLst>
            <pc:docMk/>
            <pc:sldMk cId="4221783869" sldId="566"/>
            <ac:picMk id="5" creationId="{3A834959-7F85-4C5C-9368-4B9CAA91FBF9}"/>
          </ac:picMkLst>
        </pc:picChg>
      </pc:sldChg>
      <pc:sldChg chg="del">
        <pc:chgData name="Renata Festa" userId="6f22df47-533b-4c2a-a3c1-7f9ad1d63e10" providerId="ADAL" clId="{7D997690-04A4-4675-83D7-2E1CC2ED1A4E}" dt="2020-03-24T14:36:06.820" v="1922" actId="47"/>
        <pc:sldMkLst>
          <pc:docMk/>
          <pc:sldMk cId="670385602" sldId="567"/>
        </pc:sldMkLst>
      </pc:sldChg>
      <pc:sldChg chg="del">
        <pc:chgData name="Renata Festa" userId="6f22df47-533b-4c2a-a3c1-7f9ad1d63e10" providerId="ADAL" clId="{7D997690-04A4-4675-83D7-2E1CC2ED1A4E}" dt="2020-03-24T14:36:07.292" v="1923" actId="47"/>
        <pc:sldMkLst>
          <pc:docMk/>
          <pc:sldMk cId="2147177822" sldId="568"/>
        </pc:sldMkLst>
      </pc:sldChg>
      <pc:sldChg chg="del">
        <pc:chgData name="Renata Festa" userId="6f22df47-533b-4c2a-a3c1-7f9ad1d63e10" providerId="ADAL" clId="{7D997690-04A4-4675-83D7-2E1CC2ED1A4E}" dt="2020-03-24T14:36:08.322" v="1924" actId="47"/>
        <pc:sldMkLst>
          <pc:docMk/>
          <pc:sldMk cId="1617064737" sldId="569"/>
        </pc:sldMkLst>
      </pc:sldChg>
      <pc:sldChg chg="modSp modAnim">
        <pc:chgData name="Renata Festa" userId="6f22df47-533b-4c2a-a3c1-7f9ad1d63e10" providerId="ADAL" clId="{7D997690-04A4-4675-83D7-2E1CC2ED1A4E}" dt="2020-03-25T17:03:56.179" v="4939"/>
        <pc:sldMkLst>
          <pc:docMk/>
          <pc:sldMk cId="2346840044" sldId="570"/>
        </pc:sldMkLst>
        <pc:graphicFrameChg chg="mod">
          <ac:chgData name="Renata Festa" userId="6f22df47-533b-4c2a-a3c1-7f9ad1d63e10" providerId="ADAL" clId="{7D997690-04A4-4675-83D7-2E1CC2ED1A4E}" dt="2020-03-24T14:36:29.486" v="1935" actId="20577"/>
          <ac:graphicFrameMkLst>
            <pc:docMk/>
            <pc:sldMk cId="2346840044" sldId="570"/>
            <ac:graphicFrameMk id="3" creationId="{9484E1FE-7534-495E-863C-657A46F5E628}"/>
          </ac:graphicFrameMkLst>
        </pc:graphicFrameChg>
      </pc:sldChg>
      <pc:sldChg chg="addSp modSp mod modAnim">
        <pc:chgData name="Renata Festa" userId="6f22df47-533b-4c2a-a3c1-7f9ad1d63e10" providerId="ADAL" clId="{7D997690-04A4-4675-83D7-2E1CC2ED1A4E}" dt="2020-03-24T15:50:14.603" v="1946" actId="1076"/>
        <pc:sldMkLst>
          <pc:docMk/>
          <pc:sldMk cId="4248838292" sldId="573"/>
        </pc:sldMkLst>
        <pc:spChg chg="mod">
          <ac:chgData name="Renata Festa" userId="6f22df47-533b-4c2a-a3c1-7f9ad1d63e10" providerId="ADAL" clId="{7D997690-04A4-4675-83D7-2E1CC2ED1A4E}" dt="2020-03-24T15:49:54.847" v="1942"/>
          <ac:spMkLst>
            <pc:docMk/>
            <pc:sldMk cId="4248838292" sldId="573"/>
            <ac:spMk id="2" creationId="{EB67312A-9819-43C6-8D84-D9136E6CFFCC}"/>
          </ac:spMkLst>
        </pc:spChg>
        <pc:picChg chg="add mod">
          <ac:chgData name="Renata Festa" userId="6f22df47-533b-4c2a-a3c1-7f9ad1d63e10" providerId="ADAL" clId="{7D997690-04A4-4675-83D7-2E1CC2ED1A4E}" dt="2020-03-24T15:50:14.603" v="1946" actId="1076"/>
          <ac:picMkLst>
            <pc:docMk/>
            <pc:sldMk cId="4248838292" sldId="573"/>
            <ac:picMk id="5" creationId="{4A0DED44-1461-4AA1-A2EB-7DF5D5543362}"/>
          </ac:picMkLst>
        </pc:picChg>
      </pc:sldChg>
      <pc:sldChg chg="del">
        <pc:chgData name="Renata Festa" userId="6f22df47-533b-4c2a-a3c1-7f9ad1d63e10" providerId="ADAL" clId="{7D997690-04A4-4675-83D7-2E1CC2ED1A4E}" dt="2020-03-24T16:04:07.685" v="2113" actId="47"/>
        <pc:sldMkLst>
          <pc:docMk/>
          <pc:sldMk cId="1487953619" sldId="574"/>
        </pc:sldMkLst>
      </pc:sldChg>
      <pc:sldChg chg="del">
        <pc:chgData name="Renata Festa" userId="6f22df47-533b-4c2a-a3c1-7f9ad1d63e10" providerId="ADAL" clId="{7D997690-04A4-4675-83D7-2E1CC2ED1A4E}" dt="2020-03-24T16:04:07.685" v="2113" actId="47"/>
        <pc:sldMkLst>
          <pc:docMk/>
          <pc:sldMk cId="3563492871" sldId="575"/>
        </pc:sldMkLst>
      </pc:sldChg>
      <pc:sldChg chg="addSp delSp modSp mod modAnim modNotesTx">
        <pc:chgData name="Renata Festa" userId="6f22df47-533b-4c2a-a3c1-7f9ad1d63e10" providerId="ADAL" clId="{7D997690-04A4-4675-83D7-2E1CC2ED1A4E}" dt="2020-03-25T17:04:11.388" v="4941"/>
        <pc:sldMkLst>
          <pc:docMk/>
          <pc:sldMk cId="4206133277" sldId="577"/>
        </pc:sldMkLst>
        <pc:spChg chg="add del mod">
          <ac:chgData name="Renata Festa" userId="6f22df47-533b-4c2a-a3c1-7f9ad1d63e10" providerId="ADAL" clId="{7D997690-04A4-4675-83D7-2E1CC2ED1A4E}" dt="2020-03-24T16:05:38.191" v="2136" actId="11529"/>
          <ac:spMkLst>
            <pc:docMk/>
            <pc:sldMk cId="4206133277" sldId="577"/>
            <ac:spMk id="4" creationId="{540E6270-24EF-4D68-BD85-EE2FC2528060}"/>
          </ac:spMkLst>
        </pc:spChg>
        <pc:graphicFrameChg chg="add del mod">
          <ac:chgData name="Renata Festa" userId="6f22df47-533b-4c2a-a3c1-7f9ad1d63e10" providerId="ADAL" clId="{7D997690-04A4-4675-83D7-2E1CC2ED1A4E}" dt="2020-03-24T16:06:42.074" v="2151" actId="478"/>
          <ac:graphicFrameMkLst>
            <pc:docMk/>
            <pc:sldMk cId="4206133277" sldId="577"/>
            <ac:graphicFrameMk id="3" creationId="{9484E1FE-7534-495E-863C-657A46F5E628}"/>
          </ac:graphicFrameMkLst>
        </pc:graphicFrameChg>
      </pc:sldChg>
      <pc:sldChg chg="del mod modShow">
        <pc:chgData name="Renata Festa" userId="6f22df47-533b-4c2a-a3c1-7f9ad1d63e10" providerId="ADAL" clId="{7D997690-04A4-4675-83D7-2E1CC2ED1A4E}" dt="2020-03-24T14:26:10.050" v="1811" actId="47"/>
        <pc:sldMkLst>
          <pc:docMk/>
          <pc:sldMk cId="3372985199" sldId="578"/>
        </pc:sldMkLst>
      </pc:sldChg>
      <pc:sldChg chg="del">
        <pc:chgData name="Renata Festa" userId="6f22df47-533b-4c2a-a3c1-7f9ad1d63e10" providerId="ADAL" clId="{7D997690-04A4-4675-83D7-2E1CC2ED1A4E}" dt="2020-03-24T14:36:06.375" v="1921" actId="47"/>
        <pc:sldMkLst>
          <pc:docMk/>
          <pc:sldMk cId="516268407" sldId="579"/>
        </pc:sldMkLst>
      </pc:sldChg>
      <pc:sldChg chg="del">
        <pc:chgData name="Renata Festa" userId="6f22df47-533b-4c2a-a3c1-7f9ad1d63e10" providerId="ADAL" clId="{7D997690-04A4-4675-83D7-2E1CC2ED1A4E}" dt="2020-03-24T16:04:07.685" v="2113" actId="47"/>
        <pc:sldMkLst>
          <pc:docMk/>
          <pc:sldMk cId="725857214" sldId="580"/>
        </pc:sldMkLst>
      </pc:sldChg>
      <pc:sldChg chg="addSp delSp modSp mod">
        <pc:chgData name="Renata Festa" userId="6f22df47-533b-4c2a-a3c1-7f9ad1d63e10" providerId="ADAL" clId="{7D997690-04A4-4675-83D7-2E1CC2ED1A4E}" dt="2020-03-24T16:07:45.330" v="2166" actId="478"/>
        <pc:sldMkLst>
          <pc:docMk/>
          <pc:sldMk cId="2354377971" sldId="582"/>
        </pc:sldMkLst>
        <pc:spChg chg="mod">
          <ac:chgData name="Renata Festa" userId="6f22df47-533b-4c2a-a3c1-7f9ad1d63e10" providerId="ADAL" clId="{7D997690-04A4-4675-83D7-2E1CC2ED1A4E}" dt="2020-03-24T16:07:25.114" v="2163"/>
          <ac:spMkLst>
            <pc:docMk/>
            <pc:sldMk cId="2354377971" sldId="582"/>
            <ac:spMk id="2" creationId="{EB67312A-9819-43C6-8D84-D9136E6CFFCC}"/>
          </ac:spMkLst>
        </pc:spChg>
        <pc:spChg chg="del">
          <ac:chgData name="Renata Festa" userId="6f22df47-533b-4c2a-a3c1-7f9ad1d63e10" providerId="ADAL" clId="{7D997690-04A4-4675-83D7-2E1CC2ED1A4E}" dt="2020-03-24T16:07:30.438" v="2164" actId="478"/>
          <ac:spMkLst>
            <pc:docMk/>
            <pc:sldMk cId="2354377971" sldId="582"/>
            <ac:spMk id="3" creationId="{F35E8CBB-5A7D-4DEF-BAF7-8DD5D042F9E0}"/>
          </ac:spMkLst>
        </pc:spChg>
        <pc:spChg chg="del">
          <ac:chgData name="Renata Festa" userId="6f22df47-533b-4c2a-a3c1-7f9ad1d63e10" providerId="ADAL" clId="{7D997690-04A4-4675-83D7-2E1CC2ED1A4E}" dt="2020-03-24T16:07:45.330" v="2166" actId="478"/>
          <ac:spMkLst>
            <pc:docMk/>
            <pc:sldMk cId="2354377971" sldId="582"/>
            <ac:spMk id="4" creationId="{F3616A99-090F-45E1-9334-58D58B148205}"/>
          </ac:spMkLst>
        </pc:spChg>
        <pc:spChg chg="add">
          <ac:chgData name="Renata Festa" userId="6f22df47-533b-4c2a-a3c1-7f9ad1d63e10" providerId="ADAL" clId="{7D997690-04A4-4675-83D7-2E1CC2ED1A4E}" dt="2020-03-24T16:07:37.447" v="2165"/>
          <ac:spMkLst>
            <pc:docMk/>
            <pc:sldMk cId="2354377971" sldId="582"/>
            <ac:spMk id="7" creationId="{9DB4AB84-2198-4C98-B783-4216D89DFC70}"/>
          </ac:spMkLst>
        </pc:spChg>
        <pc:spChg chg="add">
          <ac:chgData name="Renata Festa" userId="6f22df47-533b-4c2a-a3c1-7f9ad1d63e10" providerId="ADAL" clId="{7D997690-04A4-4675-83D7-2E1CC2ED1A4E}" dt="2020-03-24T16:07:37.447" v="2165"/>
          <ac:spMkLst>
            <pc:docMk/>
            <pc:sldMk cId="2354377971" sldId="582"/>
            <ac:spMk id="8" creationId="{BC679F4B-5A25-406E-9AB1-FEBB5B7D02DB}"/>
          </ac:spMkLst>
        </pc:spChg>
        <pc:spChg chg="add">
          <ac:chgData name="Renata Festa" userId="6f22df47-533b-4c2a-a3c1-7f9ad1d63e10" providerId="ADAL" clId="{7D997690-04A4-4675-83D7-2E1CC2ED1A4E}" dt="2020-03-24T16:07:37.447" v="2165"/>
          <ac:spMkLst>
            <pc:docMk/>
            <pc:sldMk cId="2354377971" sldId="582"/>
            <ac:spMk id="9" creationId="{A6E31221-811A-4FE6-9F55-DB265272886B}"/>
          </ac:spMkLst>
        </pc:spChg>
        <pc:spChg chg="add">
          <ac:chgData name="Renata Festa" userId="6f22df47-533b-4c2a-a3c1-7f9ad1d63e10" providerId="ADAL" clId="{7D997690-04A4-4675-83D7-2E1CC2ED1A4E}" dt="2020-03-24T16:07:37.447" v="2165"/>
          <ac:spMkLst>
            <pc:docMk/>
            <pc:sldMk cId="2354377971" sldId="582"/>
            <ac:spMk id="10" creationId="{BA4B6107-D530-461C-A46D-BE4B33B709F9}"/>
          </ac:spMkLst>
        </pc:spChg>
        <pc:spChg chg="add">
          <ac:chgData name="Renata Festa" userId="6f22df47-533b-4c2a-a3c1-7f9ad1d63e10" providerId="ADAL" clId="{7D997690-04A4-4675-83D7-2E1CC2ED1A4E}" dt="2020-03-24T16:07:37.447" v="2165"/>
          <ac:spMkLst>
            <pc:docMk/>
            <pc:sldMk cId="2354377971" sldId="582"/>
            <ac:spMk id="11" creationId="{5619F0A2-A648-4BE6-B1FC-CB3E32915210}"/>
          </ac:spMkLst>
        </pc:spChg>
        <pc:spChg chg="add">
          <ac:chgData name="Renata Festa" userId="6f22df47-533b-4c2a-a3c1-7f9ad1d63e10" providerId="ADAL" clId="{7D997690-04A4-4675-83D7-2E1CC2ED1A4E}" dt="2020-03-24T16:07:37.447" v="2165"/>
          <ac:spMkLst>
            <pc:docMk/>
            <pc:sldMk cId="2354377971" sldId="582"/>
            <ac:spMk id="12" creationId="{0C98BD19-BA86-43DB-8C10-A661DBB3A430}"/>
          </ac:spMkLst>
        </pc:spChg>
        <pc:spChg chg="add">
          <ac:chgData name="Renata Festa" userId="6f22df47-533b-4c2a-a3c1-7f9ad1d63e10" providerId="ADAL" clId="{7D997690-04A4-4675-83D7-2E1CC2ED1A4E}" dt="2020-03-24T16:07:37.447" v="2165"/>
          <ac:spMkLst>
            <pc:docMk/>
            <pc:sldMk cId="2354377971" sldId="582"/>
            <ac:spMk id="13" creationId="{16A8A2FD-28F4-46C4-8D0F-24392BFD1AE0}"/>
          </ac:spMkLst>
        </pc:spChg>
        <pc:spChg chg="add">
          <ac:chgData name="Renata Festa" userId="6f22df47-533b-4c2a-a3c1-7f9ad1d63e10" providerId="ADAL" clId="{7D997690-04A4-4675-83D7-2E1CC2ED1A4E}" dt="2020-03-24T16:07:37.447" v="2165"/>
          <ac:spMkLst>
            <pc:docMk/>
            <pc:sldMk cId="2354377971" sldId="582"/>
            <ac:spMk id="14" creationId="{CAAAA016-D598-4EC9-AE11-90F3F80BAF38}"/>
          </ac:spMkLst>
        </pc:spChg>
        <pc:grpChg chg="add">
          <ac:chgData name="Renata Festa" userId="6f22df47-533b-4c2a-a3c1-7f9ad1d63e10" providerId="ADAL" clId="{7D997690-04A4-4675-83D7-2E1CC2ED1A4E}" dt="2020-03-24T16:07:37.447" v="2165"/>
          <ac:grpSpMkLst>
            <pc:docMk/>
            <pc:sldMk cId="2354377971" sldId="582"/>
            <ac:grpSpMk id="15" creationId="{7E9CF5E4-4749-4387-A912-9D9A862F10A7}"/>
          </ac:grpSpMkLst>
        </pc:grpChg>
        <pc:grpChg chg="add">
          <ac:chgData name="Renata Festa" userId="6f22df47-533b-4c2a-a3c1-7f9ad1d63e10" providerId="ADAL" clId="{7D997690-04A4-4675-83D7-2E1CC2ED1A4E}" dt="2020-03-24T16:07:37.447" v="2165"/>
          <ac:grpSpMkLst>
            <pc:docMk/>
            <pc:sldMk cId="2354377971" sldId="582"/>
            <ac:grpSpMk id="21" creationId="{5071E6B1-0F7E-4BD3-A2EE-F40C4335263F}"/>
          </ac:grpSpMkLst>
        </pc:grpChg>
        <pc:picChg chg="add">
          <ac:chgData name="Renata Festa" userId="6f22df47-533b-4c2a-a3c1-7f9ad1d63e10" providerId="ADAL" clId="{7D997690-04A4-4675-83D7-2E1CC2ED1A4E}" dt="2020-03-24T16:07:37.447" v="2165"/>
          <ac:picMkLst>
            <pc:docMk/>
            <pc:sldMk cId="2354377971" sldId="582"/>
            <ac:picMk id="24" creationId="{C68ECC30-66AF-4F52-9FC0-5A168BA6FE00}"/>
          </ac:picMkLst>
        </pc:picChg>
        <pc:picChg chg="add">
          <ac:chgData name="Renata Festa" userId="6f22df47-533b-4c2a-a3c1-7f9ad1d63e10" providerId="ADAL" clId="{7D997690-04A4-4675-83D7-2E1CC2ED1A4E}" dt="2020-03-24T16:07:37.447" v="2165"/>
          <ac:picMkLst>
            <pc:docMk/>
            <pc:sldMk cId="2354377971" sldId="582"/>
            <ac:picMk id="25" creationId="{79EAC907-6549-420E-BDB4-F5B93052D217}"/>
          </ac:picMkLst>
        </pc:picChg>
        <pc:picChg chg="add">
          <ac:chgData name="Renata Festa" userId="6f22df47-533b-4c2a-a3c1-7f9ad1d63e10" providerId="ADAL" clId="{7D997690-04A4-4675-83D7-2E1CC2ED1A4E}" dt="2020-03-24T16:07:37.447" v="2165"/>
          <ac:picMkLst>
            <pc:docMk/>
            <pc:sldMk cId="2354377971" sldId="582"/>
            <ac:picMk id="26" creationId="{308FD28A-10C7-40EC-BA04-41DEC509ECB3}"/>
          </ac:picMkLst>
        </pc:picChg>
        <pc:cxnChg chg="add">
          <ac:chgData name="Renata Festa" userId="6f22df47-533b-4c2a-a3c1-7f9ad1d63e10" providerId="ADAL" clId="{7D997690-04A4-4675-83D7-2E1CC2ED1A4E}" dt="2020-03-24T16:07:37.447" v="2165"/>
          <ac:cxnSpMkLst>
            <pc:docMk/>
            <pc:sldMk cId="2354377971" sldId="582"/>
            <ac:cxnSpMk id="5" creationId="{0640F10E-3D4D-4607-A5DA-B52E23FEC385}"/>
          </ac:cxnSpMkLst>
        </pc:cxnChg>
        <pc:cxnChg chg="add">
          <ac:chgData name="Renata Festa" userId="6f22df47-533b-4c2a-a3c1-7f9ad1d63e10" providerId="ADAL" clId="{7D997690-04A4-4675-83D7-2E1CC2ED1A4E}" dt="2020-03-24T16:07:37.447" v="2165"/>
          <ac:cxnSpMkLst>
            <pc:docMk/>
            <pc:sldMk cId="2354377971" sldId="582"/>
            <ac:cxnSpMk id="6" creationId="{B9241C04-909B-4E30-9876-DE906770C23D}"/>
          </ac:cxnSpMkLst>
        </pc:cxnChg>
      </pc:sldChg>
      <pc:sldChg chg="del">
        <pc:chgData name="Renata Festa" userId="6f22df47-533b-4c2a-a3c1-7f9ad1d63e10" providerId="ADAL" clId="{7D997690-04A4-4675-83D7-2E1CC2ED1A4E}" dt="2020-03-24T17:29:21.666" v="2343" actId="47"/>
        <pc:sldMkLst>
          <pc:docMk/>
          <pc:sldMk cId="140421165" sldId="583"/>
        </pc:sldMkLst>
      </pc:sldChg>
      <pc:sldChg chg="del">
        <pc:chgData name="Renata Festa" userId="6f22df47-533b-4c2a-a3c1-7f9ad1d63e10" providerId="ADAL" clId="{7D997690-04A4-4675-83D7-2E1CC2ED1A4E}" dt="2020-03-24T17:29:22.386" v="2344" actId="47"/>
        <pc:sldMkLst>
          <pc:docMk/>
          <pc:sldMk cId="178012242" sldId="584"/>
        </pc:sldMkLst>
      </pc:sldChg>
      <pc:sldChg chg="del">
        <pc:chgData name="Renata Festa" userId="6f22df47-533b-4c2a-a3c1-7f9ad1d63e10" providerId="ADAL" clId="{7D997690-04A4-4675-83D7-2E1CC2ED1A4E}" dt="2020-03-24T17:29:24.190" v="2345" actId="47"/>
        <pc:sldMkLst>
          <pc:docMk/>
          <pc:sldMk cId="780259623" sldId="585"/>
        </pc:sldMkLst>
      </pc:sldChg>
      <pc:sldChg chg="add">
        <pc:chgData name="Renata Festa" userId="6f22df47-533b-4c2a-a3c1-7f9ad1d63e10" providerId="ADAL" clId="{7D997690-04A4-4675-83D7-2E1CC2ED1A4E}" dt="2020-03-24T17:28:55.809" v="2333"/>
        <pc:sldMkLst>
          <pc:docMk/>
          <pc:sldMk cId="146877347" sldId="586"/>
        </pc:sldMkLst>
      </pc:sldChg>
      <pc:sldChg chg="del">
        <pc:chgData name="Renata Festa" userId="6f22df47-533b-4c2a-a3c1-7f9ad1d63e10" providerId="ADAL" clId="{7D997690-04A4-4675-83D7-2E1CC2ED1A4E}" dt="2020-03-24T17:28:54.713" v="2332" actId="2696"/>
        <pc:sldMkLst>
          <pc:docMk/>
          <pc:sldMk cId="2795742538" sldId="586"/>
        </pc:sldMkLst>
      </pc:sldChg>
      <pc:sldChg chg="del">
        <pc:chgData name="Renata Festa" userId="6f22df47-533b-4c2a-a3c1-7f9ad1d63e10" providerId="ADAL" clId="{7D997690-04A4-4675-83D7-2E1CC2ED1A4E}" dt="2020-03-24T17:28:54.713" v="2332" actId="2696"/>
        <pc:sldMkLst>
          <pc:docMk/>
          <pc:sldMk cId="1657073583" sldId="587"/>
        </pc:sldMkLst>
      </pc:sldChg>
      <pc:sldChg chg="modSp add modAnim">
        <pc:chgData name="Renata Festa" userId="6f22df47-533b-4c2a-a3c1-7f9ad1d63e10" providerId="ADAL" clId="{7D997690-04A4-4675-83D7-2E1CC2ED1A4E}" dt="2020-03-25T17:04:21.654" v="4943"/>
        <pc:sldMkLst>
          <pc:docMk/>
          <pc:sldMk cId="2231734821" sldId="587"/>
        </pc:sldMkLst>
        <pc:graphicFrameChg chg="mod">
          <ac:chgData name="Renata Festa" userId="6f22df47-533b-4c2a-a3c1-7f9ad1d63e10" providerId="ADAL" clId="{7D997690-04A4-4675-83D7-2E1CC2ED1A4E}" dt="2020-03-24T17:29:10.170" v="2338" actId="20577"/>
          <ac:graphicFrameMkLst>
            <pc:docMk/>
            <pc:sldMk cId="2231734821" sldId="587"/>
            <ac:graphicFrameMk id="3" creationId="{9484E1FE-7534-495E-863C-657A46F5E628}"/>
          </ac:graphicFrameMkLst>
        </pc:graphicFrameChg>
      </pc:sldChg>
      <pc:sldChg chg="modNotesTx">
        <pc:chgData name="Renata Festa" userId="6f22df47-533b-4c2a-a3c1-7f9ad1d63e10" providerId="ADAL" clId="{7D997690-04A4-4675-83D7-2E1CC2ED1A4E}" dt="2020-03-24T16:07:09.405" v="2155" actId="20577"/>
        <pc:sldMkLst>
          <pc:docMk/>
          <pc:sldMk cId="3654074437" sldId="588"/>
        </pc:sldMkLst>
      </pc:sldChg>
      <pc:sldChg chg="addSp delSp modSp add mod modAnim modShow addCm modCm modNotesTx">
        <pc:chgData name="Renata Festa" userId="6f22df47-533b-4c2a-a3c1-7f9ad1d63e10" providerId="ADAL" clId="{7D997690-04A4-4675-83D7-2E1CC2ED1A4E}" dt="2020-03-24T17:40:15.587" v="2596" actId="962"/>
        <pc:sldMkLst>
          <pc:docMk/>
          <pc:sldMk cId="641676752" sldId="589"/>
        </pc:sldMkLst>
        <pc:spChg chg="mod">
          <ac:chgData name="Renata Festa" userId="6f22df47-533b-4c2a-a3c1-7f9ad1d63e10" providerId="ADAL" clId="{7D997690-04A4-4675-83D7-2E1CC2ED1A4E}" dt="2020-03-20T18:51:26.623" v="9"/>
          <ac:spMkLst>
            <pc:docMk/>
            <pc:sldMk cId="641676752" sldId="589"/>
            <ac:spMk id="2" creationId="{EB67312A-9819-43C6-8D84-D9136E6CFFCC}"/>
          </ac:spMkLst>
        </pc:spChg>
        <pc:spChg chg="del">
          <ac:chgData name="Renata Festa" userId="6f22df47-533b-4c2a-a3c1-7f9ad1d63e10" providerId="ADAL" clId="{7D997690-04A4-4675-83D7-2E1CC2ED1A4E}" dt="2020-03-24T14:01:07.774" v="1642" actId="478"/>
          <ac:spMkLst>
            <pc:docMk/>
            <pc:sldMk cId="641676752" sldId="589"/>
            <ac:spMk id="3" creationId="{F35E8CBB-5A7D-4DEF-BAF7-8DD5D042F9E0}"/>
          </ac:spMkLst>
        </pc:spChg>
        <pc:spChg chg="del mod">
          <ac:chgData name="Renata Festa" userId="6f22df47-533b-4c2a-a3c1-7f9ad1d63e10" providerId="ADAL" clId="{7D997690-04A4-4675-83D7-2E1CC2ED1A4E}" dt="2020-03-20T18:53:59.761" v="23" actId="12084"/>
          <ac:spMkLst>
            <pc:docMk/>
            <pc:sldMk cId="641676752" sldId="589"/>
            <ac:spMk id="4" creationId="{F3616A99-090F-45E1-9334-58D58B148205}"/>
          </ac:spMkLst>
        </pc:spChg>
        <pc:graphicFrameChg chg="add mod">
          <ac:chgData name="Renata Festa" userId="6f22df47-533b-4c2a-a3c1-7f9ad1d63e10" providerId="ADAL" clId="{7D997690-04A4-4675-83D7-2E1CC2ED1A4E}" dt="2020-03-24T17:39:43.596" v="2474" actId="962"/>
          <ac:graphicFrameMkLst>
            <pc:docMk/>
            <pc:sldMk cId="641676752" sldId="589"/>
            <ac:graphicFrameMk id="6" creationId="{04DE0AED-3D4D-4F08-82DC-72CF55A44BB2}"/>
          </ac:graphicFrameMkLst>
        </pc:graphicFrameChg>
        <pc:picChg chg="add mod">
          <ac:chgData name="Renata Festa" userId="6f22df47-533b-4c2a-a3c1-7f9ad1d63e10" providerId="ADAL" clId="{7D997690-04A4-4675-83D7-2E1CC2ED1A4E}" dt="2020-03-24T17:40:15.587" v="2596" actId="962"/>
          <ac:picMkLst>
            <pc:docMk/>
            <pc:sldMk cId="641676752" sldId="589"/>
            <ac:picMk id="5" creationId="{543BA366-B2F4-48F9-9394-1C2F5613EDA4}"/>
          </ac:picMkLst>
        </pc:picChg>
      </pc:sldChg>
      <pc:sldChg chg="add del">
        <pc:chgData name="Renata Festa" userId="6f22df47-533b-4c2a-a3c1-7f9ad1d63e10" providerId="ADAL" clId="{7D997690-04A4-4675-83D7-2E1CC2ED1A4E}" dt="2020-03-20T18:51:09.016" v="4"/>
        <pc:sldMkLst>
          <pc:docMk/>
          <pc:sldMk cId="2079216853" sldId="589"/>
        </pc:sldMkLst>
      </pc:sldChg>
      <pc:sldChg chg="add del">
        <pc:chgData name="Renata Festa" userId="6f22df47-533b-4c2a-a3c1-7f9ad1d63e10" providerId="ADAL" clId="{7D997690-04A4-4675-83D7-2E1CC2ED1A4E}" dt="2020-03-20T18:51:09.016" v="4"/>
        <pc:sldMkLst>
          <pc:docMk/>
          <pc:sldMk cId="3372817603" sldId="590"/>
        </pc:sldMkLst>
      </pc:sldChg>
      <pc:sldChg chg="addSp delSp modSp add mod modClrScheme modShow chgLayout">
        <pc:chgData name="Renata Festa" userId="6f22df47-533b-4c2a-a3c1-7f9ad1d63e10" providerId="ADAL" clId="{7D997690-04A4-4675-83D7-2E1CC2ED1A4E}" dt="2020-03-23T21:04:15.353" v="93" actId="962"/>
        <pc:sldMkLst>
          <pc:docMk/>
          <pc:sldMk cId="3752841492" sldId="590"/>
        </pc:sldMkLst>
        <pc:spChg chg="mod ord">
          <ac:chgData name="Renata Festa" userId="6f22df47-533b-4c2a-a3c1-7f9ad1d63e10" providerId="ADAL" clId="{7D997690-04A4-4675-83D7-2E1CC2ED1A4E}" dt="2020-03-23T21:04:08.367" v="91" actId="26606"/>
          <ac:spMkLst>
            <pc:docMk/>
            <pc:sldMk cId="3752841492" sldId="590"/>
            <ac:spMk id="2" creationId="{EB67312A-9819-43C6-8D84-D9136E6CFFCC}"/>
          </ac:spMkLst>
        </pc:spChg>
        <pc:spChg chg="add del">
          <ac:chgData name="Renata Festa" userId="6f22df47-533b-4c2a-a3c1-7f9ad1d63e10" providerId="ADAL" clId="{7D997690-04A4-4675-83D7-2E1CC2ED1A4E}" dt="2020-03-23T21:04:08.367" v="91" actId="26606"/>
          <ac:spMkLst>
            <pc:docMk/>
            <pc:sldMk cId="3752841492" sldId="590"/>
            <ac:spMk id="3" creationId="{F35E8CBB-5A7D-4DEF-BAF7-8DD5D042F9E0}"/>
          </ac:spMkLst>
        </pc:spChg>
        <pc:spChg chg="del">
          <ac:chgData name="Renata Festa" userId="6f22df47-533b-4c2a-a3c1-7f9ad1d63e10" providerId="ADAL" clId="{7D997690-04A4-4675-83D7-2E1CC2ED1A4E}" dt="2020-03-23T21:03:29.929" v="84"/>
          <ac:spMkLst>
            <pc:docMk/>
            <pc:sldMk cId="3752841492" sldId="590"/>
            <ac:spMk id="4" creationId="{F3616A99-090F-45E1-9334-58D58B148205}"/>
          </ac:spMkLst>
        </pc:spChg>
        <pc:picChg chg="add mod">
          <ac:chgData name="Renata Festa" userId="6f22df47-533b-4c2a-a3c1-7f9ad1d63e10" providerId="ADAL" clId="{7D997690-04A4-4675-83D7-2E1CC2ED1A4E}" dt="2020-03-23T21:04:15.353" v="93" actId="962"/>
          <ac:picMkLst>
            <pc:docMk/>
            <pc:sldMk cId="3752841492" sldId="590"/>
            <ac:picMk id="5" creationId="{4432CA7B-95B1-4964-862C-73A36AA68320}"/>
          </ac:picMkLst>
        </pc:picChg>
      </pc:sldChg>
      <pc:sldChg chg="addSp delSp modSp add mod addAnim delAnim modAnim modShow">
        <pc:chgData name="Renata Festa" userId="6f22df47-533b-4c2a-a3c1-7f9ad1d63e10" providerId="ADAL" clId="{7D997690-04A4-4675-83D7-2E1CC2ED1A4E}" dt="2020-03-24T18:56:03.687" v="4932" actId="207"/>
        <pc:sldMkLst>
          <pc:docMk/>
          <pc:sldMk cId="683846977" sldId="591"/>
        </pc:sldMkLst>
        <pc:spChg chg="mod">
          <ac:chgData name="Renata Festa" userId="6f22df47-533b-4c2a-a3c1-7f9ad1d63e10" providerId="ADAL" clId="{7D997690-04A4-4675-83D7-2E1CC2ED1A4E}" dt="2020-03-23T21:05:34.139" v="99"/>
          <ac:spMkLst>
            <pc:docMk/>
            <pc:sldMk cId="683846977" sldId="591"/>
            <ac:spMk id="2" creationId="{EB67312A-9819-43C6-8D84-D9136E6CFFCC}"/>
          </ac:spMkLst>
        </pc:spChg>
        <pc:spChg chg="del">
          <ac:chgData name="Renata Festa" userId="6f22df47-533b-4c2a-a3c1-7f9ad1d63e10" providerId="ADAL" clId="{7D997690-04A4-4675-83D7-2E1CC2ED1A4E}" dt="2020-03-24T14:01:01.433" v="1639" actId="478"/>
          <ac:spMkLst>
            <pc:docMk/>
            <pc:sldMk cId="683846977" sldId="591"/>
            <ac:spMk id="3" creationId="{F35E8CBB-5A7D-4DEF-BAF7-8DD5D042F9E0}"/>
          </ac:spMkLst>
        </pc:spChg>
        <pc:spChg chg="mod">
          <ac:chgData name="Renata Festa" userId="6f22df47-533b-4c2a-a3c1-7f9ad1d63e10" providerId="ADAL" clId="{7D997690-04A4-4675-83D7-2E1CC2ED1A4E}" dt="2020-03-24T18:42:43.213" v="4253" actId="962"/>
          <ac:spMkLst>
            <pc:docMk/>
            <pc:sldMk cId="683846977" sldId="591"/>
            <ac:spMk id="4" creationId="{F3616A99-090F-45E1-9334-58D58B148205}"/>
          </ac:spMkLst>
        </pc:spChg>
        <pc:spChg chg="add mod">
          <ac:chgData name="Renata Festa" userId="6f22df47-533b-4c2a-a3c1-7f9ad1d63e10" providerId="ADAL" clId="{7D997690-04A4-4675-83D7-2E1CC2ED1A4E}" dt="2020-03-24T18:42:43.213" v="4253" actId="962"/>
          <ac:spMkLst>
            <pc:docMk/>
            <pc:sldMk cId="683846977" sldId="591"/>
            <ac:spMk id="5" creationId="{9B36BCE0-E940-4D74-9671-47DE6C03717B}"/>
          </ac:spMkLst>
        </pc:spChg>
        <pc:spChg chg="add mod">
          <ac:chgData name="Renata Festa" userId="6f22df47-533b-4c2a-a3c1-7f9ad1d63e10" providerId="ADAL" clId="{7D997690-04A4-4675-83D7-2E1CC2ED1A4E}" dt="2020-03-24T18:42:43.213" v="4253" actId="962"/>
          <ac:spMkLst>
            <pc:docMk/>
            <pc:sldMk cId="683846977" sldId="591"/>
            <ac:spMk id="6" creationId="{217AD538-8177-4426-824D-29832FB232F7}"/>
          </ac:spMkLst>
        </pc:spChg>
        <pc:spChg chg="add mod">
          <ac:chgData name="Renata Festa" userId="6f22df47-533b-4c2a-a3c1-7f9ad1d63e10" providerId="ADAL" clId="{7D997690-04A4-4675-83D7-2E1CC2ED1A4E}" dt="2020-03-24T18:42:43.213" v="4253" actId="962"/>
          <ac:spMkLst>
            <pc:docMk/>
            <pc:sldMk cId="683846977" sldId="591"/>
            <ac:spMk id="7" creationId="{0E00D508-1CD0-4D09-B58D-70D167ABD971}"/>
          </ac:spMkLst>
        </pc:spChg>
        <pc:spChg chg="add mod">
          <ac:chgData name="Renata Festa" userId="6f22df47-533b-4c2a-a3c1-7f9ad1d63e10" providerId="ADAL" clId="{7D997690-04A4-4675-83D7-2E1CC2ED1A4E}" dt="2020-03-24T18:42:43.213" v="4253" actId="962"/>
          <ac:spMkLst>
            <pc:docMk/>
            <pc:sldMk cId="683846977" sldId="591"/>
            <ac:spMk id="8" creationId="{2D6FA174-820A-4BDF-AD4B-0506429A24A0}"/>
          </ac:spMkLst>
        </pc:spChg>
        <pc:spChg chg="add mod">
          <ac:chgData name="Renata Festa" userId="6f22df47-533b-4c2a-a3c1-7f9ad1d63e10" providerId="ADAL" clId="{7D997690-04A4-4675-83D7-2E1CC2ED1A4E}" dt="2020-03-24T18:42:43.213" v="4253" actId="962"/>
          <ac:spMkLst>
            <pc:docMk/>
            <pc:sldMk cId="683846977" sldId="591"/>
            <ac:spMk id="9" creationId="{FB1D215B-CC87-4E9B-848B-7F6277609361}"/>
          </ac:spMkLst>
        </pc:spChg>
        <pc:spChg chg="add mod">
          <ac:chgData name="Renata Festa" userId="6f22df47-533b-4c2a-a3c1-7f9ad1d63e10" providerId="ADAL" clId="{7D997690-04A4-4675-83D7-2E1CC2ED1A4E}" dt="2020-03-24T18:42:43.213" v="4253" actId="962"/>
          <ac:spMkLst>
            <pc:docMk/>
            <pc:sldMk cId="683846977" sldId="591"/>
            <ac:spMk id="10" creationId="{4F9E9CE0-62CA-4E62-A706-58147F4B5C74}"/>
          </ac:spMkLst>
        </pc:spChg>
        <pc:spChg chg="add mod">
          <ac:chgData name="Renata Festa" userId="6f22df47-533b-4c2a-a3c1-7f9ad1d63e10" providerId="ADAL" clId="{7D997690-04A4-4675-83D7-2E1CC2ED1A4E}" dt="2020-03-24T18:42:43.213" v="4253" actId="962"/>
          <ac:spMkLst>
            <pc:docMk/>
            <pc:sldMk cId="683846977" sldId="591"/>
            <ac:spMk id="11" creationId="{956EA06E-DF8C-4DD3-A179-E118CCDF23C5}"/>
          </ac:spMkLst>
        </pc:spChg>
        <pc:spChg chg="add mod">
          <ac:chgData name="Renata Festa" userId="6f22df47-533b-4c2a-a3c1-7f9ad1d63e10" providerId="ADAL" clId="{7D997690-04A4-4675-83D7-2E1CC2ED1A4E}" dt="2020-03-24T18:56:03.687" v="4932" actId="207"/>
          <ac:spMkLst>
            <pc:docMk/>
            <pc:sldMk cId="683846977" sldId="591"/>
            <ac:spMk id="12" creationId="{825ADFD8-8BFE-4BB9-A519-F6BF52C85AF6}"/>
          </ac:spMkLst>
        </pc:spChg>
        <pc:spChg chg="add mod">
          <ac:chgData name="Renata Festa" userId="6f22df47-533b-4c2a-a3c1-7f9ad1d63e10" providerId="ADAL" clId="{7D997690-04A4-4675-83D7-2E1CC2ED1A4E}" dt="2020-03-24T18:56:03.687" v="4932" actId="207"/>
          <ac:spMkLst>
            <pc:docMk/>
            <pc:sldMk cId="683846977" sldId="591"/>
            <ac:spMk id="13" creationId="{D36A431F-537F-4C78-8428-2049288ECB43}"/>
          </ac:spMkLst>
        </pc:spChg>
        <pc:spChg chg="add mod">
          <ac:chgData name="Renata Festa" userId="6f22df47-533b-4c2a-a3c1-7f9ad1d63e10" providerId="ADAL" clId="{7D997690-04A4-4675-83D7-2E1CC2ED1A4E}" dt="2020-03-24T18:42:43.213" v="4253" actId="962"/>
          <ac:spMkLst>
            <pc:docMk/>
            <pc:sldMk cId="683846977" sldId="591"/>
            <ac:spMk id="14" creationId="{67A601D5-0A27-4067-8A19-E2016594C9D0}"/>
          </ac:spMkLst>
        </pc:spChg>
        <pc:spChg chg="add mod">
          <ac:chgData name="Renata Festa" userId="6f22df47-533b-4c2a-a3c1-7f9ad1d63e10" providerId="ADAL" clId="{7D997690-04A4-4675-83D7-2E1CC2ED1A4E}" dt="2020-03-24T18:56:03.687" v="4932" actId="207"/>
          <ac:spMkLst>
            <pc:docMk/>
            <pc:sldMk cId="683846977" sldId="591"/>
            <ac:spMk id="15" creationId="{F81D7348-0B81-490E-84D6-416BD2BDB40D}"/>
          </ac:spMkLst>
        </pc:spChg>
        <pc:spChg chg="add mod">
          <ac:chgData name="Renata Festa" userId="6f22df47-533b-4c2a-a3c1-7f9ad1d63e10" providerId="ADAL" clId="{7D997690-04A4-4675-83D7-2E1CC2ED1A4E}" dt="2020-03-24T18:56:03.687" v="4932" actId="207"/>
          <ac:spMkLst>
            <pc:docMk/>
            <pc:sldMk cId="683846977" sldId="591"/>
            <ac:spMk id="16" creationId="{AD63D11F-1EB6-459A-84B1-E1CFC9F301D6}"/>
          </ac:spMkLst>
        </pc:spChg>
        <pc:spChg chg="add mod">
          <ac:chgData name="Renata Festa" userId="6f22df47-533b-4c2a-a3c1-7f9ad1d63e10" providerId="ADAL" clId="{7D997690-04A4-4675-83D7-2E1CC2ED1A4E}" dt="2020-03-24T18:56:03.687" v="4932" actId="207"/>
          <ac:spMkLst>
            <pc:docMk/>
            <pc:sldMk cId="683846977" sldId="591"/>
            <ac:spMk id="17" creationId="{9F578823-3285-4E96-92F8-A6F3B75109A3}"/>
          </ac:spMkLst>
        </pc:spChg>
        <pc:spChg chg="add mod">
          <ac:chgData name="Renata Festa" userId="6f22df47-533b-4c2a-a3c1-7f9ad1d63e10" providerId="ADAL" clId="{7D997690-04A4-4675-83D7-2E1CC2ED1A4E}" dt="2020-03-24T18:42:43.213" v="4253" actId="962"/>
          <ac:spMkLst>
            <pc:docMk/>
            <pc:sldMk cId="683846977" sldId="591"/>
            <ac:spMk id="18" creationId="{F6EEB102-C803-472F-81B4-6988F32D05A5}"/>
          </ac:spMkLst>
        </pc:spChg>
        <pc:spChg chg="add mod">
          <ac:chgData name="Renata Festa" userId="6f22df47-533b-4c2a-a3c1-7f9ad1d63e10" providerId="ADAL" clId="{7D997690-04A4-4675-83D7-2E1CC2ED1A4E}" dt="2020-03-24T18:42:43.213" v="4253" actId="962"/>
          <ac:spMkLst>
            <pc:docMk/>
            <pc:sldMk cId="683846977" sldId="591"/>
            <ac:spMk id="19" creationId="{8C4289A2-8BED-4A30-88B8-64B3EA17A3B7}"/>
          </ac:spMkLst>
        </pc:spChg>
        <pc:spChg chg="add mod">
          <ac:chgData name="Renata Festa" userId="6f22df47-533b-4c2a-a3c1-7f9ad1d63e10" providerId="ADAL" clId="{7D997690-04A4-4675-83D7-2E1CC2ED1A4E}" dt="2020-03-24T18:42:43.213" v="4253" actId="962"/>
          <ac:spMkLst>
            <pc:docMk/>
            <pc:sldMk cId="683846977" sldId="591"/>
            <ac:spMk id="20" creationId="{7ED6FF46-8F6A-4848-B093-A0425C982795}"/>
          </ac:spMkLst>
        </pc:spChg>
        <pc:spChg chg="add mod">
          <ac:chgData name="Renata Festa" userId="6f22df47-533b-4c2a-a3c1-7f9ad1d63e10" providerId="ADAL" clId="{7D997690-04A4-4675-83D7-2E1CC2ED1A4E}" dt="2020-03-24T18:42:43.213" v="4253" actId="962"/>
          <ac:spMkLst>
            <pc:docMk/>
            <pc:sldMk cId="683846977" sldId="591"/>
            <ac:spMk id="21" creationId="{DC15246B-899A-402A-873C-1D2F1D7DAFD1}"/>
          </ac:spMkLst>
        </pc:spChg>
        <pc:spChg chg="add mod">
          <ac:chgData name="Renata Festa" userId="6f22df47-533b-4c2a-a3c1-7f9ad1d63e10" providerId="ADAL" clId="{7D997690-04A4-4675-83D7-2E1CC2ED1A4E}" dt="2020-03-24T18:42:43.213" v="4253" actId="962"/>
          <ac:spMkLst>
            <pc:docMk/>
            <pc:sldMk cId="683846977" sldId="591"/>
            <ac:spMk id="22" creationId="{13E88D3D-E2C1-4530-ACCE-52CDDEE1956D}"/>
          </ac:spMkLst>
        </pc:spChg>
        <pc:spChg chg="add mod">
          <ac:chgData name="Renata Festa" userId="6f22df47-533b-4c2a-a3c1-7f9ad1d63e10" providerId="ADAL" clId="{7D997690-04A4-4675-83D7-2E1CC2ED1A4E}" dt="2020-03-24T18:42:43.213" v="4253" actId="962"/>
          <ac:spMkLst>
            <pc:docMk/>
            <pc:sldMk cId="683846977" sldId="591"/>
            <ac:spMk id="23" creationId="{5BDB2FA8-DEFD-4F99-A0AD-21B72CE22475}"/>
          </ac:spMkLst>
        </pc:spChg>
        <pc:spChg chg="add mod">
          <ac:chgData name="Renata Festa" userId="6f22df47-533b-4c2a-a3c1-7f9ad1d63e10" providerId="ADAL" clId="{7D997690-04A4-4675-83D7-2E1CC2ED1A4E}" dt="2020-03-24T18:42:43.213" v="4253" actId="962"/>
          <ac:spMkLst>
            <pc:docMk/>
            <pc:sldMk cId="683846977" sldId="591"/>
            <ac:spMk id="24" creationId="{68F203F5-AA26-4D33-95CA-CC11301239D5}"/>
          </ac:spMkLst>
        </pc:spChg>
        <pc:spChg chg="add mod">
          <ac:chgData name="Renata Festa" userId="6f22df47-533b-4c2a-a3c1-7f9ad1d63e10" providerId="ADAL" clId="{7D997690-04A4-4675-83D7-2E1CC2ED1A4E}" dt="2020-03-24T18:42:43.213" v="4253" actId="962"/>
          <ac:spMkLst>
            <pc:docMk/>
            <pc:sldMk cId="683846977" sldId="591"/>
            <ac:spMk id="25" creationId="{9F496650-EF0E-495D-8A1C-3A06F0410D30}"/>
          </ac:spMkLst>
        </pc:spChg>
        <pc:spChg chg="add mod">
          <ac:chgData name="Renata Festa" userId="6f22df47-533b-4c2a-a3c1-7f9ad1d63e10" providerId="ADAL" clId="{7D997690-04A4-4675-83D7-2E1CC2ED1A4E}" dt="2020-03-24T18:42:43.213" v="4253" actId="962"/>
          <ac:spMkLst>
            <pc:docMk/>
            <pc:sldMk cId="683846977" sldId="591"/>
            <ac:spMk id="26" creationId="{1325C7CC-4153-4065-AA01-F8354D3F525C}"/>
          </ac:spMkLst>
        </pc:spChg>
        <pc:spChg chg="add mod">
          <ac:chgData name="Renata Festa" userId="6f22df47-533b-4c2a-a3c1-7f9ad1d63e10" providerId="ADAL" clId="{7D997690-04A4-4675-83D7-2E1CC2ED1A4E}" dt="2020-03-24T18:42:43.213" v="4253" actId="962"/>
          <ac:spMkLst>
            <pc:docMk/>
            <pc:sldMk cId="683846977" sldId="591"/>
            <ac:spMk id="27" creationId="{DA43B060-741D-48BE-AFA0-9EBAF48AC75C}"/>
          </ac:spMkLst>
        </pc:spChg>
        <pc:spChg chg="add mod">
          <ac:chgData name="Renata Festa" userId="6f22df47-533b-4c2a-a3c1-7f9ad1d63e10" providerId="ADAL" clId="{7D997690-04A4-4675-83D7-2E1CC2ED1A4E}" dt="2020-03-24T18:42:43.213" v="4253" actId="962"/>
          <ac:spMkLst>
            <pc:docMk/>
            <pc:sldMk cId="683846977" sldId="591"/>
            <ac:spMk id="28" creationId="{DBE2D012-4BF6-4C5A-B877-F3DF5351FB8B}"/>
          </ac:spMkLst>
        </pc:spChg>
        <pc:spChg chg="add mod">
          <ac:chgData name="Renata Festa" userId="6f22df47-533b-4c2a-a3c1-7f9ad1d63e10" providerId="ADAL" clId="{7D997690-04A4-4675-83D7-2E1CC2ED1A4E}" dt="2020-03-24T18:42:43.213" v="4253" actId="962"/>
          <ac:spMkLst>
            <pc:docMk/>
            <pc:sldMk cId="683846977" sldId="591"/>
            <ac:spMk id="29" creationId="{085F8073-318E-44AA-BFBF-5D7E0B327E99}"/>
          </ac:spMkLst>
        </pc:spChg>
        <pc:spChg chg="add mod">
          <ac:chgData name="Renata Festa" userId="6f22df47-533b-4c2a-a3c1-7f9ad1d63e10" providerId="ADAL" clId="{7D997690-04A4-4675-83D7-2E1CC2ED1A4E}" dt="2020-03-24T18:42:43.213" v="4253" actId="962"/>
          <ac:spMkLst>
            <pc:docMk/>
            <pc:sldMk cId="683846977" sldId="591"/>
            <ac:spMk id="30" creationId="{9AC0F5F0-046B-441F-A8B8-42A571215143}"/>
          </ac:spMkLst>
        </pc:spChg>
        <pc:spChg chg="add mod">
          <ac:chgData name="Renata Festa" userId="6f22df47-533b-4c2a-a3c1-7f9ad1d63e10" providerId="ADAL" clId="{7D997690-04A4-4675-83D7-2E1CC2ED1A4E}" dt="2020-03-24T18:42:43.213" v="4253" actId="962"/>
          <ac:spMkLst>
            <pc:docMk/>
            <pc:sldMk cId="683846977" sldId="591"/>
            <ac:spMk id="31" creationId="{26C0389A-3422-4C78-A189-58A34A97F47B}"/>
          </ac:spMkLst>
        </pc:spChg>
        <pc:spChg chg="add mod">
          <ac:chgData name="Renata Festa" userId="6f22df47-533b-4c2a-a3c1-7f9ad1d63e10" providerId="ADAL" clId="{7D997690-04A4-4675-83D7-2E1CC2ED1A4E}" dt="2020-03-24T18:42:43.213" v="4253" actId="962"/>
          <ac:spMkLst>
            <pc:docMk/>
            <pc:sldMk cId="683846977" sldId="591"/>
            <ac:spMk id="32" creationId="{0005062A-2CBC-4BEA-BF92-1F90175D2FAF}"/>
          </ac:spMkLst>
        </pc:spChg>
        <pc:spChg chg="add mod">
          <ac:chgData name="Renata Festa" userId="6f22df47-533b-4c2a-a3c1-7f9ad1d63e10" providerId="ADAL" clId="{7D997690-04A4-4675-83D7-2E1CC2ED1A4E}" dt="2020-03-24T18:56:03.687" v="4932" actId="207"/>
          <ac:spMkLst>
            <pc:docMk/>
            <pc:sldMk cId="683846977" sldId="591"/>
            <ac:spMk id="33" creationId="{A92E53EB-C7BD-4B77-8A08-731DEDC08A20}"/>
          </ac:spMkLst>
        </pc:spChg>
        <pc:spChg chg="add mod">
          <ac:chgData name="Renata Festa" userId="6f22df47-533b-4c2a-a3c1-7f9ad1d63e10" providerId="ADAL" clId="{7D997690-04A4-4675-83D7-2E1CC2ED1A4E}" dt="2020-03-24T18:42:43.213" v="4253" actId="962"/>
          <ac:spMkLst>
            <pc:docMk/>
            <pc:sldMk cId="683846977" sldId="591"/>
            <ac:spMk id="34" creationId="{31D05F59-F4E1-4C5A-B36F-B283C6154699}"/>
          </ac:spMkLst>
        </pc:spChg>
        <pc:spChg chg="add mod">
          <ac:chgData name="Renata Festa" userId="6f22df47-533b-4c2a-a3c1-7f9ad1d63e10" providerId="ADAL" clId="{7D997690-04A4-4675-83D7-2E1CC2ED1A4E}" dt="2020-03-24T18:56:03.687" v="4932" actId="207"/>
          <ac:spMkLst>
            <pc:docMk/>
            <pc:sldMk cId="683846977" sldId="591"/>
            <ac:spMk id="35" creationId="{99FF9725-F1A1-4DCC-930E-2A54437D13B1}"/>
          </ac:spMkLst>
        </pc:spChg>
        <pc:spChg chg="add mod">
          <ac:chgData name="Renata Festa" userId="6f22df47-533b-4c2a-a3c1-7f9ad1d63e10" providerId="ADAL" clId="{7D997690-04A4-4675-83D7-2E1CC2ED1A4E}" dt="2020-03-24T18:42:43.213" v="4253" actId="962"/>
          <ac:spMkLst>
            <pc:docMk/>
            <pc:sldMk cId="683846977" sldId="591"/>
            <ac:spMk id="36" creationId="{B0E721A3-E0D8-4B94-B905-51734109FF47}"/>
          </ac:spMkLst>
        </pc:spChg>
        <pc:spChg chg="add mod">
          <ac:chgData name="Renata Festa" userId="6f22df47-533b-4c2a-a3c1-7f9ad1d63e10" providerId="ADAL" clId="{7D997690-04A4-4675-83D7-2E1CC2ED1A4E}" dt="2020-03-24T18:42:43.213" v="4253" actId="962"/>
          <ac:spMkLst>
            <pc:docMk/>
            <pc:sldMk cId="683846977" sldId="591"/>
            <ac:spMk id="37" creationId="{2EFAF0B3-6045-4E1F-B82A-0C061EF734C3}"/>
          </ac:spMkLst>
        </pc:spChg>
        <pc:spChg chg="add mod">
          <ac:chgData name="Renata Festa" userId="6f22df47-533b-4c2a-a3c1-7f9ad1d63e10" providerId="ADAL" clId="{7D997690-04A4-4675-83D7-2E1CC2ED1A4E}" dt="2020-03-24T18:42:43.213" v="4253" actId="962"/>
          <ac:spMkLst>
            <pc:docMk/>
            <pc:sldMk cId="683846977" sldId="591"/>
            <ac:spMk id="38" creationId="{BA8F5CF4-CBE1-4151-B73A-024ED4C27A63}"/>
          </ac:spMkLst>
        </pc:spChg>
        <pc:spChg chg="add mod">
          <ac:chgData name="Renata Festa" userId="6f22df47-533b-4c2a-a3c1-7f9ad1d63e10" providerId="ADAL" clId="{7D997690-04A4-4675-83D7-2E1CC2ED1A4E}" dt="2020-03-24T18:42:43.213" v="4253" actId="962"/>
          <ac:spMkLst>
            <pc:docMk/>
            <pc:sldMk cId="683846977" sldId="591"/>
            <ac:spMk id="39" creationId="{1FCCB833-2A29-47E4-B490-4C8B5F4B614F}"/>
          </ac:spMkLst>
        </pc:spChg>
        <pc:spChg chg="add mod">
          <ac:chgData name="Renata Festa" userId="6f22df47-533b-4c2a-a3c1-7f9ad1d63e10" providerId="ADAL" clId="{7D997690-04A4-4675-83D7-2E1CC2ED1A4E}" dt="2020-03-24T18:42:43.213" v="4253" actId="962"/>
          <ac:spMkLst>
            <pc:docMk/>
            <pc:sldMk cId="683846977" sldId="591"/>
            <ac:spMk id="40" creationId="{6444B5F2-C9EF-4671-A019-541A5671FF52}"/>
          </ac:spMkLst>
        </pc:spChg>
        <pc:spChg chg="add mod">
          <ac:chgData name="Renata Festa" userId="6f22df47-533b-4c2a-a3c1-7f9ad1d63e10" providerId="ADAL" clId="{7D997690-04A4-4675-83D7-2E1CC2ED1A4E}" dt="2020-03-24T18:42:43.213" v="4253" actId="962"/>
          <ac:spMkLst>
            <pc:docMk/>
            <pc:sldMk cId="683846977" sldId="591"/>
            <ac:spMk id="41" creationId="{94F3A573-EC8E-453F-8F55-8F6558F8A635}"/>
          </ac:spMkLst>
        </pc:spChg>
        <pc:spChg chg="add mod">
          <ac:chgData name="Renata Festa" userId="6f22df47-533b-4c2a-a3c1-7f9ad1d63e10" providerId="ADAL" clId="{7D997690-04A4-4675-83D7-2E1CC2ED1A4E}" dt="2020-03-24T18:42:43.213" v="4253" actId="962"/>
          <ac:spMkLst>
            <pc:docMk/>
            <pc:sldMk cId="683846977" sldId="591"/>
            <ac:spMk id="42" creationId="{FB22B1F8-5B61-479E-8D30-9CFD502A2F35}"/>
          </ac:spMkLst>
        </pc:spChg>
        <pc:spChg chg="add mod">
          <ac:chgData name="Renata Festa" userId="6f22df47-533b-4c2a-a3c1-7f9ad1d63e10" providerId="ADAL" clId="{7D997690-04A4-4675-83D7-2E1CC2ED1A4E}" dt="2020-03-24T18:42:43.213" v="4253" actId="962"/>
          <ac:spMkLst>
            <pc:docMk/>
            <pc:sldMk cId="683846977" sldId="591"/>
            <ac:spMk id="43" creationId="{D18EAD06-6AF0-49FD-B896-F5183318A3C3}"/>
          </ac:spMkLst>
        </pc:spChg>
        <pc:spChg chg="add mod">
          <ac:chgData name="Renata Festa" userId="6f22df47-533b-4c2a-a3c1-7f9ad1d63e10" providerId="ADAL" clId="{7D997690-04A4-4675-83D7-2E1CC2ED1A4E}" dt="2020-03-24T18:42:43.213" v="4253" actId="962"/>
          <ac:spMkLst>
            <pc:docMk/>
            <pc:sldMk cId="683846977" sldId="591"/>
            <ac:spMk id="44" creationId="{9CA41E1D-1142-4731-8758-FD987AEB91AC}"/>
          </ac:spMkLst>
        </pc:spChg>
        <pc:spChg chg="add mod">
          <ac:chgData name="Renata Festa" userId="6f22df47-533b-4c2a-a3c1-7f9ad1d63e10" providerId="ADAL" clId="{7D997690-04A4-4675-83D7-2E1CC2ED1A4E}" dt="2020-03-24T18:42:43.213" v="4253" actId="962"/>
          <ac:spMkLst>
            <pc:docMk/>
            <pc:sldMk cId="683846977" sldId="591"/>
            <ac:spMk id="45" creationId="{AF841F5D-129D-4197-AF8A-9952683B1870}"/>
          </ac:spMkLst>
        </pc:spChg>
        <pc:spChg chg="add mod">
          <ac:chgData name="Renata Festa" userId="6f22df47-533b-4c2a-a3c1-7f9ad1d63e10" providerId="ADAL" clId="{7D997690-04A4-4675-83D7-2E1CC2ED1A4E}" dt="2020-03-24T18:42:43.213" v="4253" actId="962"/>
          <ac:spMkLst>
            <pc:docMk/>
            <pc:sldMk cId="683846977" sldId="591"/>
            <ac:spMk id="46" creationId="{37532D86-5701-449E-9F38-AD96B9297DAA}"/>
          </ac:spMkLst>
        </pc:spChg>
        <pc:spChg chg="add mod">
          <ac:chgData name="Renata Festa" userId="6f22df47-533b-4c2a-a3c1-7f9ad1d63e10" providerId="ADAL" clId="{7D997690-04A4-4675-83D7-2E1CC2ED1A4E}" dt="2020-03-24T18:56:03.687" v="4932" actId="207"/>
          <ac:spMkLst>
            <pc:docMk/>
            <pc:sldMk cId="683846977" sldId="591"/>
            <ac:spMk id="47" creationId="{45878E69-E983-4950-A6B7-D8FD789A9461}"/>
          </ac:spMkLst>
        </pc:spChg>
        <pc:spChg chg="add mod">
          <ac:chgData name="Renata Festa" userId="6f22df47-533b-4c2a-a3c1-7f9ad1d63e10" providerId="ADAL" clId="{7D997690-04A4-4675-83D7-2E1CC2ED1A4E}" dt="2020-03-24T18:56:03.687" v="4932" actId="207"/>
          <ac:spMkLst>
            <pc:docMk/>
            <pc:sldMk cId="683846977" sldId="591"/>
            <ac:spMk id="48" creationId="{7085BE56-1589-4E7E-8DE4-64BEE6755E66}"/>
          </ac:spMkLst>
        </pc:spChg>
        <pc:spChg chg="add mod">
          <ac:chgData name="Renata Festa" userId="6f22df47-533b-4c2a-a3c1-7f9ad1d63e10" providerId="ADAL" clId="{7D997690-04A4-4675-83D7-2E1CC2ED1A4E}" dt="2020-03-24T18:56:03.687" v="4932" actId="207"/>
          <ac:spMkLst>
            <pc:docMk/>
            <pc:sldMk cId="683846977" sldId="591"/>
            <ac:spMk id="49" creationId="{86914C14-2EB4-4B01-9A11-989373F0AA5D}"/>
          </ac:spMkLst>
        </pc:spChg>
        <pc:spChg chg="add mod">
          <ac:chgData name="Renata Festa" userId="6f22df47-533b-4c2a-a3c1-7f9ad1d63e10" providerId="ADAL" clId="{7D997690-04A4-4675-83D7-2E1CC2ED1A4E}" dt="2020-03-24T18:56:03.687" v="4932" actId="207"/>
          <ac:spMkLst>
            <pc:docMk/>
            <pc:sldMk cId="683846977" sldId="591"/>
            <ac:spMk id="50" creationId="{E8DA537B-0C94-47F9-92A6-FC745F22F465}"/>
          </ac:spMkLst>
        </pc:spChg>
        <pc:spChg chg="add mod">
          <ac:chgData name="Renata Festa" userId="6f22df47-533b-4c2a-a3c1-7f9ad1d63e10" providerId="ADAL" clId="{7D997690-04A4-4675-83D7-2E1CC2ED1A4E}" dt="2020-03-24T18:56:03.687" v="4932" actId="207"/>
          <ac:spMkLst>
            <pc:docMk/>
            <pc:sldMk cId="683846977" sldId="591"/>
            <ac:spMk id="51" creationId="{9D000D40-32F4-4E55-BFDE-ECE6B65E4496}"/>
          </ac:spMkLst>
        </pc:spChg>
        <pc:spChg chg="add mod">
          <ac:chgData name="Renata Festa" userId="6f22df47-533b-4c2a-a3c1-7f9ad1d63e10" providerId="ADAL" clId="{7D997690-04A4-4675-83D7-2E1CC2ED1A4E}" dt="2020-03-24T18:56:03.687" v="4932" actId="207"/>
          <ac:spMkLst>
            <pc:docMk/>
            <pc:sldMk cId="683846977" sldId="591"/>
            <ac:spMk id="52" creationId="{B4431797-ACA3-441C-AFB6-3A718A006F19}"/>
          </ac:spMkLst>
        </pc:spChg>
        <pc:spChg chg="add mod">
          <ac:chgData name="Renata Festa" userId="6f22df47-533b-4c2a-a3c1-7f9ad1d63e10" providerId="ADAL" clId="{7D997690-04A4-4675-83D7-2E1CC2ED1A4E}" dt="2020-03-24T18:56:03.687" v="4932" actId="207"/>
          <ac:spMkLst>
            <pc:docMk/>
            <pc:sldMk cId="683846977" sldId="591"/>
            <ac:spMk id="53" creationId="{80EAD51F-38EE-4241-A36D-396F387F1D39}"/>
          </ac:spMkLst>
        </pc:spChg>
        <pc:spChg chg="add mod">
          <ac:chgData name="Renata Festa" userId="6f22df47-533b-4c2a-a3c1-7f9ad1d63e10" providerId="ADAL" clId="{7D997690-04A4-4675-83D7-2E1CC2ED1A4E}" dt="2020-03-24T18:56:03.687" v="4932" actId="207"/>
          <ac:spMkLst>
            <pc:docMk/>
            <pc:sldMk cId="683846977" sldId="591"/>
            <ac:spMk id="54" creationId="{FC4EF67E-2CD8-4FAC-B657-78C01EA24AF3}"/>
          </ac:spMkLst>
        </pc:spChg>
        <pc:spChg chg="add mod">
          <ac:chgData name="Renata Festa" userId="6f22df47-533b-4c2a-a3c1-7f9ad1d63e10" providerId="ADAL" clId="{7D997690-04A4-4675-83D7-2E1CC2ED1A4E}" dt="2020-03-24T18:56:03.687" v="4932" actId="207"/>
          <ac:spMkLst>
            <pc:docMk/>
            <pc:sldMk cId="683846977" sldId="591"/>
            <ac:spMk id="55" creationId="{F9688C44-9EDA-42BF-8529-B530D41F22EE}"/>
          </ac:spMkLst>
        </pc:spChg>
        <pc:spChg chg="add mod">
          <ac:chgData name="Renata Festa" userId="6f22df47-533b-4c2a-a3c1-7f9ad1d63e10" providerId="ADAL" clId="{7D997690-04A4-4675-83D7-2E1CC2ED1A4E}" dt="2020-03-24T18:42:43.213" v="4253" actId="962"/>
          <ac:spMkLst>
            <pc:docMk/>
            <pc:sldMk cId="683846977" sldId="591"/>
            <ac:spMk id="56" creationId="{9E49E262-CDAE-47B4-8488-4D34D1CAB174}"/>
          </ac:spMkLst>
        </pc:spChg>
        <pc:spChg chg="add mod">
          <ac:chgData name="Renata Festa" userId="6f22df47-533b-4c2a-a3c1-7f9ad1d63e10" providerId="ADAL" clId="{7D997690-04A4-4675-83D7-2E1CC2ED1A4E}" dt="2020-03-24T18:42:43.213" v="4253" actId="962"/>
          <ac:spMkLst>
            <pc:docMk/>
            <pc:sldMk cId="683846977" sldId="591"/>
            <ac:spMk id="57" creationId="{1B918896-12A2-4E7E-BE0F-2A47C97502F0}"/>
          </ac:spMkLst>
        </pc:spChg>
        <pc:spChg chg="add del mod">
          <ac:chgData name="Renata Festa" userId="6f22df47-533b-4c2a-a3c1-7f9ad1d63e10" providerId="ADAL" clId="{7D997690-04A4-4675-83D7-2E1CC2ED1A4E}" dt="2020-03-24T18:42:43.213" v="4253" actId="962"/>
          <ac:spMkLst>
            <pc:docMk/>
            <pc:sldMk cId="683846977" sldId="591"/>
            <ac:spMk id="58" creationId="{B145EC5B-7EDB-464F-99CB-9D3430188016}"/>
          </ac:spMkLst>
        </pc:spChg>
        <pc:spChg chg="add mod">
          <ac:chgData name="Renata Festa" userId="6f22df47-533b-4c2a-a3c1-7f9ad1d63e10" providerId="ADAL" clId="{7D997690-04A4-4675-83D7-2E1CC2ED1A4E}" dt="2020-03-24T18:42:43.213" v="4253" actId="962"/>
          <ac:spMkLst>
            <pc:docMk/>
            <pc:sldMk cId="683846977" sldId="591"/>
            <ac:spMk id="59" creationId="{6C57F491-FBA3-4DE8-A42E-6E698BEFDE94}"/>
          </ac:spMkLst>
        </pc:spChg>
        <pc:spChg chg="add mod">
          <ac:chgData name="Renata Festa" userId="6f22df47-533b-4c2a-a3c1-7f9ad1d63e10" providerId="ADAL" clId="{7D997690-04A4-4675-83D7-2E1CC2ED1A4E}" dt="2020-03-24T18:42:43.213" v="4253" actId="962"/>
          <ac:spMkLst>
            <pc:docMk/>
            <pc:sldMk cId="683846977" sldId="591"/>
            <ac:spMk id="60" creationId="{4AB5E342-D474-4416-BC20-3438113AF3F9}"/>
          </ac:spMkLst>
        </pc:spChg>
        <pc:spChg chg="add mod">
          <ac:chgData name="Renata Festa" userId="6f22df47-533b-4c2a-a3c1-7f9ad1d63e10" providerId="ADAL" clId="{7D997690-04A4-4675-83D7-2E1CC2ED1A4E}" dt="2020-03-24T18:42:43.213" v="4253" actId="962"/>
          <ac:spMkLst>
            <pc:docMk/>
            <pc:sldMk cId="683846977" sldId="591"/>
            <ac:spMk id="61" creationId="{CBDB38E7-5578-4332-9F8C-0950F8424496}"/>
          </ac:spMkLst>
        </pc:spChg>
        <pc:spChg chg="add mod">
          <ac:chgData name="Renata Festa" userId="6f22df47-533b-4c2a-a3c1-7f9ad1d63e10" providerId="ADAL" clId="{7D997690-04A4-4675-83D7-2E1CC2ED1A4E}" dt="2020-03-24T18:42:43.213" v="4253" actId="962"/>
          <ac:spMkLst>
            <pc:docMk/>
            <pc:sldMk cId="683846977" sldId="591"/>
            <ac:spMk id="62" creationId="{F4E554BB-5D74-491D-B2A9-A7DE9972FAA7}"/>
          </ac:spMkLst>
        </pc:spChg>
        <pc:spChg chg="add mod">
          <ac:chgData name="Renata Festa" userId="6f22df47-533b-4c2a-a3c1-7f9ad1d63e10" providerId="ADAL" clId="{7D997690-04A4-4675-83D7-2E1CC2ED1A4E}" dt="2020-03-24T18:42:43.213" v="4253" actId="962"/>
          <ac:spMkLst>
            <pc:docMk/>
            <pc:sldMk cId="683846977" sldId="591"/>
            <ac:spMk id="63" creationId="{02F8AB21-0AE9-4228-B33A-FF2E44DD9B11}"/>
          </ac:spMkLst>
        </pc:spChg>
        <pc:spChg chg="add del mod">
          <ac:chgData name="Renata Festa" userId="6f22df47-533b-4c2a-a3c1-7f9ad1d63e10" providerId="ADAL" clId="{7D997690-04A4-4675-83D7-2E1CC2ED1A4E}" dt="2020-03-23T21:14:17.292" v="194"/>
          <ac:spMkLst>
            <pc:docMk/>
            <pc:sldMk cId="683846977" sldId="591"/>
            <ac:spMk id="66" creationId="{6F219BCE-62E0-4CD9-A023-C93478105F7A}"/>
          </ac:spMkLst>
        </pc:spChg>
        <pc:spChg chg="add del mod">
          <ac:chgData name="Renata Festa" userId="6f22df47-533b-4c2a-a3c1-7f9ad1d63e10" providerId="ADAL" clId="{7D997690-04A4-4675-83D7-2E1CC2ED1A4E}" dt="2020-03-23T21:14:15.523" v="191"/>
          <ac:spMkLst>
            <pc:docMk/>
            <pc:sldMk cId="683846977" sldId="591"/>
            <ac:spMk id="67" creationId="{DE7F6EFF-AA49-46F8-AA1D-46D437EC1262}"/>
          </ac:spMkLst>
        </pc:spChg>
        <pc:inkChg chg="add del">
          <ac:chgData name="Renata Festa" userId="6f22df47-533b-4c2a-a3c1-7f9ad1d63e10" providerId="ADAL" clId="{7D997690-04A4-4675-83D7-2E1CC2ED1A4E}" dt="2020-03-23T21:10:07.780" v="146" actId="9405"/>
          <ac:inkMkLst>
            <pc:docMk/>
            <pc:sldMk cId="683846977" sldId="591"/>
            <ac:inkMk id="64" creationId="{531989BC-FDAF-482D-A1CF-37E65FD038CB}"/>
          </ac:inkMkLst>
        </pc:inkChg>
        <pc:inkChg chg="add del">
          <ac:chgData name="Renata Festa" userId="6f22df47-533b-4c2a-a3c1-7f9ad1d63e10" providerId="ADAL" clId="{7D997690-04A4-4675-83D7-2E1CC2ED1A4E}" dt="2020-03-23T21:10:07.635" v="145" actId="9405"/>
          <ac:inkMkLst>
            <pc:docMk/>
            <pc:sldMk cId="683846977" sldId="591"/>
            <ac:inkMk id="65" creationId="{DD32475E-0438-4281-B0CF-43A420980F04}"/>
          </ac:inkMkLst>
        </pc:inkChg>
      </pc:sldChg>
      <pc:sldChg chg="add del">
        <pc:chgData name="Renata Festa" userId="6f22df47-533b-4c2a-a3c1-7f9ad1d63e10" providerId="ADAL" clId="{7D997690-04A4-4675-83D7-2E1CC2ED1A4E}" dt="2020-03-20T18:51:09.016" v="4"/>
        <pc:sldMkLst>
          <pc:docMk/>
          <pc:sldMk cId="2650761956" sldId="591"/>
        </pc:sldMkLst>
      </pc:sldChg>
      <pc:sldChg chg="add del">
        <pc:chgData name="Renata Festa" userId="6f22df47-533b-4c2a-a3c1-7f9ad1d63e10" providerId="ADAL" clId="{7D997690-04A4-4675-83D7-2E1CC2ED1A4E}" dt="2020-03-20T18:51:09.016" v="4"/>
        <pc:sldMkLst>
          <pc:docMk/>
          <pc:sldMk cId="648137854" sldId="592"/>
        </pc:sldMkLst>
      </pc:sldChg>
      <pc:sldChg chg="addSp delSp modSp add mod modAnim modShow modNotesTx">
        <pc:chgData name="Renata Festa" userId="6f22df47-533b-4c2a-a3c1-7f9ad1d63e10" providerId="ADAL" clId="{7D997690-04A4-4675-83D7-2E1CC2ED1A4E}" dt="2020-03-24T18:56:19.111" v="4933" actId="207"/>
        <pc:sldMkLst>
          <pc:docMk/>
          <pc:sldMk cId="2841856026" sldId="592"/>
        </pc:sldMkLst>
        <pc:spChg chg="mod">
          <ac:chgData name="Renata Festa" userId="6f22df47-533b-4c2a-a3c1-7f9ad1d63e10" providerId="ADAL" clId="{7D997690-04A4-4675-83D7-2E1CC2ED1A4E}" dt="2020-03-23T21:16:11.269" v="209"/>
          <ac:spMkLst>
            <pc:docMk/>
            <pc:sldMk cId="2841856026" sldId="592"/>
            <ac:spMk id="2" creationId="{EB67312A-9819-43C6-8D84-D9136E6CFFCC}"/>
          </ac:spMkLst>
        </pc:spChg>
        <pc:spChg chg="del">
          <ac:chgData name="Renata Festa" userId="6f22df47-533b-4c2a-a3c1-7f9ad1d63e10" providerId="ADAL" clId="{7D997690-04A4-4675-83D7-2E1CC2ED1A4E}" dt="2020-03-24T14:00:59.987" v="1638" actId="478"/>
          <ac:spMkLst>
            <pc:docMk/>
            <pc:sldMk cId="2841856026" sldId="592"/>
            <ac:spMk id="3" creationId="{F35E8CBB-5A7D-4DEF-BAF7-8DD5D042F9E0}"/>
          </ac:spMkLst>
        </pc:spChg>
        <pc:spChg chg="mod">
          <ac:chgData name="Renata Festa" userId="6f22df47-533b-4c2a-a3c1-7f9ad1d63e10" providerId="ADAL" clId="{7D997690-04A4-4675-83D7-2E1CC2ED1A4E}" dt="2020-03-24T18:45:46.973" v="4927" actId="962"/>
          <ac:spMkLst>
            <pc:docMk/>
            <pc:sldMk cId="2841856026" sldId="592"/>
            <ac:spMk id="4" creationId="{F3616A99-090F-45E1-9334-58D58B148205}"/>
          </ac:spMkLst>
        </pc:spChg>
        <pc:spChg chg="add mod">
          <ac:chgData name="Renata Festa" userId="6f22df47-533b-4c2a-a3c1-7f9ad1d63e10" providerId="ADAL" clId="{7D997690-04A4-4675-83D7-2E1CC2ED1A4E}" dt="2020-03-24T18:45:46.973" v="4927" actId="962"/>
          <ac:spMkLst>
            <pc:docMk/>
            <pc:sldMk cId="2841856026" sldId="592"/>
            <ac:spMk id="5" creationId="{322A765D-EF46-436F-98D5-358A046EA054}"/>
          </ac:spMkLst>
        </pc:spChg>
        <pc:spChg chg="add mod">
          <ac:chgData name="Renata Festa" userId="6f22df47-533b-4c2a-a3c1-7f9ad1d63e10" providerId="ADAL" clId="{7D997690-04A4-4675-83D7-2E1CC2ED1A4E}" dt="2020-03-24T18:45:46.973" v="4927" actId="962"/>
          <ac:spMkLst>
            <pc:docMk/>
            <pc:sldMk cId="2841856026" sldId="592"/>
            <ac:spMk id="6" creationId="{5CA6A9E2-0801-42E6-82C9-FF9DD0C47385}"/>
          </ac:spMkLst>
        </pc:spChg>
        <pc:spChg chg="add mod">
          <ac:chgData name="Renata Festa" userId="6f22df47-533b-4c2a-a3c1-7f9ad1d63e10" providerId="ADAL" clId="{7D997690-04A4-4675-83D7-2E1CC2ED1A4E}" dt="2020-03-24T18:45:46.973" v="4927" actId="962"/>
          <ac:spMkLst>
            <pc:docMk/>
            <pc:sldMk cId="2841856026" sldId="592"/>
            <ac:spMk id="7" creationId="{9ED902E4-C93F-4D5D-8C32-314454F924CA}"/>
          </ac:spMkLst>
        </pc:spChg>
        <pc:spChg chg="add mod">
          <ac:chgData name="Renata Festa" userId="6f22df47-533b-4c2a-a3c1-7f9ad1d63e10" providerId="ADAL" clId="{7D997690-04A4-4675-83D7-2E1CC2ED1A4E}" dt="2020-03-24T18:45:46.973" v="4927" actId="962"/>
          <ac:spMkLst>
            <pc:docMk/>
            <pc:sldMk cId="2841856026" sldId="592"/>
            <ac:spMk id="8" creationId="{F37E6B9A-09B8-4050-91F4-EAAFD2B192AD}"/>
          </ac:spMkLst>
        </pc:spChg>
        <pc:spChg chg="add mod">
          <ac:chgData name="Renata Festa" userId="6f22df47-533b-4c2a-a3c1-7f9ad1d63e10" providerId="ADAL" clId="{7D997690-04A4-4675-83D7-2E1CC2ED1A4E}" dt="2020-03-24T18:45:46.973" v="4927" actId="962"/>
          <ac:spMkLst>
            <pc:docMk/>
            <pc:sldMk cId="2841856026" sldId="592"/>
            <ac:spMk id="9" creationId="{AC2E2DEB-8B80-4964-AA13-C891ACA6B2CB}"/>
          </ac:spMkLst>
        </pc:spChg>
        <pc:spChg chg="add mod">
          <ac:chgData name="Renata Festa" userId="6f22df47-533b-4c2a-a3c1-7f9ad1d63e10" providerId="ADAL" clId="{7D997690-04A4-4675-83D7-2E1CC2ED1A4E}" dt="2020-03-24T18:45:46.973" v="4927" actId="962"/>
          <ac:spMkLst>
            <pc:docMk/>
            <pc:sldMk cId="2841856026" sldId="592"/>
            <ac:spMk id="10" creationId="{A418583E-607D-4518-9AF9-B85A90A8EBFE}"/>
          </ac:spMkLst>
        </pc:spChg>
        <pc:spChg chg="add mod">
          <ac:chgData name="Renata Festa" userId="6f22df47-533b-4c2a-a3c1-7f9ad1d63e10" providerId="ADAL" clId="{7D997690-04A4-4675-83D7-2E1CC2ED1A4E}" dt="2020-03-24T18:45:46.973" v="4927" actId="962"/>
          <ac:spMkLst>
            <pc:docMk/>
            <pc:sldMk cId="2841856026" sldId="592"/>
            <ac:spMk id="11" creationId="{CC4DBA0E-AEA7-48AA-A2FA-D2EC64E2396C}"/>
          </ac:spMkLst>
        </pc:spChg>
        <pc:spChg chg="add mod">
          <ac:chgData name="Renata Festa" userId="6f22df47-533b-4c2a-a3c1-7f9ad1d63e10" providerId="ADAL" clId="{7D997690-04A4-4675-83D7-2E1CC2ED1A4E}" dt="2020-03-24T18:56:19.111" v="4933" actId="207"/>
          <ac:spMkLst>
            <pc:docMk/>
            <pc:sldMk cId="2841856026" sldId="592"/>
            <ac:spMk id="12" creationId="{6AEDBBEB-86FF-48A0-A8BD-88F2A5A1A3EF}"/>
          </ac:spMkLst>
        </pc:spChg>
        <pc:spChg chg="add mod">
          <ac:chgData name="Renata Festa" userId="6f22df47-533b-4c2a-a3c1-7f9ad1d63e10" providerId="ADAL" clId="{7D997690-04A4-4675-83D7-2E1CC2ED1A4E}" dt="2020-03-24T18:56:19.111" v="4933" actId="207"/>
          <ac:spMkLst>
            <pc:docMk/>
            <pc:sldMk cId="2841856026" sldId="592"/>
            <ac:spMk id="13" creationId="{F9414D59-1C42-4A28-8FEF-F5215FE67D29}"/>
          </ac:spMkLst>
        </pc:spChg>
        <pc:spChg chg="add mod">
          <ac:chgData name="Renata Festa" userId="6f22df47-533b-4c2a-a3c1-7f9ad1d63e10" providerId="ADAL" clId="{7D997690-04A4-4675-83D7-2E1CC2ED1A4E}" dt="2020-03-24T18:45:46.973" v="4927" actId="962"/>
          <ac:spMkLst>
            <pc:docMk/>
            <pc:sldMk cId="2841856026" sldId="592"/>
            <ac:spMk id="14" creationId="{8D6AB7C3-D761-43D9-B4DE-EFBC8E942696}"/>
          </ac:spMkLst>
        </pc:spChg>
        <pc:spChg chg="add mod">
          <ac:chgData name="Renata Festa" userId="6f22df47-533b-4c2a-a3c1-7f9ad1d63e10" providerId="ADAL" clId="{7D997690-04A4-4675-83D7-2E1CC2ED1A4E}" dt="2020-03-24T18:56:19.111" v="4933" actId="207"/>
          <ac:spMkLst>
            <pc:docMk/>
            <pc:sldMk cId="2841856026" sldId="592"/>
            <ac:spMk id="15" creationId="{CDB57443-61C5-4136-87AF-950A3E135F20}"/>
          </ac:spMkLst>
        </pc:spChg>
        <pc:spChg chg="add mod">
          <ac:chgData name="Renata Festa" userId="6f22df47-533b-4c2a-a3c1-7f9ad1d63e10" providerId="ADAL" clId="{7D997690-04A4-4675-83D7-2E1CC2ED1A4E}" dt="2020-03-24T18:56:19.111" v="4933" actId="207"/>
          <ac:spMkLst>
            <pc:docMk/>
            <pc:sldMk cId="2841856026" sldId="592"/>
            <ac:spMk id="16" creationId="{AFAE36B5-830B-446D-9F8A-4A2C535EACCE}"/>
          </ac:spMkLst>
        </pc:spChg>
        <pc:spChg chg="add mod">
          <ac:chgData name="Renata Festa" userId="6f22df47-533b-4c2a-a3c1-7f9ad1d63e10" providerId="ADAL" clId="{7D997690-04A4-4675-83D7-2E1CC2ED1A4E}" dt="2020-03-24T18:56:19.111" v="4933" actId="207"/>
          <ac:spMkLst>
            <pc:docMk/>
            <pc:sldMk cId="2841856026" sldId="592"/>
            <ac:spMk id="17" creationId="{47D2EC10-84FA-420E-BEF5-4506FEA38990}"/>
          </ac:spMkLst>
        </pc:spChg>
        <pc:spChg chg="add mod">
          <ac:chgData name="Renata Festa" userId="6f22df47-533b-4c2a-a3c1-7f9ad1d63e10" providerId="ADAL" clId="{7D997690-04A4-4675-83D7-2E1CC2ED1A4E}" dt="2020-03-24T18:45:46.973" v="4927" actId="962"/>
          <ac:spMkLst>
            <pc:docMk/>
            <pc:sldMk cId="2841856026" sldId="592"/>
            <ac:spMk id="18" creationId="{D26D976C-0148-4DED-AED1-1289B6CBEB0A}"/>
          </ac:spMkLst>
        </pc:spChg>
        <pc:spChg chg="add mod">
          <ac:chgData name="Renata Festa" userId="6f22df47-533b-4c2a-a3c1-7f9ad1d63e10" providerId="ADAL" clId="{7D997690-04A4-4675-83D7-2E1CC2ED1A4E}" dt="2020-03-24T18:45:46.973" v="4927" actId="962"/>
          <ac:spMkLst>
            <pc:docMk/>
            <pc:sldMk cId="2841856026" sldId="592"/>
            <ac:spMk id="19" creationId="{563B4937-8F78-4534-8BC2-283D96FA144A}"/>
          </ac:spMkLst>
        </pc:spChg>
        <pc:spChg chg="add mod">
          <ac:chgData name="Renata Festa" userId="6f22df47-533b-4c2a-a3c1-7f9ad1d63e10" providerId="ADAL" clId="{7D997690-04A4-4675-83D7-2E1CC2ED1A4E}" dt="2020-03-24T18:45:46.973" v="4927" actId="962"/>
          <ac:spMkLst>
            <pc:docMk/>
            <pc:sldMk cId="2841856026" sldId="592"/>
            <ac:spMk id="20" creationId="{A28E9357-CF65-4849-AEBB-E98FA030C88E}"/>
          </ac:spMkLst>
        </pc:spChg>
        <pc:spChg chg="add mod">
          <ac:chgData name="Renata Festa" userId="6f22df47-533b-4c2a-a3c1-7f9ad1d63e10" providerId="ADAL" clId="{7D997690-04A4-4675-83D7-2E1CC2ED1A4E}" dt="2020-03-24T18:45:46.973" v="4927" actId="962"/>
          <ac:spMkLst>
            <pc:docMk/>
            <pc:sldMk cId="2841856026" sldId="592"/>
            <ac:spMk id="21" creationId="{F056AA30-BEB6-47FF-BDF0-B57A277FF0EC}"/>
          </ac:spMkLst>
        </pc:spChg>
        <pc:spChg chg="add mod">
          <ac:chgData name="Renata Festa" userId="6f22df47-533b-4c2a-a3c1-7f9ad1d63e10" providerId="ADAL" clId="{7D997690-04A4-4675-83D7-2E1CC2ED1A4E}" dt="2020-03-24T18:45:46.973" v="4927" actId="962"/>
          <ac:spMkLst>
            <pc:docMk/>
            <pc:sldMk cId="2841856026" sldId="592"/>
            <ac:spMk id="22" creationId="{F7632473-8D1A-4A0B-AABF-B83F75AD5056}"/>
          </ac:spMkLst>
        </pc:spChg>
        <pc:spChg chg="add mod">
          <ac:chgData name="Renata Festa" userId="6f22df47-533b-4c2a-a3c1-7f9ad1d63e10" providerId="ADAL" clId="{7D997690-04A4-4675-83D7-2E1CC2ED1A4E}" dt="2020-03-24T18:45:46.973" v="4927" actId="962"/>
          <ac:spMkLst>
            <pc:docMk/>
            <pc:sldMk cId="2841856026" sldId="592"/>
            <ac:spMk id="23" creationId="{D82D6CEF-48B4-4968-8305-9A4C54E4BD4C}"/>
          </ac:spMkLst>
        </pc:spChg>
        <pc:spChg chg="add mod">
          <ac:chgData name="Renata Festa" userId="6f22df47-533b-4c2a-a3c1-7f9ad1d63e10" providerId="ADAL" clId="{7D997690-04A4-4675-83D7-2E1CC2ED1A4E}" dt="2020-03-24T18:45:46.973" v="4927" actId="962"/>
          <ac:spMkLst>
            <pc:docMk/>
            <pc:sldMk cId="2841856026" sldId="592"/>
            <ac:spMk id="24" creationId="{C230FA1C-9206-49F8-BA54-58C9B86AF0BC}"/>
          </ac:spMkLst>
        </pc:spChg>
        <pc:spChg chg="add mod">
          <ac:chgData name="Renata Festa" userId="6f22df47-533b-4c2a-a3c1-7f9ad1d63e10" providerId="ADAL" clId="{7D997690-04A4-4675-83D7-2E1CC2ED1A4E}" dt="2020-03-24T18:45:46.973" v="4927" actId="962"/>
          <ac:spMkLst>
            <pc:docMk/>
            <pc:sldMk cId="2841856026" sldId="592"/>
            <ac:spMk id="25" creationId="{66F53200-0AF0-4529-A41B-BA5E6DE59444}"/>
          </ac:spMkLst>
        </pc:spChg>
        <pc:spChg chg="add mod">
          <ac:chgData name="Renata Festa" userId="6f22df47-533b-4c2a-a3c1-7f9ad1d63e10" providerId="ADAL" clId="{7D997690-04A4-4675-83D7-2E1CC2ED1A4E}" dt="2020-03-24T18:45:46.973" v="4927" actId="962"/>
          <ac:spMkLst>
            <pc:docMk/>
            <pc:sldMk cId="2841856026" sldId="592"/>
            <ac:spMk id="26" creationId="{5435210F-E558-4586-A5C5-B4E1549E8670}"/>
          </ac:spMkLst>
        </pc:spChg>
        <pc:spChg chg="add mod">
          <ac:chgData name="Renata Festa" userId="6f22df47-533b-4c2a-a3c1-7f9ad1d63e10" providerId="ADAL" clId="{7D997690-04A4-4675-83D7-2E1CC2ED1A4E}" dt="2020-03-24T18:45:46.973" v="4927" actId="962"/>
          <ac:spMkLst>
            <pc:docMk/>
            <pc:sldMk cId="2841856026" sldId="592"/>
            <ac:spMk id="27" creationId="{1F9501E1-C29D-4BB2-9485-9F1D3DFC1E27}"/>
          </ac:spMkLst>
        </pc:spChg>
        <pc:spChg chg="add mod">
          <ac:chgData name="Renata Festa" userId="6f22df47-533b-4c2a-a3c1-7f9ad1d63e10" providerId="ADAL" clId="{7D997690-04A4-4675-83D7-2E1CC2ED1A4E}" dt="2020-03-24T18:45:46.973" v="4927" actId="962"/>
          <ac:spMkLst>
            <pc:docMk/>
            <pc:sldMk cId="2841856026" sldId="592"/>
            <ac:spMk id="28" creationId="{9400EB85-A7B8-4776-96AF-BCEC33EF0D39}"/>
          </ac:spMkLst>
        </pc:spChg>
        <pc:spChg chg="add mod">
          <ac:chgData name="Renata Festa" userId="6f22df47-533b-4c2a-a3c1-7f9ad1d63e10" providerId="ADAL" clId="{7D997690-04A4-4675-83D7-2E1CC2ED1A4E}" dt="2020-03-24T18:45:46.973" v="4927" actId="962"/>
          <ac:spMkLst>
            <pc:docMk/>
            <pc:sldMk cId="2841856026" sldId="592"/>
            <ac:spMk id="29" creationId="{BD6CC425-E887-4BC3-9F33-A10161D9B480}"/>
          </ac:spMkLst>
        </pc:spChg>
        <pc:spChg chg="add mod">
          <ac:chgData name="Renata Festa" userId="6f22df47-533b-4c2a-a3c1-7f9ad1d63e10" providerId="ADAL" clId="{7D997690-04A4-4675-83D7-2E1CC2ED1A4E}" dt="2020-03-24T18:45:46.973" v="4927" actId="962"/>
          <ac:spMkLst>
            <pc:docMk/>
            <pc:sldMk cId="2841856026" sldId="592"/>
            <ac:spMk id="30" creationId="{13F0463C-1437-4452-890C-F930C20145BB}"/>
          </ac:spMkLst>
        </pc:spChg>
        <pc:spChg chg="add mod">
          <ac:chgData name="Renata Festa" userId="6f22df47-533b-4c2a-a3c1-7f9ad1d63e10" providerId="ADAL" clId="{7D997690-04A4-4675-83D7-2E1CC2ED1A4E}" dt="2020-03-24T18:45:46.973" v="4927" actId="962"/>
          <ac:spMkLst>
            <pc:docMk/>
            <pc:sldMk cId="2841856026" sldId="592"/>
            <ac:spMk id="31" creationId="{E6C34FBB-0F49-418B-85C3-D705F12D6EC4}"/>
          </ac:spMkLst>
        </pc:spChg>
        <pc:spChg chg="add mod">
          <ac:chgData name="Renata Festa" userId="6f22df47-533b-4c2a-a3c1-7f9ad1d63e10" providerId="ADAL" clId="{7D997690-04A4-4675-83D7-2E1CC2ED1A4E}" dt="2020-03-24T18:45:46.973" v="4927" actId="962"/>
          <ac:spMkLst>
            <pc:docMk/>
            <pc:sldMk cId="2841856026" sldId="592"/>
            <ac:spMk id="32" creationId="{8E3BECF8-6FD9-4E4B-AB02-210DC5A05DAA}"/>
          </ac:spMkLst>
        </pc:spChg>
        <pc:spChg chg="add mod">
          <ac:chgData name="Renata Festa" userId="6f22df47-533b-4c2a-a3c1-7f9ad1d63e10" providerId="ADAL" clId="{7D997690-04A4-4675-83D7-2E1CC2ED1A4E}" dt="2020-03-24T18:56:19.111" v="4933" actId="207"/>
          <ac:spMkLst>
            <pc:docMk/>
            <pc:sldMk cId="2841856026" sldId="592"/>
            <ac:spMk id="33" creationId="{5409B55B-8882-4A16-92FE-B768106273E1}"/>
          </ac:spMkLst>
        </pc:spChg>
        <pc:spChg chg="add mod">
          <ac:chgData name="Renata Festa" userId="6f22df47-533b-4c2a-a3c1-7f9ad1d63e10" providerId="ADAL" clId="{7D997690-04A4-4675-83D7-2E1CC2ED1A4E}" dt="2020-03-24T18:45:46.973" v="4927" actId="962"/>
          <ac:spMkLst>
            <pc:docMk/>
            <pc:sldMk cId="2841856026" sldId="592"/>
            <ac:spMk id="34" creationId="{B49F66DF-ED55-4E5F-BDC8-1B98E0CD1280}"/>
          </ac:spMkLst>
        </pc:spChg>
        <pc:spChg chg="add mod">
          <ac:chgData name="Renata Festa" userId="6f22df47-533b-4c2a-a3c1-7f9ad1d63e10" providerId="ADAL" clId="{7D997690-04A4-4675-83D7-2E1CC2ED1A4E}" dt="2020-03-24T18:56:19.111" v="4933" actId="207"/>
          <ac:spMkLst>
            <pc:docMk/>
            <pc:sldMk cId="2841856026" sldId="592"/>
            <ac:spMk id="35" creationId="{9EA92E25-2F49-4365-89D2-0A94D2CD188A}"/>
          </ac:spMkLst>
        </pc:spChg>
        <pc:spChg chg="add mod">
          <ac:chgData name="Renata Festa" userId="6f22df47-533b-4c2a-a3c1-7f9ad1d63e10" providerId="ADAL" clId="{7D997690-04A4-4675-83D7-2E1CC2ED1A4E}" dt="2020-03-24T18:45:46.973" v="4927" actId="962"/>
          <ac:spMkLst>
            <pc:docMk/>
            <pc:sldMk cId="2841856026" sldId="592"/>
            <ac:spMk id="36" creationId="{448663E4-0322-4112-ADFC-761E775C778F}"/>
          </ac:spMkLst>
        </pc:spChg>
        <pc:spChg chg="add mod">
          <ac:chgData name="Renata Festa" userId="6f22df47-533b-4c2a-a3c1-7f9ad1d63e10" providerId="ADAL" clId="{7D997690-04A4-4675-83D7-2E1CC2ED1A4E}" dt="2020-03-24T18:45:46.973" v="4927" actId="962"/>
          <ac:spMkLst>
            <pc:docMk/>
            <pc:sldMk cId="2841856026" sldId="592"/>
            <ac:spMk id="37" creationId="{CABD6AEF-09AF-4C9A-BBE4-5FCBC908164D}"/>
          </ac:spMkLst>
        </pc:spChg>
        <pc:spChg chg="add mod">
          <ac:chgData name="Renata Festa" userId="6f22df47-533b-4c2a-a3c1-7f9ad1d63e10" providerId="ADAL" clId="{7D997690-04A4-4675-83D7-2E1CC2ED1A4E}" dt="2020-03-24T18:45:46.973" v="4927" actId="962"/>
          <ac:spMkLst>
            <pc:docMk/>
            <pc:sldMk cId="2841856026" sldId="592"/>
            <ac:spMk id="38" creationId="{8CFBDFB8-E0E8-4016-B99A-FB29AB32CF36}"/>
          </ac:spMkLst>
        </pc:spChg>
        <pc:spChg chg="add mod">
          <ac:chgData name="Renata Festa" userId="6f22df47-533b-4c2a-a3c1-7f9ad1d63e10" providerId="ADAL" clId="{7D997690-04A4-4675-83D7-2E1CC2ED1A4E}" dt="2020-03-24T18:45:46.973" v="4927" actId="962"/>
          <ac:spMkLst>
            <pc:docMk/>
            <pc:sldMk cId="2841856026" sldId="592"/>
            <ac:spMk id="39" creationId="{D81D16AC-2295-47F2-8BC9-254D32D333E9}"/>
          </ac:spMkLst>
        </pc:spChg>
        <pc:spChg chg="add mod">
          <ac:chgData name="Renata Festa" userId="6f22df47-533b-4c2a-a3c1-7f9ad1d63e10" providerId="ADAL" clId="{7D997690-04A4-4675-83D7-2E1CC2ED1A4E}" dt="2020-03-24T18:45:46.973" v="4927" actId="962"/>
          <ac:spMkLst>
            <pc:docMk/>
            <pc:sldMk cId="2841856026" sldId="592"/>
            <ac:spMk id="40" creationId="{A36E4D75-6CDF-4E47-8421-9CC80B8407D5}"/>
          </ac:spMkLst>
        </pc:spChg>
        <pc:spChg chg="add mod">
          <ac:chgData name="Renata Festa" userId="6f22df47-533b-4c2a-a3c1-7f9ad1d63e10" providerId="ADAL" clId="{7D997690-04A4-4675-83D7-2E1CC2ED1A4E}" dt="2020-03-24T18:45:46.973" v="4927" actId="962"/>
          <ac:spMkLst>
            <pc:docMk/>
            <pc:sldMk cId="2841856026" sldId="592"/>
            <ac:spMk id="41" creationId="{9030BA2A-BF97-4D6C-BECF-D65E02AD13FB}"/>
          </ac:spMkLst>
        </pc:spChg>
        <pc:spChg chg="add mod">
          <ac:chgData name="Renata Festa" userId="6f22df47-533b-4c2a-a3c1-7f9ad1d63e10" providerId="ADAL" clId="{7D997690-04A4-4675-83D7-2E1CC2ED1A4E}" dt="2020-03-24T18:45:46.973" v="4927" actId="962"/>
          <ac:spMkLst>
            <pc:docMk/>
            <pc:sldMk cId="2841856026" sldId="592"/>
            <ac:spMk id="42" creationId="{F8759418-147D-4439-B877-C5D78C14A362}"/>
          </ac:spMkLst>
        </pc:spChg>
        <pc:spChg chg="add mod">
          <ac:chgData name="Renata Festa" userId="6f22df47-533b-4c2a-a3c1-7f9ad1d63e10" providerId="ADAL" clId="{7D997690-04A4-4675-83D7-2E1CC2ED1A4E}" dt="2020-03-24T18:45:46.973" v="4927" actId="962"/>
          <ac:spMkLst>
            <pc:docMk/>
            <pc:sldMk cId="2841856026" sldId="592"/>
            <ac:spMk id="43" creationId="{37809154-6676-423A-BA2D-AB2DCD41973B}"/>
          </ac:spMkLst>
        </pc:spChg>
        <pc:spChg chg="add mod">
          <ac:chgData name="Renata Festa" userId="6f22df47-533b-4c2a-a3c1-7f9ad1d63e10" providerId="ADAL" clId="{7D997690-04A4-4675-83D7-2E1CC2ED1A4E}" dt="2020-03-24T18:45:46.973" v="4927" actId="962"/>
          <ac:spMkLst>
            <pc:docMk/>
            <pc:sldMk cId="2841856026" sldId="592"/>
            <ac:spMk id="44" creationId="{2203971B-41FD-4043-83A1-14EC2E9237CB}"/>
          </ac:spMkLst>
        </pc:spChg>
        <pc:spChg chg="add mod">
          <ac:chgData name="Renata Festa" userId="6f22df47-533b-4c2a-a3c1-7f9ad1d63e10" providerId="ADAL" clId="{7D997690-04A4-4675-83D7-2E1CC2ED1A4E}" dt="2020-03-24T18:45:46.973" v="4927" actId="962"/>
          <ac:spMkLst>
            <pc:docMk/>
            <pc:sldMk cId="2841856026" sldId="592"/>
            <ac:spMk id="45" creationId="{5942A1C4-46E0-4E2E-82ED-21765EAF4BC3}"/>
          </ac:spMkLst>
        </pc:spChg>
        <pc:spChg chg="add mod">
          <ac:chgData name="Renata Festa" userId="6f22df47-533b-4c2a-a3c1-7f9ad1d63e10" providerId="ADAL" clId="{7D997690-04A4-4675-83D7-2E1CC2ED1A4E}" dt="2020-03-24T18:45:46.973" v="4927" actId="962"/>
          <ac:spMkLst>
            <pc:docMk/>
            <pc:sldMk cId="2841856026" sldId="592"/>
            <ac:spMk id="46" creationId="{55F65A84-A685-497E-A9A3-ABC4C3DA7FB1}"/>
          </ac:spMkLst>
        </pc:spChg>
        <pc:spChg chg="add mod">
          <ac:chgData name="Renata Festa" userId="6f22df47-533b-4c2a-a3c1-7f9ad1d63e10" providerId="ADAL" clId="{7D997690-04A4-4675-83D7-2E1CC2ED1A4E}" dt="2020-03-24T18:45:46.973" v="4927" actId="962"/>
          <ac:spMkLst>
            <pc:docMk/>
            <pc:sldMk cId="2841856026" sldId="592"/>
            <ac:spMk id="47" creationId="{4BF20A39-ACC1-49D2-826D-D2A148B01020}"/>
          </ac:spMkLst>
        </pc:spChg>
        <pc:spChg chg="add mod">
          <ac:chgData name="Renata Festa" userId="6f22df47-533b-4c2a-a3c1-7f9ad1d63e10" providerId="ADAL" clId="{7D997690-04A4-4675-83D7-2E1CC2ED1A4E}" dt="2020-03-24T18:45:46.973" v="4927" actId="962"/>
          <ac:spMkLst>
            <pc:docMk/>
            <pc:sldMk cId="2841856026" sldId="592"/>
            <ac:spMk id="48" creationId="{6D027800-E78A-4E22-B8CC-37C13BDB97D1}"/>
          </ac:spMkLst>
        </pc:spChg>
        <pc:spChg chg="add mod">
          <ac:chgData name="Renata Festa" userId="6f22df47-533b-4c2a-a3c1-7f9ad1d63e10" providerId="ADAL" clId="{7D997690-04A4-4675-83D7-2E1CC2ED1A4E}" dt="2020-03-24T18:56:19.111" v="4933" actId="207"/>
          <ac:spMkLst>
            <pc:docMk/>
            <pc:sldMk cId="2841856026" sldId="592"/>
            <ac:spMk id="49" creationId="{12B7BF20-F662-4259-A44C-5364B3F22398}"/>
          </ac:spMkLst>
        </pc:spChg>
        <pc:spChg chg="add mod">
          <ac:chgData name="Renata Festa" userId="6f22df47-533b-4c2a-a3c1-7f9ad1d63e10" providerId="ADAL" clId="{7D997690-04A4-4675-83D7-2E1CC2ED1A4E}" dt="2020-03-24T18:56:19.111" v="4933" actId="207"/>
          <ac:spMkLst>
            <pc:docMk/>
            <pc:sldMk cId="2841856026" sldId="592"/>
            <ac:spMk id="50" creationId="{BC806CFC-87AB-4964-81CE-B1F34D2E2985}"/>
          </ac:spMkLst>
        </pc:spChg>
        <pc:spChg chg="add mod">
          <ac:chgData name="Renata Festa" userId="6f22df47-533b-4c2a-a3c1-7f9ad1d63e10" providerId="ADAL" clId="{7D997690-04A4-4675-83D7-2E1CC2ED1A4E}" dt="2020-03-24T18:56:19.111" v="4933" actId="207"/>
          <ac:spMkLst>
            <pc:docMk/>
            <pc:sldMk cId="2841856026" sldId="592"/>
            <ac:spMk id="51" creationId="{F1F8EFCA-DC17-410D-A686-4DC92760B759}"/>
          </ac:spMkLst>
        </pc:spChg>
        <pc:spChg chg="add mod">
          <ac:chgData name="Renata Festa" userId="6f22df47-533b-4c2a-a3c1-7f9ad1d63e10" providerId="ADAL" clId="{7D997690-04A4-4675-83D7-2E1CC2ED1A4E}" dt="2020-03-24T18:56:19.111" v="4933" actId="207"/>
          <ac:spMkLst>
            <pc:docMk/>
            <pc:sldMk cId="2841856026" sldId="592"/>
            <ac:spMk id="52" creationId="{BEDB0322-95D6-4FE9-BB7C-D98CF8FD385F}"/>
          </ac:spMkLst>
        </pc:spChg>
        <pc:spChg chg="add mod">
          <ac:chgData name="Renata Festa" userId="6f22df47-533b-4c2a-a3c1-7f9ad1d63e10" providerId="ADAL" clId="{7D997690-04A4-4675-83D7-2E1CC2ED1A4E}" dt="2020-03-24T18:56:19.111" v="4933" actId="207"/>
          <ac:spMkLst>
            <pc:docMk/>
            <pc:sldMk cId="2841856026" sldId="592"/>
            <ac:spMk id="53" creationId="{E7EDEE7C-71E9-4C6E-9497-E4F0F2794F12}"/>
          </ac:spMkLst>
        </pc:spChg>
        <pc:spChg chg="add mod">
          <ac:chgData name="Renata Festa" userId="6f22df47-533b-4c2a-a3c1-7f9ad1d63e10" providerId="ADAL" clId="{7D997690-04A4-4675-83D7-2E1CC2ED1A4E}" dt="2020-03-24T18:56:19.111" v="4933" actId="207"/>
          <ac:spMkLst>
            <pc:docMk/>
            <pc:sldMk cId="2841856026" sldId="592"/>
            <ac:spMk id="54" creationId="{57776630-9364-48AA-AE35-25828F05067D}"/>
          </ac:spMkLst>
        </pc:spChg>
        <pc:spChg chg="add mod">
          <ac:chgData name="Renata Festa" userId="6f22df47-533b-4c2a-a3c1-7f9ad1d63e10" providerId="ADAL" clId="{7D997690-04A4-4675-83D7-2E1CC2ED1A4E}" dt="2020-03-24T18:56:19.111" v="4933" actId="207"/>
          <ac:spMkLst>
            <pc:docMk/>
            <pc:sldMk cId="2841856026" sldId="592"/>
            <ac:spMk id="55" creationId="{45CE9A64-73F0-4191-9DDE-D81703466E0F}"/>
          </ac:spMkLst>
        </pc:spChg>
        <pc:spChg chg="add mod">
          <ac:chgData name="Renata Festa" userId="6f22df47-533b-4c2a-a3c1-7f9ad1d63e10" providerId="ADAL" clId="{7D997690-04A4-4675-83D7-2E1CC2ED1A4E}" dt="2020-03-24T18:56:19.111" v="4933" actId="207"/>
          <ac:spMkLst>
            <pc:docMk/>
            <pc:sldMk cId="2841856026" sldId="592"/>
            <ac:spMk id="56" creationId="{173592CB-CF9A-4DAF-BD20-45C07BBD5CD3}"/>
          </ac:spMkLst>
        </pc:spChg>
        <pc:spChg chg="add mod">
          <ac:chgData name="Renata Festa" userId="6f22df47-533b-4c2a-a3c1-7f9ad1d63e10" providerId="ADAL" clId="{7D997690-04A4-4675-83D7-2E1CC2ED1A4E}" dt="2020-03-24T18:56:19.111" v="4933" actId="207"/>
          <ac:spMkLst>
            <pc:docMk/>
            <pc:sldMk cId="2841856026" sldId="592"/>
            <ac:spMk id="57" creationId="{850FE7C0-7F83-470A-BD62-5EC5D101CE0D}"/>
          </ac:spMkLst>
        </pc:spChg>
        <pc:spChg chg="add mod">
          <ac:chgData name="Renata Festa" userId="6f22df47-533b-4c2a-a3c1-7f9ad1d63e10" providerId="ADAL" clId="{7D997690-04A4-4675-83D7-2E1CC2ED1A4E}" dt="2020-03-24T18:45:46.973" v="4927" actId="962"/>
          <ac:spMkLst>
            <pc:docMk/>
            <pc:sldMk cId="2841856026" sldId="592"/>
            <ac:spMk id="58" creationId="{45B5EB6F-C0D3-4C45-B353-629B0F982475}"/>
          </ac:spMkLst>
        </pc:spChg>
        <pc:spChg chg="add mod">
          <ac:chgData name="Renata Festa" userId="6f22df47-533b-4c2a-a3c1-7f9ad1d63e10" providerId="ADAL" clId="{7D997690-04A4-4675-83D7-2E1CC2ED1A4E}" dt="2020-03-24T18:45:46.973" v="4927" actId="962"/>
          <ac:spMkLst>
            <pc:docMk/>
            <pc:sldMk cId="2841856026" sldId="592"/>
            <ac:spMk id="59" creationId="{B78AD3C7-57E8-479C-AE47-A49F635534FC}"/>
          </ac:spMkLst>
        </pc:spChg>
        <pc:spChg chg="add mod">
          <ac:chgData name="Renata Festa" userId="6f22df47-533b-4c2a-a3c1-7f9ad1d63e10" providerId="ADAL" clId="{7D997690-04A4-4675-83D7-2E1CC2ED1A4E}" dt="2020-03-24T18:45:46.973" v="4927" actId="962"/>
          <ac:spMkLst>
            <pc:docMk/>
            <pc:sldMk cId="2841856026" sldId="592"/>
            <ac:spMk id="60" creationId="{2DA31131-68D0-4C48-AF08-D37B52FEFE21}"/>
          </ac:spMkLst>
        </pc:spChg>
        <pc:spChg chg="add mod">
          <ac:chgData name="Renata Festa" userId="6f22df47-533b-4c2a-a3c1-7f9ad1d63e10" providerId="ADAL" clId="{7D997690-04A4-4675-83D7-2E1CC2ED1A4E}" dt="2020-03-24T18:45:46.973" v="4927" actId="962"/>
          <ac:spMkLst>
            <pc:docMk/>
            <pc:sldMk cId="2841856026" sldId="592"/>
            <ac:spMk id="61" creationId="{C853264D-42AB-4475-8889-67A557E352B9}"/>
          </ac:spMkLst>
        </pc:spChg>
        <pc:spChg chg="add del">
          <ac:chgData name="Renata Festa" userId="6f22df47-533b-4c2a-a3c1-7f9ad1d63e10" providerId="ADAL" clId="{7D997690-04A4-4675-83D7-2E1CC2ED1A4E}" dt="2020-03-23T21:19:28.619" v="249"/>
          <ac:spMkLst>
            <pc:docMk/>
            <pc:sldMk cId="2841856026" sldId="592"/>
            <ac:spMk id="62" creationId="{63F34472-6CC1-466B-BAD7-D92F059EA533}"/>
          </ac:spMkLst>
        </pc:spChg>
      </pc:sldChg>
      <pc:sldChg chg="add del">
        <pc:chgData name="Renata Festa" userId="6f22df47-533b-4c2a-a3c1-7f9ad1d63e10" providerId="ADAL" clId="{7D997690-04A4-4675-83D7-2E1CC2ED1A4E}" dt="2020-03-20T18:51:09.016" v="4"/>
        <pc:sldMkLst>
          <pc:docMk/>
          <pc:sldMk cId="1440117627" sldId="593"/>
        </pc:sldMkLst>
      </pc:sldChg>
      <pc:sldChg chg="addSp delSp modSp add mod modAnim modShow">
        <pc:chgData name="Renata Festa" userId="6f22df47-533b-4c2a-a3c1-7f9ad1d63e10" providerId="ADAL" clId="{7D997690-04A4-4675-83D7-2E1CC2ED1A4E}" dt="2020-03-24T18:56:54.479" v="4935" actId="207"/>
        <pc:sldMkLst>
          <pc:docMk/>
          <pc:sldMk cId="1639023780" sldId="593"/>
        </pc:sldMkLst>
        <pc:spChg chg="mod">
          <ac:chgData name="Renata Festa" userId="6f22df47-533b-4c2a-a3c1-7f9ad1d63e10" providerId="ADAL" clId="{7D997690-04A4-4675-83D7-2E1CC2ED1A4E}" dt="2020-03-23T21:19:47.392" v="250"/>
          <ac:spMkLst>
            <pc:docMk/>
            <pc:sldMk cId="1639023780" sldId="593"/>
            <ac:spMk id="2" creationId="{EB67312A-9819-43C6-8D84-D9136E6CFFCC}"/>
          </ac:spMkLst>
        </pc:spChg>
        <pc:spChg chg="del">
          <ac:chgData name="Renata Festa" userId="6f22df47-533b-4c2a-a3c1-7f9ad1d63e10" providerId="ADAL" clId="{7D997690-04A4-4675-83D7-2E1CC2ED1A4E}" dt="2020-03-24T14:00:58.220" v="1637" actId="478"/>
          <ac:spMkLst>
            <pc:docMk/>
            <pc:sldMk cId="1639023780" sldId="593"/>
            <ac:spMk id="3" creationId="{F35E8CBB-5A7D-4DEF-BAF7-8DD5D042F9E0}"/>
          </ac:spMkLst>
        </pc:spChg>
        <pc:spChg chg="add del mod">
          <ac:chgData name="Renata Festa" userId="6f22df47-533b-4c2a-a3c1-7f9ad1d63e10" providerId="ADAL" clId="{7D997690-04A4-4675-83D7-2E1CC2ED1A4E}" dt="2020-03-23T21:21:14.858" v="263" actId="12084"/>
          <ac:spMkLst>
            <pc:docMk/>
            <pc:sldMk cId="1639023780" sldId="593"/>
            <ac:spMk id="4" creationId="{F3616A99-090F-45E1-9334-58D58B148205}"/>
          </ac:spMkLst>
        </pc:spChg>
        <pc:spChg chg="add del mod">
          <ac:chgData name="Renata Festa" userId="6f22df47-533b-4c2a-a3c1-7f9ad1d63e10" providerId="ADAL" clId="{7D997690-04A4-4675-83D7-2E1CC2ED1A4E}" dt="2020-03-23T21:21:05.558" v="262"/>
          <ac:spMkLst>
            <pc:docMk/>
            <pc:sldMk cId="1639023780" sldId="593"/>
            <ac:spMk id="5" creationId="{0404A1AE-1ECD-4FFC-86F1-AB1E4233284B}"/>
          </ac:spMkLst>
        </pc:spChg>
        <pc:spChg chg="add mod">
          <ac:chgData name="Renata Festa" userId="6f22df47-533b-4c2a-a3c1-7f9ad1d63e10" providerId="ADAL" clId="{7D997690-04A4-4675-83D7-2E1CC2ED1A4E}" dt="2020-03-23T21:25:48.267" v="365" actId="1076"/>
          <ac:spMkLst>
            <pc:docMk/>
            <pc:sldMk cId="1639023780" sldId="593"/>
            <ac:spMk id="55" creationId="{747606A0-2B23-4DF6-8A08-97560A351072}"/>
          </ac:spMkLst>
        </pc:spChg>
        <pc:spChg chg="mod">
          <ac:chgData name="Renata Festa" userId="6f22df47-533b-4c2a-a3c1-7f9ad1d63e10" providerId="ADAL" clId="{7D997690-04A4-4675-83D7-2E1CC2ED1A4E}" dt="2020-03-24T18:56:54.479" v="4935" actId="207"/>
          <ac:spMkLst>
            <pc:docMk/>
            <pc:sldMk cId="1639023780" sldId="593"/>
            <ac:spMk id="57" creationId="{FB73061C-5E4A-4965-95EE-6439FD6C9D73}"/>
          </ac:spMkLst>
        </pc:spChg>
        <pc:spChg chg="mod">
          <ac:chgData name="Renata Festa" userId="6f22df47-533b-4c2a-a3c1-7f9ad1d63e10" providerId="ADAL" clId="{7D997690-04A4-4675-83D7-2E1CC2ED1A4E}" dt="2020-03-24T18:56:54.479" v="4935" actId="207"/>
          <ac:spMkLst>
            <pc:docMk/>
            <pc:sldMk cId="1639023780" sldId="593"/>
            <ac:spMk id="58" creationId="{EC1541C1-3007-4CFC-A436-AD7154289FF6}"/>
          </ac:spMkLst>
        </pc:spChg>
        <pc:spChg chg="mod">
          <ac:chgData name="Renata Festa" userId="6f22df47-533b-4c2a-a3c1-7f9ad1d63e10" providerId="ADAL" clId="{7D997690-04A4-4675-83D7-2E1CC2ED1A4E}" dt="2020-03-24T18:56:54.479" v="4935" actId="207"/>
          <ac:spMkLst>
            <pc:docMk/>
            <pc:sldMk cId="1639023780" sldId="593"/>
            <ac:spMk id="59" creationId="{77CD6547-4B2E-400E-8244-9E267C5D60D5}"/>
          </ac:spMkLst>
        </pc:spChg>
        <pc:spChg chg="mod">
          <ac:chgData name="Renata Festa" userId="6f22df47-533b-4c2a-a3c1-7f9ad1d63e10" providerId="ADAL" clId="{7D997690-04A4-4675-83D7-2E1CC2ED1A4E}" dt="2020-03-24T18:56:54.479" v="4935" actId="207"/>
          <ac:spMkLst>
            <pc:docMk/>
            <pc:sldMk cId="1639023780" sldId="593"/>
            <ac:spMk id="60" creationId="{0812796B-F516-4713-89BD-7655B3F1DD9C}"/>
          </ac:spMkLst>
        </pc:spChg>
        <pc:spChg chg="mod">
          <ac:chgData name="Renata Festa" userId="6f22df47-533b-4c2a-a3c1-7f9ad1d63e10" providerId="ADAL" clId="{7D997690-04A4-4675-83D7-2E1CC2ED1A4E}" dt="2020-03-24T18:56:54.479" v="4935" actId="207"/>
          <ac:spMkLst>
            <pc:docMk/>
            <pc:sldMk cId="1639023780" sldId="593"/>
            <ac:spMk id="61" creationId="{DBDDD30F-767B-4AD7-BB1B-674F5AE05746}"/>
          </ac:spMkLst>
        </pc:spChg>
        <pc:spChg chg="mod">
          <ac:chgData name="Renata Festa" userId="6f22df47-533b-4c2a-a3c1-7f9ad1d63e10" providerId="ADAL" clId="{7D997690-04A4-4675-83D7-2E1CC2ED1A4E}" dt="2020-03-24T18:56:54.479" v="4935" actId="207"/>
          <ac:spMkLst>
            <pc:docMk/>
            <pc:sldMk cId="1639023780" sldId="593"/>
            <ac:spMk id="62" creationId="{3582FCDD-D067-4292-B045-EBCE44198B6B}"/>
          </ac:spMkLst>
        </pc:spChg>
        <pc:spChg chg="mod">
          <ac:chgData name="Renata Festa" userId="6f22df47-533b-4c2a-a3c1-7f9ad1d63e10" providerId="ADAL" clId="{7D997690-04A4-4675-83D7-2E1CC2ED1A4E}" dt="2020-03-23T21:24:26.050" v="341" actId="1076"/>
          <ac:spMkLst>
            <pc:docMk/>
            <pc:sldMk cId="1639023780" sldId="593"/>
            <ac:spMk id="66" creationId="{54A45738-1FC9-45E7-95B3-1BE2B327755E}"/>
          </ac:spMkLst>
        </pc:spChg>
        <pc:spChg chg="mod">
          <ac:chgData name="Renata Festa" userId="6f22df47-533b-4c2a-a3c1-7f9ad1d63e10" providerId="ADAL" clId="{7D997690-04A4-4675-83D7-2E1CC2ED1A4E}" dt="2020-03-23T21:24:46.395" v="346" actId="1036"/>
          <ac:spMkLst>
            <pc:docMk/>
            <pc:sldMk cId="1639023780" sldId="593"/>
            <ac:spMk id="67" creationId="{6380E3AE-3271-4960-BA0C-35CED4A56684}"/>
          </ac:spMkLst>
        </pc:spChg>
        <pc:spChg chg="mod">
          <ac:chgData name="Renata Festa" userId="6f22df47-533b-4c2a-a3c1-7f9ad1d63e10" providerId="ADAL" clId="{7D997690-04A4-4675-83D7-2E1CC2ED1A4E}" dt="2020-03-23T21:24:46.395" v="346" actId="1036"/>
          <ac:spMkLst>
            <pc:docMk/>
            <pc:sldMk cId="1639023780" sldId="593"/>
            <ac:spMk id="68" creationId="{C0E5090B-FC07-4497-90E7-C95BE2CF0A3B}"/>
          </ac:spMkLst>
        </pc:spChg>
        <pc:spChg chg="mod">
          <ac:chgData name="Renata Festa" userId="6f22df47-533b-4c2a-a3c1-7f9ad1d63e10" providerId="ADAL" clId="{7D997690-04A4-4675-83D7-2E1CC2ED1A4E}" dt="2020-03-23T21:24:46.395" v="346" actId="1036"/>
          <ac:spMkLst>
            <pc:docMk/>
            <pc:sldMk cId="1639023780" sldId="593"/>
            <ac:spMk id="69" creationId="{774F4AA7-F5B4-401B-835A-0098A4416DCE}"/>
          </ac:spMkLst>
        </pc:spChg>
        <pc:spChg chg="mod">
          <ac:chgData name="Renata Festa" userId="6f22df47-533b-4c2a-a3c1-7f9ad1d63e10" providerId="ADAL" clId="{7D997690-04A4-4675-83D7-2E1CC2ED1A4E}" dt="2020-03-23T21:24:46.395" v="346" actId="1036"/>
          <ac:spMkLst>
            <pc:docMk/>
            <pc:sldMk cId="1639023780" sldId="593"/>
            <ac:spMk id="70" creationId="{8CCC36B1-E63D-47D2-8B99-010B8EAC5205}"/>
          </ac:spMkLst>
        </pc:spChg>
        <pc:spChg chg="mod">
          <ac:chgData name="Renata Festa" userId="6f22df47-533b-4c2a-a3c1-7f9ad1d63e10" providerId="ADAL" clId="{7D997690-04A4-4675-83D7-2E1CC2ED1A4E}" dt="2020-03-23T21:24:46.395" v="346" actId="1036"/>
          <ac:spMkLst>
            <pc:docMk/>
            <pc:sldMk cId="1639023780" sldId="593"/>
            <ac:spMk id="71" creationId="{CE425B89-0384-4AA4-86F3-471C53CB8BCC}"/>
          </ac:spMkLst>
        </pc:spChg>
        <pc:spChg chg="mod">
          <ac:chgData name="Renata Festa" userId="6f22df47-533b-4c2a-a3c1-7f9ad1d63e10" providerId="ADAL" clId="{7D997690-04A4-4675-83D7-2E1CC2ED1A4E}" dt="2020-03-23T21:24:46.395" v="346" actId="1036"/>
          <ac:spMkLst>
            <pc:docMk/>
            <pc:sldMk cId="1639023780" sldId="593"/>
            <ac:spMk id="72" creationId="{2DF4E3B4-C903-4CD5-B851-4F441B5FDA35}"/>
          </ac:spMkLst>
        </pc:spChg>
        <pc:spChg chg="mod">
          <ac:chgData name="Renata Festa" userId="6f22df47-533b-4c2a-a3c1-7f9ad1d63e10" providerId="ADAL" clId="{7D997690-04A4-4675-83D7-2E1CC2ED1A4E}" dt="2020-03-23T21:24:46.395" v="346" actId="1036"/>
          <ac:spMkLst>
            <pc:docMk/>
            <pc:sldMk cId="1639023780" sldId="593"/>
            <ac:spMk id="73" creationId="{9E61FBB4-CE86-498C-98BF-D86BC1695842}"/>
          </ac:spMkLst>
        </pc:spChg>
        <pc:spChg chg="mod">
          <ac:chgData name="Renata Festa" userId="6f22df47-533b-4c2a-a3c1-7f9ad1d63e10" providerId="ADAL" clId="{7D997690-04A4-4675-83D7-2E1CC2ED1A4E}" dt="2020-03-23T21:24:46.395" v="346" actId="1036"/>
          <ac:spMkLst>
            <pc:docMk/>
            <pc:sldMk cId="1639023780" sldId="593"/>
            <ac:spMk id="74" creationId="{478D36D4-A584-49E3-8BED-7058088ECB10}"/>
          </ac:spMkLst>
        </pc:spChg>
        <pc:spChg chg="mod">
          <ac:chgData name="Renata Festa" userId="6f22df47-533b-4c2a-a3c1-7f9ad1d63e10" providerId="ADAL" clId="{7D997690-04A4-4675-83D7-2E1CC2ED1A4E}" dt="2020-03-23T21:24:46.395" v="346" actId="1036"/>
          <ac:spMkLst>
            <pc:docMk/>
            <pc:sldMk cId="1639023780" sldId="593"/>
            <ac:spMk id="75" creationId="{985EC4A8-800F-4197-9126-8F027CF557EC}"/>
          </ac:spMkLst>
        </pc:spChg>
        <pc:spChg chg="mod">
          <ac:chgData name="Renata Festa" userId="6f22df47-533b-4c2a-a3c1-7f9ad1d63e10" providerId="ADAL" clId="{7D997690-04A4-4675-83D7-2E1CC2ED1A4E}" dt="2020-03-23T21:24:46.395" v="346" actId="1036"/>
          <ac:spMkLst>
            <pc:docMk/>
            <pc:sldMk cId="1639023780" sldId="593"/>
            <ac:spMk id="76" creationId="{BE685DB3-CDEA-4098-BED1-31414DBC7D31}"/>
          </ac:spMkLst>
        </pc:spChg>
        <pc:spChg chg="mod">
          <ac:chgData name="Renata Festa" userId="6f22df47-533b-4c2a-a3c1-7f9ad1d63e10" providerId="ADAL" clId="{7D997690-04A4-4675-83D7-2E1CC2ED1A4E}" dt="2020-03-23T21:24:46.395" v="346" actId="1036"/>
          <ac:spMkLst>
            <pc:docMk/>
            <pc:sldMk cId="1639023780" sldId="593"/>
            <ac:spMk id="77" creationId="{B8CDA129-5084-45E5-8422-8D924480652A}"/>
          </ac:spMkLst>
        </pc:spChg>
        <pc:spChg chg="mod">
          <ac:chgData name="Renata Festa" userId="6f22df47-533b-4c2a-a3c1-7f9ad1d63e10" providerId="ADAL" clId="{7D997690-04A4-4675-83D7-2E1CC2ED1A4E}" dt="2020-03-23T21:24:46.395" v="346" actId="1036"/>
          <ac:spMkLst>
            <pc:docMk/>
            <pc:sldMk cId="1639023780" sldId="593"/>
            <ac:spMk id="78" creationId="{E7E90F08-9C71-4D0E-A06E-776988C70A15}"/>
          </ac:spMkLst>
        </pc:spChg>
        <pc:spChg chg="mod">
          <ac:chgData name="Renata Festa" userId="6f22df47-533b-4c2a-a3c1-7f9ad1d63e10" providerId="ADAL" clId="{7D997690-04A4-4675-83D7-2E1CC2ED1A4E}" dt="2020-03-23T21:24:54.487" v="348" actId="1035"/>
          <ac:spMkLst>
            <pc:docMk/>
            <pc:sldMk cId="1639023780" sldId="593"/>
            <ac:spMk id="79" creationId="{4EF80F7B-DD48-4106-B228-E49EFE42CB44}"/>
          </ac:spMkLst>
        </pc:spChg>
        <pc:spChg chg="mod">
          <ac:chgData name="Renata Festa" userId="6f22df47-533b-4c2a-a3c1-7f9ad1d63e10" providerId="ADAL" clId="{7D997690-04A4-4675-83D7-2E1CC2ED1A4E}" dt="2020-03-23T21:25:04.212" v="350" actId="1035"/>
          <ac:spMkLst>
            <pc:docMk/>
            <pc:sldMk cId="1639023780" sldId="593"/>
            <ac:spMk id="80" creationId="{0213A3DD-B75A-4C93-AEAC-6C242636224E}"/>
          </ac:spMkLst>
        </pc:spChg>
        <pc:spChg chg="mod">
          <ac:chgData name="Renata Festa" userId="6f22df47-533b-4c2a-a3c1-7f9ad1d63e10" providerId="ADAL" clId="{7D997690-04A4-4675-83D7-2E1CC2ED1A4E}" dt="2020-03-23T21:24:54.487" v="348" actId="1035"/>
          <ac:spMkLst>
            <pc:docMk/>
            <pc:sldMk cId="1639023780" sldId="593"/>
            <ac:spMk id="81" creationId="{79B9BAA6-E34B-438A-B2AF-7F50D1F99A46}"/>
          </ac:spMkLst>
        </pc:spChg>
        <pc:spChg chg="mod">
          <ac:chgData name="Renata Festa" userId="6f22df47-533b-4c2a-a3c1-7f9ad1d63e10" providerId="ADAL" clId="{7D997690-04A4-4675-83D7-2E1CC2ED1A4E}" dt="2020-03-23T21:22:15.442" v="306" actId="1076"/>
          <ac:spMkLst>
            <pc:docMk/>
            <pc:sldMk cId="1639023780" sldId="593"/>
            <ac:spMk id="83" creationId="{91BD5AD7-5586-4927-B65D-D758E2754C78}"/>
          </ac:spMkLst>
        </pc:spChg>
        <pc:spChg chg="mod">
          <ac:chgData name="Renata Festa" userId="6f22df47-533b-4c2a-a3c1-7f9ad1d63e10" providerId="ADAL" clId="{7D997690-04A4-4675-83D7-2E1CC2ED1A4E}" dt="2020-03-23T21:25:23.913" v="356" actId="14100"/>
          <ac:spMkLst>
            <pc:docMk/>
            <pc:sldMk cId="1639023780" sldId="593"/>
            <ac:spMk id="85" creationId="{5696D4C2-904B-4D7D-AAC8-FBA2416D5DC4}"/>
          </ac:spMkLst>
        </pc:spChg>
        <pc:grpChg chg="add del mod">
          <ac:chgData name="Renata Festa" userId="6f22df47-533b-4c2a-a3c1-7f9ad1d63e10" providerId="ADAL" clId="{7D997690-04A4-4675-83D7-2E1CC2ED1A4E}" dt="2020-03-23T21:21:05.558" v="262"/>
          <ac:grpSpMkLst>
            <pc:docMk/>
            <pc:sldMk cId="1639023780" sldId="593"/>
            <ac:grpSpMk id="6" creationId="{26DD26C3-2DEE-40D9-8784-2734A1A8B22C}"/>
          </ac:grpSpMkLst>
        </pc:grpChg>
        <pc:grpChg chg="add del mod">
          <ac:chgData name="Renata Festa" userId="6f22df47-533b-4c2a-a3c1-7f9ad1d63e10" providerId="ADAL" clId="{7D997690-04A4-4675-83D7-2E1CC2ED1A4E}" dt="2020-03-23T21:21:05.558" v="262"/>
          <ac:grpSpMkLst>
            <pc:docMk/>
            <pc:sldMk cId="1639023780" sldId="593"/>
            <ac:grpSpMk id="14" creationId="{9ED894DC-DC07-4F50-A7AA-3D05DE783581}"/>
          </ac:grpSpMkLst>
        </pc:grpChg>
        <pc:grpChg chg="add del mod">
          <ac:chgData name="Renata Festa" userId="6f22df47-533b-4c2a-a3c1-7f9ad1d63e10" providerId="ADAL" clId="{7D997690-04A4-4675-83D7-2E1CC2ED1A4E}" dt="2020-03-23T21:21:05.558" v="262"/>
          <ac:grpSpMkLst>
            <pc:docMk/>
            <pc:sldMk cId="1639023780" sldId="593"/>
            <ac:grpSpMk id="34" creationId="{83B345EC-24FD-4159-B49B-6D76F5CEF289}"/>
          </ac:grpSpMkLst>
        </pc:grpChg>
        <pc:grpChg chg="add mod">
          <ac:chgData name="Renata Festa" userId="6f22df47-533b-4c2a-a3c1-7f9ad1d63e10" providerId="ADAL" clId="{7D997690-04A4-4675-83D7-2E1CC2ED1A4E}" dt="2020-03-24T18:56:34.204" v="4934" actId="207"/>
          <ac:grpSpMkLst>
            <pc:docMk/>
            <pc:sldMk cId="1639023780" sldId="593"/>
            <ac:grpSpMk id="56" creationId="{BA407A25-461E-4AE4-96A4-99943EFFFCD9}"/>
          </ac:grpSpMkLst>
        </pc:grpChg>
        <pc:grpChg chg="add mod">
          <ac:chgData name="Renata Festa" userId="6f22df47-533b-4c2a-a3c1-7f9ad1d63e10" providerId="ADAL" clId="{7D997690-04A4-4675-83D7-2E1CC2ED1A4E}" dt="2020-03-23T21:25:12.680" v="351" actId="14100"/>
          <ac:grpSpMkLst>
            <pc:docMk/>
            <pc:sldMk cId="1639023780" sldId="593"/>
            <ac:grpSpMk id="64" creationId="{B60E1C67-7087-4C61-8B0D-8E06B4F2DE2C}"/>
          </ac:grpSpMkLst>
        </pc:grpChg>
        <pc:grpChg chg="add mod">
          <ac:chgData name="Renata Festa" userId="6f22df47-533b-4c2a-a3c1-7f9ad1d63e10" providerId="ADAL" clId="{7D997690-04A4-4675-83D7-2E1CC2ED1A4E}" dt="2020-03-23T21:25:41.931" v="362" actId="14100"/>
          <ac:grpSpMkLst>
            <pc:docMk/>
            <pc:sldMk cId="1639023780" sldId="593"/>
            <ac:grpSpMk id="84" creationId="{30FD832B-D7B2-4AD5-8E64-548D421FDC97}"/>
          </ac:grpSpMkLst>
        </pc:grpChg>
        <pc:graphicFrameChg chg="add del mod">
          <ac:chgData name="Renata Festa" userId="6f22df47-533b-4c2a-a3c1-7f9ad1d63e10" providerId="ADAL" clId="{7D997690-04A4-4675-83D7-2E1CC2ED1A4E}" dt="2020-03-23T21:21:04.523" v="260" actId="12084"/>
          <ac:graphicFrameMkLst>
            <pc:docMk/>
            <pc:sldMk cId="1639023780" sldId="593"/>
            <ac:graphicFrameMk id="53" creationId="{1515635D-45D5-4B87-A526-5FE676ABD351}"/>
          </ac:graphicFrameMkLst>
        </pc:graphicFrameChg>
        <pc:graphicFrameChg chg="add mod">
          <ac:chgData name="Renata Festa" userId="6f22df47-533b-4c2a-a3c1-7f9ad1d63e10" providerId="ADAL" clId="{7D997690-04A4-4675-83D7-2E1CC2ED1A4E}" dt="2020-03-24T18:46:01.135" v="4931" actId="962"/>
          <ac:graphicFrameMkLst>
            <pc:docMk/>
            <pc:sldMk cId="1639023780" sldId="593"/>
            <ac:graphicFrameMk id="54" creationId="{C48F65C3-D79D-423B-9670-51D674871622}"/>
          </ac:graphicFrameMkLst>
        </pc:graphicFrameChg>
      </pc:sldChg>
      <pc:sldChg chg="add del">
        <pc:chgData name="Renata Festa" userId="6f22df47-533b-4c2a-a3c1-7f9ad1d63e10" providerId="ADAL" clId="{7D997690-04A4-4675-83D7-2E1CC2ED1A4E}" dt="2020-03-20T18:51:09.016" v="4"/>
        <pc:sldMkLst>
          <pc:docMk/>
          <pc:sldMk cId="3374517310" sldId="594"/>
        </pc:sldMkLst>
      </pc:sldChg>
      <pc:sldChg chg="addSp delSp modSp add mod modAnim modShow">
        <pc:chgData name="Renata Festa" userId="6f22df47-533b-4c2a-a3c1-7f9ad1d63e10" providerId="ADAL" clId="{7D997690-04A4-4675-83D7-2E1CC2ED1A4E}" dt="2020-03-24T14:00:56.355" v="1636" actId="478"/>
        <pc:sldMkLst>
          <pc:docMk/>
          <pc:sldMk cId="3481897816" sldId="594"/>
        </pc:sldMkLst>
        <pc:spChg chg="mod">
          <ac:chgData name="Renata Festa" userId="6f22df47-533b-4c2a-a3c1-7f9ad1d63e10" providerId="ADAL" clId="{7D997690-04A4-4675-83D7-2E1CC2ED1A4E}" dt="2020-03-23T21:29:56.251" v="378"/>
          <ac:spMkLst>
            <pc:docMk/>
            <pc:sldMk cId="3481897816" sldId="594"/>
            <ac:spMk id="2" creationId="{EB67312A-9819-43C6-8D84-D9136E6CFFCC}"/>
          </ac:spMkLst>
        </pc:spChg>
        <pc:spChg chg="del">
          <ac:chgData name="Renata Festa" userId="6f22df47-533b-4c2a-a3c1-7f9ad1d63e10" providerId="ADAL" clId="{7D997690-04A4-4675-83D7-2E1CC2ED1A4E}" dt="2020-03-24T14:00:54.984" v="1635" actId="478"/>
          <ac:spMkLst>
            <pc:docMk/>
            <pc:sldMk cId="3481897816" sldId="594"/>
            <ac:spMk id="3" creationId="{F35E8CBB-5A7D-4DEF-BAF7-8DD5D042F9E0}"/>
          </ac:spMkLst>
        </pc:spChg>
        <pc:spChg chg="del">
          <ac:chgData name="Renata Festa" userId="6f22df47-533b-4c2a-a3c1-7f9ad1d63e10" providerId="ADAL" clId="{7D997690-04A4-4675-83D7-2E1CC2ED1A4E}" dt="2020-03-24T14:00:56.355" v="1636" actId="478"/>
          <ac:spMkLst>
            <pc:docMk/>
            <pc:sldMk cId="3481897816" sldId="594"/>
            <ac:spMk id="4" creationId="{F3616A99-090F-45E1-9334-58D58B148205}"/>
          </ac:spMkLst>
        </pc:spChg>
        <pc:spChg chg="add mod">
          <ac:chgData name="Renata Festa" userId="6f22df47-533b-4c2a-a3c1-7f9ad1d63e10" providerId="ADAL" clId="{7D997690-04A4-4675-83D7-2E1CC2ED1A4E}" dt="2020-03-23T21:32:48.514" v="412" actId="1076"/>
          <ac:spMkLst>
            <pc:docMk/>
            <pc:sldMk cId="3481897816" sldId="594"/>
            <ac:spMk id="6" creationId="{1AF5E657-AC2B-44CD-925E-A6EA7E5968B8}"/>
          </ac:spMkLst>
        </pc:spChg>
        <pc:spChg chg="add mod">
          <ac:chgData name="Renata Festa" userId="6f22df47-533b-4c2a-a3c1-7f9ad1d63e10" providerId="ADAL" clId="{7D997690-04A4-4675-83D7-2E1CC2ED1A4E}" dt="2020-03-23T21:33:16.266" v="421" actId="404"/>
          <ac:spMkLst>
            <pc:docMk/>
            <pc:sldMk cId="3481897816" sldId="594"/>
            <ac:spMk id="8" creationId="{689F82BB-E84A-4F5E-AF24-A6CE684E9074}"/>
          </ac:spMkLst>
        </pc:spChg>
        <pc:spChg chg="add mod">
          <ac:chgData name="Renata Festa" userId="6f22df47-533b-4c2a-a3c1-7f9ad1d63e10" providerId="ADAL" clId="{7D997690-04A4-4675-83D7-2E1CC2ED1A4E}" dt="2020-03-23T21:34:05.118" v="438" actId="1076"/>
          <ac:spMkLst>
            <pc:docMk/>
            <pc:sldMk cId="3481897816" sldId="594"/>
            <ac:spMk id="9" creationId="{9AFC518E-60CF-4D8E-91FE-258594A3C542}"/>
          </ac:spMkLst>
        </pc:spChg>
        <pc:spChg chg="add mod">
          <ac:chgData name="Renata Festa" userId="6f22df47-533b-4c2a-a3c1-7f9ad1d63e10" providerId="ADAL" clId="{7D997690-04A4-4675-83D7-2E1CC2ED1A4E}" dt="2020-03-23T21:34:02.503" v="437" actId="1076"/>
          <ac:spMkLst>
            <pc:docMk/>
            <pc:sldMk cId="3481897816" sldId="594"/>
            <ac:spMk id="10" creationId="{4DD1CE5F-C01C-47CC-A671-F6FA4B520FF3}"/>
          </ac:spMkLst>
        </pc:spChg>
        <pc:spChg chg="add mod">
          <ac:chgData name="Renata Festa" userId="6f22df47-533b-4c2a-a3c1-7f9ad1d63e10" providerId="ADAL" clId="{7D997690-04A4-4675-83D7-2E1CC2ED1A4E}" dt="2020-03-23T21:33:22.875" v="422" actId="1076"/>
          <ac:spMkLst>
            <pc:docMk/>
            <pc:sldMk cId="3481897816" sldId="594"/>
            <ac:spMk id="11" creationId="{4EFAE9D4-BF83-482E-855C-EE19328D38CB}"/>
          </ac:spMkLst>
        </pc:spChg>
        <pc:grpChg chg="add mod">
          <ac:chgData name="Renata Festa" userId="6f22df47-533b-4c2a-a3c1-7f9ad1d63e10" providerId="ADAL" clId="{7D997690-04A4-4675-83D7-2E1CC2ED1A4E}" dt="2020-03-23T21:31:42.972" v="393" actId="1076"/>
          <ac:grpSpMkLst>
            <pc:docMk/>
            <pc:sldMk cId="3481897816" sldId="594"/>
            <ac:grpSpMk id="14" creationId="{D9A8CAC2-97CF-4FD7-86BF-0C6BA8E69399}"/>
          </ac:grpSpMkLst>
        </pc:grpChg>
        <pc:grpChg chg="add mod">
          <ac:chgData name="Renata Festa" userId="6f22df47-533b-4c2a-a3c1-7f9ad1d63e10" providerId="ADAL" clId="{7D997690-04A4-4675-83D7-2E1CC2ED1A4E}" dt="2020-03-23T21:32:18.393" v="402" actId="1076"/>
          <ac:grpSpMkLst>
            <pc:docMk/>
            <pc:sldMk cId="3481897816" sldId="594"/>
            <ac:grpSpMk id="28" creationId="{7B45D292-41DF-4578-AF9C-69679CFFBBA2}"/>
          </ac:grpSpMkLst>
        </pc:grpChg>
        <pc:graphicFrameChg chg="add mod">
          <ac:chgData name="Renata Festa" userId="6f22df47-533b-4c2a-a3c1-7f9ad1d63e10" providerId="ADAL" clId="{7D997690-04A4-4675-83D7-2E1CC2ED1A4E}" dt="2020-03-23T21:35:10.888" v="454"/>
          <ac:graphicFrameMkLst>
            <pc:docMk/>
            <pc:sldMk cId="3481897816" sldId="594"/>
            <ac:graphicFrameMk id="5" creationId="{61082510-4C94-44B7-B8E2-D51744F02EFD}"/>
          </ac:graphicFrameMkLst>
        </pc:graphicFrameChg>
        <pc:picChg chg="add mod">
          <ac:chgData name="Renata Festa" userId="6f22df47-533b-4c2a-a3c1-7f9ad1d63e10" providerId="ADAL" clId="{7D997690-04A4-4675-83D7-2E1CC2ED1A4E}" dt="2020-03-23T21:33:29.060" v="424" actId="1076"/>
          <ac:picMkLst>
            <pc:docMk/>
            <pc:sldMk cId="3481897816" sldId="594"/>
            <ac:picMk id="7" creationId="{6C208237-F9E0-49B0-A71E-D97A528B3685}"/>
          </ac:picMkLst>
        </pc:picChg>
        <pc:picChg chg="add mod">
          <ac:chgData name="Renata Festa" userId="6f22df47-533b-4c2a-a3c1-7f9ad1d63e10" providerId="ADAL" clId="{7D997690-04A4-4675-83D7-2E1CC2ED1A4E}" dt="2020-03-23T21:32:31.532" v="404" actId="1076"/>
          <ac:picMkLst>
            <pc:docMk/>
            <pc:sldMk cId="3481897816" sldId="594"/>
            <ac:picMk id="12" creationId="{B04396BD-06B6-4C00-ADCF-3FC6F0F91AC0}"/>
          </ac:picMkLst>
        </pc:picChg>
        <pc:picChg chg="add mod">
          <ac:chgData name="Renata Festa" userId="6f22df47-533b-4c2a-a3c1-7f9ad1d63e10" providerId="ADAL" clId="{7D997690-04A4-4675-83D7-2E1CC2ED1A4E}" dt="2020-03-23T21:32:53.980" v="414" actId="1076"/>
          <ac:picMkLst>
            <pc:docMk/>
            <pc:sldMk cId="3481897816" sldId="594"/>
            <ac:picMk id="13" creationId="{AD7129D1-CE45-4CF1-8164-ED9E49AD1C55}"/>
          </ac:picMkLst>
        </pc:picChg>
      </pc:sldChg>
      <pc:sldChg chg="addSp delSp modSp add mod modAnim modShow modNotesTx">
        <pc:chgData name="Renata Festa" userId="6f22df47-533b-4c2a-a3c1-7f9ad1d63e10" providerId="ADAL" clId="{7D997690-04A4-4675-83D7-2E1CC2ED1A4E}" dt="2020-03-24T14:00:52.595" v="1634" actId="478"/>
        <pc:sldMkLst>
          <pc:docMk/>
          <pc:sldMk cId="3820441088" sldId="595"/>
        </pc:sldMkLst>
        <pc:spChg chg="mod">
          <ac:chgData name="Renata Festa" userId="6f22df47-533b-4c2a-a3c1-7f9ad1d63e10" providerId="ADAL" clId="{7D997690-04A4-4675-83D7-2E1CC2ED1A4E}" dt="2020-03-23T21:36:12" v="455"/>
          <ac:spMkLst>
            <pc:docMk/>
            <pc:sldMk cId="3820441088" sldId="595"/>
            <ac:spMk id="2" creationId="{EB67312A-9819-43C6-8D84-D9136E6CFFCC}"/>
          </ac:spMkLst>
        </pc:spChg>
        <pc:spChg chg="del">
          <ac:chgData name="Renata Festa" userId="6f22df47-533b-4c2a-a3c1-7f9ad1d63e10" providerId="ADAL" clId="{7D997690-04A4-4675-83D7-2E1CC2ED1A4E}" dt="2020-03-24T14:00:51.375" v="1633" actId="478"/>
          <ac:spMkLst>
            <pc:docMk/>
            <pc:sldMk cId="3820441088" sldId="595"/>
            <ac:spMk id="3" creationId="{F35E8CBB-5A7D-4DEF-BAF7-8DD5D042F9E0}"/>
          </ac:spMkLst>
        </pc:spChg>
        <pc:spChg chg="del">
          <ac:chgData name="Renata Festa" userId="6f22df47-533b-4c2a-a3c1-7f9ad1d63e10" providerId="ADAL" clId="{7D997690-04A4-4675-83D7-2E1CC2ED1A4E}" dt="2020-03-24T14:00:52.595" v="1634" actId="478"/>
          <ac:spMkLst>
            <pc:docMk/>
            <pc:sldMk cId="3820441088" sldId="595"/>
            <ac:spMk id="4" creationId="{F3616A99-090F-45E1-9334-58D58B148205}"/>
          </ac:spMkLst>
        </pc:spChg>
        <pc:spChg chg="add mod">
          <ac:chgData name="Renata Festa" userId="6f22df47-533b-4c2a-a3c1-7f9ad1d63e10" providerId="ADAL" clId="{7D997690-04A4-4675-83D7-2E1CC2ED1A4E}" dt="2020-03-23T23:40:16.031" v="484" actId="1076"/>
          <ac:spMkLst>
            <pc:docMk/>
            <pc:sldMk cId="3820441088" sldId="595"/>
            <ac:spMk id="5" creationId="{D281A222-A219-4BD9-A1C7-07F7ACF3BD86}"/>
          </ac:spMkLst>
        </pc:spChg>
        <pc:spChg chg="add mod">
          <ac:chgData name="Renata Festa" userId="6f22df47-533b-4c2a-a3c1-7f9ad1d63e10" providerId="ADAL" clId="{7D997690-04A4-4675-83D7-2E1CC2ED1A4E}" dt="2020-03-23T23:40:21.592" v="485" actId="1076"/>
          <ac:spMkLst>
            <pc:docMk/>
            <pc:sldMk cId="3820441088" sldId="595"/>
            <ac:spMk id="6" creationId="{4E505483-D087-444F-95D9-151531561476}"/>
          </ac:spMkLst>
        </pc:spChg>
        <pc:spChg chg="add mod">
          <ac:chgData name="Renata Festa" userId="6f22df47-533b-4c2a-a3c1-7f9ad1d63e10" providerId="ADAL" clId="{7D997690-04A4-4675-83D7-2E1CC2ED1A4E}" dt="2020-03-23T23:40:10.272" v="483" actId="1076"/>
          <ac:spMkLst>
            <pc:docMk/>
            <pc:sldMk cId="3820441088" sldId="595"/>
            <ac:spMk id="8" creationId="{9C1ACFE3-A04B-427C-A705-F797DB8305D7}"/>
          </ac:spMkLst>
        </pc:spChg>
        <pc:spChg chg="add mod">
          <ac:chgData name="Renata Festa" userId="6f22df47-533b-4c2a-a3c1-7f9ad1d63e10" providerId="ADAL" clId="{7D997690-04A4-4675-83D7-2E1CC2ED1A4E}" dt="2020-03-23T23:40:36.915" v="486" actId="1076"/>
          <ac:spMkLst>
            <pc:docMk/>
            <pc:sldMk cId="3820441088" sldId="595"/>
            <ac:spMk id="9" creationId="{86E903C0-A06B-4C17-8104-2F3CB137CA93}"/>
          </ac:spMkLst>
        </pc:spChg>
        <pc:spChg chg="add del mod">
          <ac:chgData name="Renata Festa" userId="6f22df47-533b-4c2a-a3c1-7f9ad1d63e10" providerId="ADAL" clId="{7D997690-04A4-4675-83D7-2E1CC2ED1A4E}" dt="2020-03-23T23:41:43.416" v="506" actId="478"/>
          <ac:spMkLst>
            <pc:docMk/>
            <pc:sldMk cId="3820441088" sldId="595"/>
            <ac:spMk id="10" creationId="{E57E3F18-92F2-4D99-8034-F2F774C42C64}"/>
          </ac:spMkLst>
        </pc:spChg>
        <pc:spChg chg="mod">
          <ac:chgData name="Renata Festa" userId="6f22df47-533b-4c2a-a3c1-7f9ad1d63e10" providerId="ADAL" clId="{7D997690-04A4-4675-83D7-2E1CC2ED1A4E}" dt="2020-03-23T23:39:29.576" v="476" actId="1076"/>
          <ac:spMkLst>
            <pc:docMk/>
            <pc:sldMk cId="3820441088" sldId="595"/>
            <ac:spMk id="28" creationId="{6DA82C20-8928-4A92-8991-2BD3530C0EDF}"/>
          </ac:spMkLst>
        </pc:spChg>
        <pc:spChg chg="mod">
          <ac:chgData name="Renata Festa" userId="6f22df47-533b-4c2a-a3c1-7f9ad1d63e10" providerId="ADAL" clId="{7D997690-04A4-4675-83D7-2E1CC2ED1A4E}" dt="2020-03-23T23:39:19.086" v="474" actId="1076"/>
          <ac:spMkLst>
            <pc:docMk/>
            <pc:sldMk cId="3820441088" sldId="595"/>
            <ac:spMk id="30" creationId="{091B2941-F117-4259-AA0D-D8CE2E930DC4}"/>
          </ac:spMkLst>
        </pc:spChg>
        <pc:spChg chg="mod">
          <ac:chgData name="Renata Festa" userId="6f22df47-533b-4c2a-a3c1-7f9ad1d63e10" providerId="ADAL" clId="{7D997690-04A4-4675-83D7-2E1CC2ED1A4E}" dt="2020-03-23T23:39:21.662" v="475" actId="1076"/>
          <ac:spMkLst>
            <pc:docMk/>
            <pc:sldMk cId="3820441088" sldId="595"/>
            <ac:spMk id="31" creationId="{869AE1E2-B68E-4F14-8F77-6640998DED71}"/>
          </ac:spMkLst>
        </pc:spChg>
        <pc:spChg chg="add mod">
          <ac:chgData name="Renata Festa" userId="6f22df47-533b-4c2a-a3c1-7f9ad1d63e10" providerId="ADAL" clId="{7D997690-04A4-4675-83D7-2E1CC2ED1A4E}" dt="2020-03-23T23:44:21.770" v="521" actId="1076"/>
          <ac:spMkLst>
            <pc:docMk/>
            <pc:sldMk cId="3820441088" sldId="595"/>
            <ac:spMk id="37" creationId="{B1882808-089E-4973-8E94-4F116B0A1650}"/>
          </ac:spMkLst>
        </pc:spChg>
        <pc:grpChg chg="add mod">
          <ac:chgData name="Renata Festa" userId="6f22df47-533b-4c2a-a3c1-7f9ad1d63e10" providerId="ADAL" clId="{7D997690-04A4-4675-83D7-2E1CC2ED1A4E}" dt="2020-03-23T23:42:26.809" v="510" actId="14100"/>
          <ac:grpSpMkLst>
            <pc:docMk/>
            <pc:sldMk cId="3820441088" sldId="595"/>
            <ac:grpSpMk id="11" creationId="{78D8672E-D3AB-407A-97F8-6DDDC2A569DE}"/>
          </ac:grpSpMkLst>
        </pc:grpChg>
        <pc:grpChg chg="add mod">
          <ac:chgData name="Renata Festa" userId="6f22df47-533b-4c2a-a3c1-7f9ad1d63e10" providerId="ADAL" clId="{7D997690-04A4-4675-83D7-2E1CC2ED1A4E}" dt="2020-03-23T23:42:22.010" v="509" actId="14100"/>
          <ac:grpSpMkLst>
            <pc:docMk/>
            <pc:sldMk cId="3820441088" sldId="595"/>
            <ac:grpSpMk id="14" creationId="{B9C7685D-45A8-496C-875C-5D940351E2B3}"/>
          </ac:grpSpMkLst>
        </pc:grpChg>
        <pc:grpChg chg="add mod">
          <ac:chgData name="Renata Festa" userId="6f22df47-533b-4c2a-a3c1-7f9ad1d63e10" providerId="ADAL" clId="{7D997690-04A4-4675-83D7-2E1CC2ED1A4E}" dt="2020-03-23T23:42:47.111" v="513" actId="14100"/>
          <ac:grpSpMkLst>
            <pc:docMk/>
            <pc:sldMk cId="3820441088" sldId="595"/>
            <ac:grpSpMk id="17" creationId="{6B98D94D-D20E-44C2-9609-466FDF9A4284}"/>
          </ac:grpSpMkLst>
        </pc:grpChg>
        <pc:grpChg chg="add mod">
          <ac:chgData name="Renata Festa" userId="6f22df47-533b-4c2a-a3c1-7f9ad1d63e10" providerId="ADAL" clId="{7D997690-04A4-4675-83D7-2E1CC2ED1A4E}" dt="2020-03-23T23:42:51.255" v="514" actId="14100"/>
          <ac:grpSpMkLst>
            <pc:docMk/>
            <pc:sldMk cId="3820441088" sldId="595"/>
            <ac:grpSpMk id="20" creationId="{032687F2-FC57-4D3A-A114-91EE0EA10E76}"/>
          </ac:grpSpMkLst>
        </pc:grpChg>
        <pc:grpChg chg="add mod">
          <ac:chgData name="Renata Festa" userId="6f22df47-533b-4c2a-a3c1-7f9ad1d63e10" providerId="ADAL" clId="{7D997690-04A4-4675-83D7-2E1CC2ED1A4E}" dt="2020-03-23T23:39:50.746" v="477" actId="1076"/>
          <ac:grpSpMkLst>
            <pc:docMk/>
            <pc:sldMk cId="3820441088" sldId="595"/>
            <ac:grpSpMk id="27" creationId="{B0F49286-4A10-4544-A327-ED26D1749B80}"/>
          </ac:grpSpMkLst>
        </pc:grpChg>
        <pc:grpChg chg="add mod">
          <ac:chgData name="Renata Festa" userId="6f22df47-533b-4c2a-a3c1-7f9ad1d63e10" providerId="ADAL" clId="{7D997690-04A4-4675-83D7-2E1CC2ED1A4E}" dt="2020-03-23T23:39:02.418" v="472" actId="1076"/>
          <ac:grpSpMkLst>
            <pc:docMk/>
            <pc:sldMk cId="3820441088" sldId="595"/>
            <ac:grpSpMk id="32" creationId="{E88A719D-3879-48F5-8A21-0D496DB33B56}"/>
          </ac:grpSpMkLst>
        </pc:grpChg>
        <pc:picChg chg="add mod">
          <ac:chgData name="Renata Festa" userId="6f22df47-533b-4c2a-a3c1-7f9ad1d63e10" providerId="ADAL" clId="{7D997690-04A4-4675-83D7-2E1CC2ED1A4E}" dt="2020-03-23T23:43:43.548" v="518" actId="1076"/>
          <ac:picMkLst>
            <pc:docMk/>
            <pc:sldMk cId="3820441088" sldId="595"/>
            <ac:picMk id="23" creationId="{DA7824CC-B5F4-4F19-A3D0-59D38BD3E73B}"/>
          </ac:picMkLst>
        </pc:picChg>
        <pc:picChg chg="add mod">
          <ac:chgData name="Renata Festa" userId="6f22df47-533b-4c2a-a3c1-7f9ad1d63e10" providerId="ADAL" clId="{7D997690-04A4-4675-83D7-2E1CC2ED1A4E}" dt="2020-03-23T23:43:20.834" v="517" actId="1076"/>
          <ac:picMkLst>
            <pc:docMk/>
            <pc:sldMk cId="3820441088" sldId="595"/>
            <ac:picMk id="24" creationId="{53651678-1A64-4A2F-BA26-45C229A39182}"/>
          </ac:picMkLst>
        </pc:picChg>
        <pc:picChg chg="add mod">
          <ac:chgData name="Renata Festa" userId="6f22df47-533b-4c2a-a3c1-7f9ad1d63e10" providerId="ADAL" clId="{7D997690-04A4-4675-83D7-2E1CC2ED1A4E}" dt="2020-03-23T23:43:14.202" v="515" actId="1076"/>
          <ac:picMkLst>
            <pc:docMk/>
            <pc:sldMk cId="3820441088" sldId="595"/>
            <ac:picMk id="25" creationId="{8EE2D6CF-7A4B-401E-ACDD-7B39133C7E72}"/>
          </ac:picMkLst>
        </pc:picChg>
        <pc:picChg chg="add mod">
          <ac:chgData name="Renata Festa" userId="6f22df47-533b-4c2a-a3c1-7f9ad1d63e10" providerId="ADAL" clId="{7D997690-04A4-4675-83D7-2E1CC2ED1A4E}" dt="2020-03-23T23:43:16.684" v="516" actId="1076"/>
          <ac:picMkLst>
            <pc:docMk/>
            <pc:sldMk cId="3820441088" sldId="595"/>
            <ac:picMk id="26" creationId="{996A1D72-E627-4513-BAB0-A60CF0DC58FF}"/>
          </ac:picMkLst>
        </pc:picChg>
        <pc:cxnChg chg="add del">
          <ac:chgData name="Renata Festa" userId="6f22df47-533b-4c2a-a3c1-7f9ad1d63e10" providerId="ADAL" clId="{7D997690-04A4-4675-83D7-2E1CC2ED1A4E}" dt="2020-03-23T21:36:43.082" v="464" actId="478"/>
          <ac:cxnSpMkLst>
            <pc:docMk/>
            <pc:sldMk cId="3820441088" sldId="595"/>
            <ac:cxnSpMk id="7" creationId="{A66DBDC6-C0CD-4F24-8F79-8745CF5848FA}"/>
          </ac:cxnSpMkLst>
        </pc:cxnChg>
      </pc:sldChg>
      <pc:sldChg chg="addSp delSp modSp add del mod">
        <pc:chgData name="Renata Festa" userId="6f22df47-533b-4c2a-a3c1-7f9ad1d63e10" providerId="ADAL" clId="{7D997690-04A4-4675-83D7-2E1CC2ED1A4E}" dt="2020-03-23T23:48:40.742" v="564" actId="47"/>
        <pc:sldMkLst>
          <pc:docMk/>
          <pc:sldMk cId="1256881275" sldId="596"/>
        </pc:sldMkLst>
        <pc:spChg chg="mod">
          <ac:chgData name="Renata Festa" userId="6f22df47-533b-4c2a-a3c1-7f9ad1d63e10" providerId="ADAL" clId="{7D997690-04A4-4675-83D7-2E1CC2ED1A4E}" dt="2020-03-23T23:44:56.892" v="527"/>
          <ac:spMkLst>
            <pc:docMk/>
            <pc:sldMk cId="1256881275" sldId="596"/>
            <ac:spMk id="2" creationId="{EB67312A-9819-43C6-8D84-D9136E6CFFCC}"/>
          </ac:spMkLst>
        </pc:spChg>
        <pc:spChg chg="mod">
          <ac:chgData name="Renata Festa" userId="6f22df47-533b-4c2a-a3c1-7f9ad1d63e10" providerId="ADAL" clId="{7D997690-04A4-4675-83D7-2E1CC2ED1A4E}" dt="2020-03-23T23:48:20.696" v="558" actId="207"/>
          <ac:spMkLst>
            <pc:docMk/>
            <pc:sldMk cId="1256881275" sldId="596"/>
            <ac:spMk id="4" creationId="{F3616A99-090F-45E1-9334-58D58B148205}"/>
          </ac:spMkLst>
        </pc:spChg>
        <pc:spChg chg="add del mod">
          <ac:chgData name="Renata Festa" userId="6f22df47-533b-4c2a-a3c1-7f9ad1d63e10" providerId="ADAL" clId="{7D997690-04A4-4675-83D7-2E1CC2ED1A4E}" dt="2020-03-23T23:46:22.447" v="534" actId="478"/>
          <ac:spMkLst>
            <pc:docMk/>
            <pc:sldMk cId="1256881275" sldId="596"/>
            <ac:spMk id="5" creationId="{87F525EC-7968-426C-A677-A6F89B4336CC}"/>
          </ac:spMkLst>
        </pc:spChg>
        <pc:spChg chg="add del mod">
          <ac:chgData name="Renata Festa" userId="6f22df47-533b-4c2a-a3c1-7f9ad1d63e10" providerId="ADAL" clId="{7D997690-04A4-4675-83D7-2E1CC2ED1A4E}" dt="2020-03-23T23:46:18.005" v="533" actId="478"/>
          <ac:spMkLst>
            <pc:docMk/>
            <pc:sldMk cId="1256881275" sldId="596"/>
            <ac:spMk id="6" creationId="{BDEF691A-9340-4C45-94EE-307AC1CD2852}"/>
          </ac:spMkLst>
        </pc:spChg>
        <pc:spChg chg="add del mod">
          <ac:chgData name="Renata Festa" userId="6f22df47-533b-4c2a-a3c1-7f9ad1d63e10" providerId="ADAL" clId="{7D997690-04A4-4675-83D7-2E1CC2ED1A4E}" dt="2020-03-23T23:47:46.026" v="547" actId="478"/>
          <ac:spMkLst>
            <pc:docMk/>
            <pc:sldMk cId="1256881275" sldId="596"/>
            <ac:spMk id="50" creationId="{AAF4B1F5-D30E-4056-BFEA-3C3B1AB11CCE}"/>
          </ac:spMkLst>
        </pc:spChg>
        <pc:spChg chg="add del mod">
          <ac:chgData name="Renata Festa" userId="6f22df47-533b-4c2a-a3c1-7f9ad1d63e10" providerId="ADAL" clId="{7D997690-04A4-4675-83D7-2E1CC2ED1A4E}" dt="2020-03-23T23:47:40.224" v="544" actId="478"/>
          <ac:spMkLst>
            <pc:docMk/>
            <pc:sldMk cId="1256881275" sldId="596"/>
            <ac:spMk id="51" creationId="{651AAEDC-A417-4A44-B197-F829C32A0E74}"/>
          </ac:spMkLst>
        </pc:spChg>
        <pc:grpChg chg="add mod">
          <ac:chgData name="Renata Festa" userId="6f22df47-533b-4c2a-a3c1-7f9ad1d63e10" providerId="ADAL" clId="{7D997690-04A4-4675-83D7-2E1CC2ED1A4E}" dt="2020-03-23T23:45:29.237" v="529" actId="1076"/>
          <ac:grpSpMkLst>
            <pc:docMk/>
            <pc:sldMk cId="1256881275" sldId="596"/>
            <ac:grpSpMk id="7" creationId="{1F272967-511A-4D64-B691-A3F6560E4EAD}"/>
          </ac:grpSpMkLst>
        </pc:grpChg>
      </pc:sldChg>
      <pc:sldChg chg="addSp delSp modSp add mod modNotesTx">
        <pc:chgData name="Renata Festa" userId="6f22df47-533b-4c2a-a3c1-7f9ad1d63e10" providerId="ADAL" clId="{7D997690-04A4-4675-83D7-2E1CC2ED1A4E}" dt="2020-03-27T17:18:58.476" v="4977" actId="20577"/>
        <pc:sldMkLst>
          <pc:docMk/>
          <pc:sldMk cId="129772539" sldId="597"/>
        </pc:sldMkLst>
        <pc:spChg chg="mod">
          <ac:chgData name="Renata Festa" userId="6f22df47-533b-4c2a-a3c1-7f9ad1d63e10" providerId="ADAL" clId="{7D997690-04A4-4675-83D7-2E1CC2ED1A4E}" dt="2020-03-23T23:48:32.964" v="561"/>
          <ac:spMkLst>
            <pc:docMk/>
            <pc:sldMk cId="129772539" sldId="597"/>
            <ac:spMk id="2" creationId="{EB67312A-9819-43C6-8D84-D9136E6CFFCC}"/>
          </ac:spMkLst>
        </pc:spChg>
        <pc:spChg chg="del">
          <ac:chgData name="Renata Festa" userId="6f22df47-533b-4c2a-a3c1-7f9ad1d63e10" providerId="ADAL" clId="{7D997690-04A4-4675-83D7-2E1CC2ED1A4E}" dt="2020-03-24T14:00:49.978" v="1632" actId="478"/>
          <ac:spMkLst>
            <pc:docMk/>
            <pc:sldMk cId="129772539" sldId="597"/>
            <ac:spMk id="3" creationId="{F35E8CBB-5A7D-4DEF-BAF7-8DD5D042F9E0}"/>
          </ac:spMkLst>
        </pc:spChg>
        <pc:spChg chg="del mod">
          <ac:chgData name="Renata Festa" userId="6f22df47-533b-4c2a-a3c1-7f9ad1d63e10" providerId="ADAL" clId="{7D997690-04A4-4675-83D7-2E1CC2ED1A4E}" dt="2020-03-23T23:49:17.099" v="586" actId="12084"/>
          <ac:spMkLst>
            <pc:docMk/>
            <pc:sldMk cId="129772539" sldId="597"/>
            <ac:spMk id="4" creationId="{F3616A99-090F-45E1-9334-58D58B148205}"/>
          </ac:spMkLst>
        </pc:spChg>
        <pc:spChg chg="mod">
          <ac:chgData name="Renata Festa" userId="6f22df47-533b-4c2a-a3c1-7f9ad1d63e10" providerId="ADAL" clId="{7D997690-04A4-4675-83D7-2E1CC2ED1A4E}" dt="2020-03-23T23:53:41.451" v="646" actId="14100"/>
          <ac:spMkLst>
            <pc:docMk/>
            <pc:sldMk cId="129772539" sldId="597"/>
            <ac:spMk id="7" creationId="{E6F4DF75-EE24-450B-8AD4-1D87A85E0C46}"/>
          </ac:spMkLst>
        </pc:spChg>
        <pc:spChg chg="add del mod">
          <ac:chgData name="Renata Festa" userId="6f22df47-533b-4c2a-a3c1-7f9ad1d63e10" providerId="ADAL" clId="{7D997690-04A4-4675-83D7-2E1CC2ED1A4E}" dt="2020-03-23T23:53:21.982" v="642" actId="12084"/>
          <ac:spMkLst>
            <pc:docMk/>
            <pc:sldMk cId="129772539" sldId="597"/>
            <ac:spMk id="49" creationId="{5C97046D-138A-4E61-9676-813F9EE15501}"/>
          </ac:spMkLst>
        </pc:spChg>
        <pc:grpChg chg="add mod">
          <ac:chgData name="Renata Festa" userId="6f22df47-533b-4c2a-a3c1-7f9ad1d63e10" providerId="ADAL" clId="{7D997690-04A4-4675-83D7-2E1CC2ED1A4E}" dt="2020-03-23T23:53:37.283" v="645" actId="14100"/>
          <ac:grpSpMkLst>
            <pc:docMk/>
            <pc:sldMk cId="129772539" sldId="597"/>
            <ac:grpSpMk id="6" creationId="{60B12E2B-40FE-49BA-AB6C-A51873E84AEE}"/>
          </ac:grpSpMkLst>
        </pc:grpChg>
        <pc:grpChg chg="mod">
          <ac:chgData name="Renata Festa" userId="6f22df47-533b-4c2a-a3c1-7f9ad1d63e10" providerId="ADAL" clId="{7D997690-04A4-4675-83D7-2E1CC2ED1A4E}" dt="2020-03-23T23:53:09.719" v="640" actId="18245"/>
          <ac:grpSpMkLst>
            <pc:docMk/>
            <pc:sldMk cId="129772539" sldId="597"/>
            <ac:grpSpMk id="51" creationId="{8D7DFDFB-E374-45A3-8D88-DADF3E429615}"/>
          </ac:grpSpMkLst>
        </pc:grpChg>
        <pc:graphicFrameChg chg="add del mod">
          <ac:chgData name="Renata Festa" userId="6f22df47-533b-4c2a-a3c1-7f9ad1d63e10" providerId="ADAL" clId="{7D997690-04A4-4675-83D7-2E1CC2ED1A4E}" dt="2020-03-23T23:50:53.901" v="632" actId="11529"/>
          <ac:graphicFrameMkLst>
            <pc:docMk/>
            <pc:sldMk cId="129772539" sldId="597"/>
            <ac:graphicFrameMk id="5" creationId="{1CA8A8F4-3335-49A7-8517-02410579318A}"/>
          </ac:graphicFrameMkLst>
        </pc:graphicFrameChg>
        <pc:graphicFrameChg chg="add del mod">
          <ac:chgData name="Renata Festa" userId="6f22df47-533b-4c2a-a3c1-7f9ad1d63e10" providerId="ADAL" clId="{7D997690-04A4-4675-83D7-2E1CC2ED1A4E}" dt="2020-03-23T23:53:14.009" v="641" actId="12084"/>
          <ac:graphicFrameMkLst>
            <pc:docMk/>
            <pc:sldMk cId="129772539" sldId="597"/>
            <ac:graphicFrameMk id="50" creationId="{644D3034-9348-4907-9C07-CEAF6C162F93}"/>
          </ac:graphicFrameMkLst>
        </pc:graphicFrameChg>
        <pc:graphicFrameChg chg="add mod">
          <ac:chgData name="Renata Festa" userId="6f22df47-533b-4c2a-a3c1-7f9ad1d63e10" providerId="ADAL" clId="{7D997690-04A4-4675-83D7-2E1CC2ED1A4E}" dt="2020-03-27T17:18:58.476" v="4977" actId="20577"/>
          <ac:graphicFrameMkLst>
            <pc:docMk/>
            <pc:sldMk cId="129772539" sldId="597"/>
            <ac:graphicFrameMk id="56" creationId="{AA37CBE4-8426-49ED-855E-F7D6AF9139AA}"/>
          </ac:graphicFrameMkLst>
        </pc:graphicFrameChg>
      </pc:sldChg>
      <pc:sldChg chg="modSp add del mod">
        <pc:chgData name="Renata Festa" userId="6f22df47-533b-4c2a-a3c1-7f9ad1d63e10" providerId="ADAL" clId="{7D997690-04A4-4675-83D7-2E1CC2ED1A4E}" dt="2020-03-23T23:56:13.639" v="671" actId="47"/>
        <pc:sldMkLst>
          <pc:docMk/>
          <pc:sldMk cId="2448810507" sldId="598"/>
        </pc:sldMkLst>
        <pc:spChg chg="mod">
          <ac:chgData name="Renata Festa" userId="6f22df47-533b-4c2a-a3c1-7f9ad1d63e10" providerId="ADAL" clId="{7D997690-04A4-4675-83D7-2E1CC2ED1A4E}" dt="2020-03-23T23:54:10.608" v="652"/>
          <ac:spMkLst>
            <pc:docMk/>
            <pc:sldMk cId="2448810507" sldId="598"/>
            <ac:spMk id="2" creationId="{EB67312A-9819-43C6-8D84-D9136E6CFFCC}"/>
          </ac:spMkLst>
        </pc:spChg>
        <pc:spChg chg="mod">
          <ac:chgData name="Renata Festa" userId="6f22df47-533b-4c2a-a3c1-7f9ad1d63e10" providerId="ADAL" clId="{7D997690-04A4-4675-83D7-2E1CC2ED1A4E}" dt="2020-03-23T23:54:25.187" v="656"/>
          <ac:spMkLst>
            <pc:docMk/>
            <pc:sldMk cId="2448810507" sldId="598"/>
            <ac:spMk id="4" creationId="{F3616A99-090F-45E1-9334-58D58B148205}"/>
          </ac:spMkLst>
        </pc:spChg>
      </pc:sldChg>
      <pc:sldChg chg="addSp delSp modSp add mod modAnim">
        <pc:chgData name="Renata Festa" userId="6f22df47-533b-4c2a-a3c1-7f9ad1d63e10" providerId="ADAL" clId="{7D997690-04A4-4675-83D7-2E1CC2ED1A4E}" dt="2020-03-24T14:00:48.031" v="1631" actId="478"/>
        <pc:sldMkLst>
          <pc:docMk/>
          <pc:sldMk cId="783530848" sldId="599"/>
        </pc:sldMkLst>
        <pc:spChg chg="mod">
          <ac:chgData name="Renata Festa" userId="6f22df47-533b-4c2a-a3c1-7f9ad1d63e10" providerId="ADAL" clId="{7D997690-04A4-4675-83D7-2E1CC2ED1A4E}" dt="2020-03-23T23:58:28.249" v="686"/>
          <ac:spMkLst>
            <pc:docMk/>
            <pc:sldMk cId="783530848" sldId="599"/>
            <ac:spMk id="2" creationId="{EB67312A-9819-43C6-8D84-D9136E6CFFCC}"/>
          </ac:spMkLst>
        </pc:spChg>
        <pc:spChg chg="del">
          <ac:chgData name="Renata Festa" userId="6f22df47-533b-4c2a-a3c1-7f9ad1d63e10" providerId="ADAL" clId="{7D997690-04A4-4675-83D7-2E1CC2ED1A4E}" dt="2020-03-24T14:00:48.031" v="1631" actId="478"/>
          <ac:spMkLst>
            <pc:docMk/>
            <pc:sldMk cId="783530848" sldId="599"/>
            <ac:spMk id="3" creationId="{F35E8CBB-5A7D-4DEF-BAF7-8DD5D042F9E0}"/>
          </ac:spMkLst>
        </pc:spChg>
        <pc:spChg chg="add del mod">
          <ac:chgData name="Renata Festa" userId="6f22df47-533b-4c2a-a3c1-7f9ad1d63e10" providerId="ADAL" clId="{7D997690-04A4-4675-83D7-2E1CC2ED1A4E}" dt="2020-03-23T23:59:29.040" v="693" actId="12084"/>
          <ac:spMkLst>
            <pc:docMk/>
            <pc:sldMk cId="783530848" sldId="599"/>
            <ac:spMk id="4" creationId="{F3616A99-090F-45E1-9334-58D58B148205}"/>
          </ac:spMkLst>
        </pc:spChg>
        <pc:spChg chg="add mod">
          <ac:chgData name="Renata Festa" userId="6f22df47-533b-4c2a-a3c1-7f9ad1d63e10" providerId="ADAL" clId="{7D997690-04A4-4675-83D7-2E1CC2ED1A4E}" dt="2020-03-24T00:06:29.899" v="892" actId="1076"/>
          <ac:spMkLst>
            <pc:docMk/>
            <pc:sldMk cId="783530848" sldId="599"/>
            <ac:spMk id="5" creationId="{E30EB0C8-F538-41BA-8473-010CA34DAA0D}"/>
          </ac:spMkLst>
        </pc:spChg>
        <pc:spChg chg="add del mod">
          <ac:chgData name="Renata Festa" userId="6f22df47-533b-4c2a-a3c1-7f9ad1d63e10" providerId="ADAL" clId="{7D997690-04A4-4675-83D7-2E1CC2ED1A4E}" dt="2020-03-24T00:03:08.985" v="752" actId="12084"/>
          <ac:spMkLst>
            <pc:docMk/>
            <pc:sldMk cId="783530848" sldId="599"/>
            <ac:spMk id="8" creationId="{E2572648-3CC3-4AE6-8A2F-59CB2894E2B8}"/>
          </ac:spMkLst>
        </pc:spChg>
        <pc:spChg chg="add mod">
          <ac:chgData name="Renata Festa" userId="6f22df47-533b-4c2a-a3c1-7f9ad1d63e10" providerId="ADAL" clId="{7D997690-04A4-4675-83D7-2E1CC2ED1A4E}" dt="2020-03-24T00:06:55.693" v="895" actId="1076"/>
          <ac:spMkLst>
            <pc:docMk/>
            <pc:sldMk cId="783530848" sldId="599"/>
            <ac:spMk id="10" creationId="{65CACE8B-44F7-491A-83A9-1D3DD248E43D}"/>
          </ac:spMkLst>
        </pc:spChg>
        <pc:graphicFrameChg chg="add del mod">
          <ac:chgData name="Renata Festa" userId="6f22df47-533b-4c2a-a3c1-7f9ad1d63e10" providerId="ADAL" clId="{7D997690-04A4-4675-83D7-2E1CC2ED1A4E}" dt="2020-03-23T23:59:11.330" v="692" actId="12084"/>
          <ac:graphicFrameMkLst>
            <pc:docMk/>
            <pc:sldMk cId="783530848" sldId="599"/>
            <ac:graphicFrameMk id="6" creationId="{1DDBED5B-C24F-4AE9-815D-EC2843BA6379}"/>
          </ac:graphicFrameMkLst>
        </pc:graphicFrameChg>
        <pc:graphicFrameChg chg="add del mod">
          <ac:chgData name="Renata Festa" userId="6f22df47-533b-4c2a-a3c1-7f9ad1d63e10" providerId="ADAL" clId="{7D997690-04A4-4675-83D7-2E1CC2ED1A4E}" dt="2020-03-24T00:01:59.730" v="730" actId="11529"/>
          <ac:graphicFrameMkLst>
            <pc:docMk/>
            <pc:sldMk cId="783530848" sldId="599"/>
            <ac:graphicFrameMk id="7" creationId="{C05DC927-1E86-4B85-A875-2B1D747FBF97}"/>
          </ac:graphicFrameMkLst>
        </pc:graphicFrameChg>
        <pc:graphicFrameChg chg="add mod">
          <ac:chgData name="Renata Festa" userId="6f22df47-533b-4c2a-a3c1-7f9ad1d63e10" providerId="ADAL" clId="{7D997690-04A4-4675-83D7-2E1CC2ED1A4E}" dt="2020-03-24T00:06:16.811" v="891"/>
          <ac:graphicFrameMkLst>
            <pc:docMk/>
            <pc:sldMk cId="783530848" sldId="599"/>
            <ac:graphicFrameMk id="9" creationId="{580710EA-282A-47EC-93C4-EC32C29CD39B}"/>
          </ac:graphicFrameMkLst>
        </pc:graphicFrameChg>
      </pc:sldChg>
      <pc:sldChg chg="addSp delSp modSp add mod modShow">
        <pc:chgData name="Renata Festa" userId="6f22df47-533b-4c2a-a3c1-7f9ad1d63e10" providerId="ADAL" clId="{7D997690-04A4-4675-83D7-2E1CC2ED1A4E}" dt="2020-03-26T23:17:15.905" v="4944" actId="729"/>
        <pc:sldMkLst>
          <pc:docMk/>
          <pc:sldMk cId="2369490167" sldId="600"/>
        </pc:sldMkLst>
        <pc:spChg chg="mod">
          <ac:chgData name="Renata Festa" userId="6f22df47-533b-4c2a-a3c1-7f9ad1d63e10" providerId="ADAL" clId="{7D997690-04A4-4675-83D7-2E1CC2ED1A4E}" dt="2020-03-24T00:12:22.613" v="919"/>
          <ac:spMkLst>
            <pc:docMk/>
            <pc:sldMk cId="2369490167" sldId="600"/>
            <ac:spMk id="2" creationId="{EB67312A-9819-43C6-8D84-D9136E6CFFCC}"/>
          </ac:spMkLst>
        </pc:spChg>
        <pc:spChg chg="del">
          <ac:chgData name="Renata Festa" userId="6f22df47-533b-4c2a-a3c1-7f9ad1d63e10" providerId="ADAL" clId="{7D997690-04A4-4675-83D7-2E1CC2ED1A4E}" dt="2020-03-24T14:00:45.853" v="1630" actId="478"/>
          <ac:spMkLst>
            <pc:docMk/>
            <pc:sldMk cId="2369490167" sldId="600"/>
            <ac:spMk id="3" creationId="{F35E8CBB-5A7D-4DEF-BAF7-8DD5D042F9E0}"/>
          </ac:spMkLst>
        </pc:spChg>
        <pc:spChg chg="del mod">
          <ac:chgData name="Renata Festa" userId="6f22df47-533b-4c2a-a3c1-7f9ad1d63e10" providerId="ADAL" clId="{7D997690-04A4-4675-83D7-2E1CC2ED1A4E}" dt="2020-03-24T00:13:33.198" v="930" actId="12084"/>
          <ac:spMkLst>
            <pc:docMk/>
            <pc:sldMk cId="2369490167" sldId="600"/>
            <ac:spMk id="4" creationId="{F3616A99-090F-45E1-9334-58D58B148205}"/>
          </ac:spMkLst>
        </pc:spChg>
        <pc:spChg chg="add del mod">
          <ac:chgData name="Renata Festa" userId="6f22df47-533b-4c2a-a3c1-7f9ad1d63e10" providerId="ADAL" clId="{7D997690-04A4-4675-83D7-2E1CC2ED1A4E}" dt="2020-03-24T00:14:27.435" v="934" actId="12084"/>
          <ac:spMkLst>
            <pc:docMk/>
            <pc:sldMk cId="2369490167" sldId="600"/>
            <ac:spMk id="7" creationId="{3CDBDF33-B98F-4B73-813B-9778A4109D99}"/>
          </ac:spMkLst>
        </pc:spChg>
        <pc:graphicFrameChg chg="add del mod">
          <ac:chgData name="Renata Festa" userId="6f22df47-533b-4c2a-a3c1-7f9ad1d63e10" providerId="ADAL" clId="{7D997690-04A4-4675-83D7-2E1CC2ED1A4E}" dt="2020-03-24T00:13:52.268" v="933" actId="11529"/>
          <ac:graphicFrameMkLst>
            <pc:docMk/>
            <pc:sldMk cId="2369490167" sldId="600"/>
            <ac:graphicFrameMk id="6" creationId="{4B63F676-7868-4ED1-9A7B-2B2F2F1B49F8}"/>
          </ac:graphicFrameMkLst>
        </pc:graphicFrameChg>
        <pc:graphicFrameChg chg="add mod">
          <ac:chgData name="Renata Festa" userId="6f22df47-533b-4c2a-a3c1-7f9ad1d63e10" providerId="ADAL" clId="{7D997690-04A4-4675-83D7-2E1CC2ED1A4E}" dt="2020-03-24T00:15:18.497" v="949"/>
          <ac:graphicFrameMkLst>
            <pc:docMk/>
            <pc:sldMk cId="2369490167" sldId="600"/>
            <ac:graphicFrameMk id="8" creationId="{BC89735D-35A1-4B37-9372-A27C46EE4072}"/>
          </ac:graphicFrameMkLst>
        </pc:graphicFrameChg>
        <pc:picChg chg="add mod">
          <ac:chgData name="Renata Festa" userId="6f22df47-533b-4c2a-a3c1-7f9ad1d63e10" providerId="ADAL" clId="{7D997690-04A4-4675-83D7-2E1CC2ED1A4E}" dt="2020-03-24T00:16:01.055" v="952" actId="14100"/>
          <ac:picMkLst>
            <pc:docMk/>
            <pc:sldMk cId="2369490167" sldId="600"/>
            <ac:picMk id="5" creationId="{7609996E-948E-4C18-A378-CD40E2BF93D8}"/>
          </ac:picMkLst>
        </pc:picChg>
      </pc:sldChg>
      <pc:sldChg chg="addSp delSp modSp add mod">
        <pc:chgData name="Renata Festa" userId="6f22df47-533b-4c2a-a3c1-7f9ad1d63e10" providerId="ADAL" clId="{7D997690-04A4-4675-83D7-2E1CC2ED1A4E}" dt="2020-03-24T17:31:46.263" v="2358" actId="1076"/>
        <pc:sldMkLst>
          <pc:docMk/>
          <pc:sldMk cId="636521655" sldId="601"/>
        </pc:sldMkLst>
        <pc:spChg chg="mod">
          <ac:chgData name="Renata Festa" userId="6f22df47-533b-4c2a-a3c1-7f9ad1d63e10" providerId="ADAL" clId="{7D997690-04A4-4675-83D7-2E1CC2ED1A4E}" dt="2020-03-24T00:16:17.447" v="957"/>
          <ac:spMkLst>
            <pc:docMk/>
            <pc:sldMk cId="636521655" sldId="601"/>
            <ac:spMk id="2" creationId="{EB67312A-9819-43C6-8D84-D9136E6CFFCC}"/>
          </ac:spMkLst>
        </pc:spChg>
        <pc:spChg chg="del">
          <ac:chgData name="Renata Festa" userId="6f22df47-533b-4c2a-a3c1-7f9ad1d63e10" providerId="ADAL" clId="{7D997690-04A4-4675-83D7-2E1CC2ED1A4E}" dt="2020-03-24T14:00:44.171" v="1629" actId="478"/>
          <ac:spMkLst>
            <pc:docMk/>
            <pc:sldMk cId="636521655" sldId="601"/>
            <ac:spMk id="3" creationId="{F35E8CBB-5A7D-4DEF-BAF7-8DD5D042F9E0}"/>
          </ac:spMkLst>
        </pc:spChg>
        <pc:spChg chg="del">
          <ac:chgData name="Renata Festa" userId="6f22df47-533b-4c2a-a3c1-7f9ad1d63e10" providerId="ADAL" clId="{7D997690-04A4-4675-83D7-2E1CC2ED1A4E}" dt="2020-03-24T00:16:24.461" v="958"/>
          <ac:spMkLst>
            <pc:docMk/>
            <pc:sldMk cId="636521655" sldId="601"/>
            <ac:spMk id="4" creationId="{F3616A99-090F-45E1-9334-58D58B148205}"/>
          </ac:spMkLst>
        </pc:spChg>
        <pc:spChg chg="add del mod">
          <ac:chgData name="Renata Festa" userId="6f22df47-533b-4c2a-a3c1-7f9ad1d63e10" providerId="ADAL" clId="{7D997690-04A4-4675-83D7-2E1CC2ED1A4E}" dt="2020-03-24T00:16:49.669" v="962"/>
          <ac:spMkLst>
            <pc:docMk/>
            <pc:sldMk cId="636521655" sldId="601"/>
            <ac:spMk id="6" creationId="{78E7DD1B-1784-407A-BE77-1C6DBBBB2406}"/>
          </ac:spMkLst>
        </pc:spChg>
        <pc:picChg chg="add del mod">
          <ac:chgData name="Renata Festa" userId="6f22df47-533b-4c2a-a3c1-7f9ad1d63e10" providerId="ADAL" clId="{7D997690-04A4-4675-83D7-2E1CC2ED1A4E}" dt="2020-03-24T00:16:45.952" v="960"/>
          <ac:picMkLst>
            <pc:docMk/>
            <pc:sldMk cId="636521655" sldId="601"/>
            <ac:picMk id="5" creationId="{DE89600D-C931-4375-91C6-3EE3CAA47E11}"/>
          </ac:picMkLst>
        </pc:picChg>
        <pc:picChg chg="add del">
          <ac:chgData name="Renata Festa" userId="6f22df47-533b-4c2a-a3c1-7f9ad1d63e10" providerId="ADAL" clId="{7D997690-04A4-4675-83D7-2E1CC2ED1A4E}" dt="2020-03-24T00:16:49.669" v="962"/>
          <ac:picMkLst>
            <pc:docMk/>
            <pc:sldMk cId="636521655" sldId="601"/>
            <ac:picMk id="7" creationId="{BA05BB68-2157-41F7-A1C9-553C3BB502EF}"/>
          </ac:picMkLst>
        </pc:picChg>
        <pc:picChg chg="add mod">
          <ac:chgData name="Renata Festa" userId="6f22df47-533b-4c2a-a3c1-7f9ad1d63e10" providerId="ADAL" clId="{7D997690-04A4-4675-83D7-2E1CC2ED1A4E}" dt="2020-03-24T17:31:46.263" v="2358" actId="1076"/>
          <ac:picMkLst>
            <pc:docMk/>
            <pc:sldMk cId="636521655" sldId="601"/>
            <ac:picMk id="8" creationId="{1833ADED-B442-4211-87BA-FD1A50B39175}"/>
          </ac:picMkLst>
        </pc:picChg>
      </pc:sldChg>
      <pc:sldChg chg="addSp delSp modSp add mod modAnim addCm modCm modNotesTx">
        <pc:chgData name="Renata Festa" userId="6f22df47-533b-4c2a-a3c1-7f9ad1d63e10" providerId="ADAL" clId="{7D997690-04A4-4675-83D7-2E1CC2ED1A4E}" dt="2020-03-24T13:59:32.968" v="1618" actId="478"/>
        <pc:sldMkLst>
          <pc:docMk/>
          <pc:sldMk cId="1398347698" sldId="602"/>
        </pc:sldMkLst>
        <pc:spChg chg="mod">
          <ac:chgData name="Renata Festa" userId="6f22df47-533b-4c2a-a3c1-7f9ad1d63e10" providerId="ADAL" clId="{7D997690-04A4-4675-83D7-2E1CC2ED1A4E}" dt="2020-03-24T13:00:19.589" v="1393"/>
          <ac:spMkLst>
            <pc:docMk/>
            <pc:sldMk cId="1398347698" sldId="602"/>
            <ac:spMk id="2" creationId="{EB67312A-9819-43C6-8D84-D9136E6CFFCC}"/>
          </ac:spMkLst>
        </pc:spChg>
        <pc:spChg chg="del">
          <ac:chgData name="Renata Festa" userId="6f22df47-533b-4c2a-a3c1-7f9ad1d63e10" providerId="ADAL" clId="{7D997690-04A4-4675-83D7-2E1CC2ED1A4E}" dt="2020-03-24T13:06:26.076" v="1438"/>
          <ac:spMkLst>
            <pc:docMk/>
            <pc:sldMk cId="1398347698" sldId="602"/>
            <ac:spMk id="3" creationId="{F35E8CBB-5A7D-4DEF-BAF7-8DD5D042F9E0}"/>
          </ac:spMkLst>
        </pc:spChg>
        <pc:spChg chg="del mod">
          <ac:chgData name="Renata Festa" userId="6f22df47-533b-4c2a-a3c1-7f9ad1d63e10" providerId="ADAL" clId="{7D997690-04A4-4675-83D7-2E1CC2ED1A4E}" dt="2020-03-24T13:05:27.619" v="1432" actId="12084"/>
          <ac:spMkLst>
            <pc:docMk/>
            <pc:sldMk cId="1398347698" sldId="602"/>
            <ac:spMk id="4" creationId="{F3616A99-090F-45E1-9334-58D58B148205}"/>
          </ac:spMkLst>
        </pc:spChg>
        <pc:spChg chg="add del mod">
          <ac:chgData name="Renata Festa" userId="6f22df47-533b-4c2a-a3c1-7f9ad1d63e10" providerId="ADAL" clId="{7D997690-04A4-4675-83D7-2E1CC2ED1A4E}" dt="2020-03-24T13:00:45.230" v="1402"/>
          <ac:spMkLst>
            <pc:docMk/>
            <pc:sldMk cId="1398347698" sldId="602"/>
            <ac:spMk id="11" creationId="{32399C3C-08D3-46AD-947B-5A09B9281DCF}"/>
          </ac:spMkLst>
        </pc:spChg>
        <pc:spChg chg="add del mod">
          <ac:chgData name="Renata Festa" userId="6f22df47-533b-4c2a-a3c1-7f9ad1d63e10" providerId="ADAL" clId="{7D997690-04A4-4675-83D7-2E1CC2ED1A4E}" dt="2020-03-24T13:00:45.230" v="1402"/>
          <ac:spMkLst>
            <pc:docMk/>
            <pc:sldMk cId="1398347698" sldId="602"/>
            <ac:spMk id="20" creationId="{E73880B1-3F79-4895-A39A-F802D0D719F0}"/>
          </ac:spMkLst>
        </pc:spChg>
        <pc:spChg chg="add del mod">
          <ac:chgData name="Renata Festa" userId="6f22df47-533b-4c2a-a3c1-7f9ad1d63e10" providerId="ADAL" clId="{7D997690-04A4-4675-83D7-2E1CC2ED1A4E}" dt="2020-03-24T13:00:45.230" v="1402"/>
          <ac:spMkLst>
            <pc:docMk/>
            <pc:sldMk cId="1398347698" sldId="602"/>
            <ac:spMk id="21" creationId="{6995F955-4B96-493B-8625-BE52313B7A83}"/>
          </ac:spMkLst>
        </pc:spChg>
        <pc:spChg chg="add del mod">
          <ac:chgData name="Renata Festa" userId="6f22df47-533b-4c2a-a3c1-7f9ad1d63e10" providerId="ADAL" clId="{7D997690-04A4-4675-83D7-2E1CC2ED1A4E}" dt="2020-03-24T13:00:45.230" v="1402"/>
          <ac:spMkLst>
            <pc:docMk/>
            <pc:sldMk cId="1398347698" sldId="602"/>
            <ac:spMk id="22" creationId="{BA408CF4-3B7D-46A0-838F-9B5DC3A81A82}"/>
          </ac:spMkLst>
        </pc:spChg>
        <pc:spChg chg="mod">
          <ac:chgData name="Renata Festa" userId="6f22df47-533b-4c2a-a3c1-7f9ad1d63e10" providerId="ADAL" clId="{7D997690-04A4-4675-83D7-2E1CC2ED1A4E}" dt="2020-03-24T13:03:49.706" v="1424" actId="14100"/>
          <ac:spMkLst>
            <pc:docMk/>
            <pc:sldMk cId="1398347698" sldId="602"/>
            <ac:spMk id="26" creationId="{83DD3DEC-98CD-447B-A753-87170B61CB5D}"/>
          </ac:spMkLst>
        </pc:spChg>
        <pc:spChg chg="add mod">
          <ac:chgData name="Renata Festa" userId="6f22df47-533b-4c2a-a3c1-7f9ad1d63e10" providerId="ADAL" clId="{7D997690-04A4-4675-83D7-2E1CC2ED1A4E}" dt="2020-03-24T13:01:28.262" v="1413" actId="1076"/>
          <ac:spMkLst>
            <pc:docMk/>
            <pc:sldMk cId="1398347698" sldId="602"/>
            <ac:spMk id="29" creationId="{D86657A4-22A1-43E0-B423-2123DB71C35F}"/>
          </ac:spMkLst>
        </pc:spChg>
        <pc:spChg chg="add del mod">
          <ac:chgData name="Renata Festa" userId="6f22df47-533b-4c2a-a3c1-7f9ad1d63e10" providerId="ADAL" clId="{7D997690-04A4-4675-83D7-2E1CC2ED1A4E}" dt="2020-03-24T13:03:37.550" v="1422" actId="14100"/>
          <ac:spMkLst>
            <pc:docMk/>
            <pc:sldMk cId="1398347698" sldId="602"/>
            <ac:spMk id="33" creationId="{32BBABB4-A648-4354-93D5-3C071EFA1DFE}"/>
          </ac:spMkLst>
        </pc:spChg>
        <pc:spChg chg="add mod">
          <ac:chgData name="Renata Festa" userId="6f22df47-533b-4c2a-a3c1-7f9ad1d63e10" providerId="ADAL" clId="{7D997690-04A4-4675-83D7-2E1CC2ED1A4E}" dt="2020-03-24T13:04:07.596" v="1425" actId="1076"/>
          <ac:spMkLst>
            <pc:docMk/>
            <pc:sldMk cId="1398347698" sldId="602"/>
            <ac:spMk id="38" creationId="{FC88A2F9-1CCD-4522-9BFF-2C42C69B2DAA}"/>
          </ac:spMkLst>
        </pc:spChg>
        <pc:spChg chg="add mod ord">
          <ac:chgData name="Renata Festa" userId="6f22df47-533b-4c2a-a3c1-7f9ad1d63e10" providerId="ADAL" clId="{7D997690-04A4-4675-83D7-2E1CC2ED1A4E}" dt="2020-03-24T13:04:23.693" v="1427" actId="1076"/>
          <ac:spMkLst>
            <pc:docMk/>
            <pc:sldMk cId="1398347698" sldId="602"/>
            <ac:spMk id="39" creationId="{8438C797-2065-43B6-A0B8-CD2408C251C4}"/>
          </ac:spMkLst>
        </pc:spChg>
        <pc:spChg chg="add mod ord">
          <ac:chgData name="Renata Festa" userId="6f22df47-533b-4c2a-a3c1-7f9ad1d63e10" providerId="ADAL" clId="{7D997690-04A4-4675-83D7-2E1CC2ED1A4E}" dt="2020-03-24T13:01:56.320" v="1415" actId="166"/>
          <ac:spMkLst>
            <pc:docMk/>
            <pc:sldMk cId="1398347698" sldId="602"/>
            <ac:spMk id="40" creationId="{BAECEEC1-4E09-478C-B42A-6733A78031DC}"/>
          </ac:spMkLst>
        </pc:spChg>
        <pc:spChg chg="add del mod">
          <ac:chgData name="Renata Festa" userId="6f22df47-533b-4c2a-a3c1-7f9ad1d63e10" providerId="ADAL" clId="{7D997690-04A4-4675-83D7-2E1CC2ED1A4E}" dt="2020-03-24T13:06:04.267" v="1434" actId="12084"/>
          <ac:spMkLst>
            <pc:docMk/>
            <pc:sldMk cId="1398347698" sldId="602"/>
            <ac:spMk id="42" creationId="{1582CDFE-E6DE-416B-BDF7-E492BECA2962}"/>
          </ac:spMkLst>
        </pc:spChg>
        <pc:spChg chg="add del mod">
          <ac:chgData name="Renata Festa" userId="6f22df47-533b-4c2a-a3c1-7f9ad1d63e10" providerId="ADAL" clId="{7D997690-04A4-4675-83D7-2E1CC2ED1A4E}" dt="2020-03-24T13:59:32.968" v="1618" actId="478"/>
          <ac:spMkLst>
            <pc:docMk/>
            <pc:sldMk cId="1398347698" sldId="602"/>
            <ac:spMk id="44" creationId="{B4A2CE83-93A8-40FF-ACA2-047CAA0CAAB0}"/>
          </ac:spMkLst>
        </pc:spChg>
        <pc:grpChg chg="add del mod">
          <ac:chgData name="Renata Festa" userId="6f22df47-533b-4c2a-a3c1-7f9ad1d63e10" providerId="ADAL" clId="{7D997690-04A4-4675-83D7-2E1CC2ED1A4E}" dt="2020-03-24T13:00:45.230" v="1402"/>
          <ac:grpSpMkLst>
            <pc:docMk/>
            <pc:sldMk cId="1398347698" sldId="602"/>
            <ac:grpSpMk id="5" creationId="{DACD1EBD-6CEB-458A-B922-80A988493830}"/>
          </ac:grpSpMkLst>
        </pc:grpChg>
        <pc:grpChg chg="add del mod">
          <ac:chgData name="Renata Festa" userId="6f22df47-533b-4c2a-a3c1-7f9ad1d63e10" providerId="ADAL" clId="{7D997690-04A4-4675-83D7-2E1CC2ED1A4E}" dt="2020-03-24T13:00:45.230" v="1402"/>
          <ac:grpSpMkLst>
            <pc:docMk/>
            <pc:sldMk cId="1398347698" sldId="602"/>
            <ac:grpSpMk id="12" creationId="{3CAC9F73-CF32-4240-9B04-B32EA87623DB}"/>
          </ac:grpSpMkLst>
        </pc:grpChg>
        <pc:grpChg chg="add mod">
          <ac:chgData name="Renata Festa" userId="6f22df47-533b-4c2a-a3c1-7f9ad1d63e10" providerId="ADAL" clId="{7D997690-04A4-4675-83D7-2E1CC2ED1A4E}" dt="2020-03-24T13:04:23.693" v="1427" actId="1076"/>
          <ac:grpSpMkLst>
            <pc:docMk/>
            <pc:sldMk cId="1398347698" sldId="602"/>
            <ac:grpSpMk id="23" creationId="{B3334694-5D18-441A-8B93-03A09026BDC5}"/>
          </ac:grpSpMkLst>
        </pc:grpChg>
        <pc:grpChg chg="add mod">
          <ac:chgData name="Renata Festa" userId="6f22df47-533b-4c2a-a3c1-7f9ad1d63e10" providerId="ADAL" clId="{7D997690-04A4-4675-83D7-2E1CC2ED1A4E}" dt="2020-03-24T13:03:37.550" v="1422" actId="14100"/>
          <ac:grpSpMkLst>
            <pc:docMk/>
            <pc:sldMk cId="1398347698" sldId="602"/>
            <ac:grpSpMk id="30" creationId="{20B5362A-ED69-4ED1-80EB-719B078B4A9D}"/>
          </ac:grpSpMkLst>
        </pc:grpChg>
        <pc:graphicFrameChg chg="add del mod">
          <ac:chgData name="Renata Festa" userId="6f22df47-533b-4c2a-a3c1-7f9ad1d63e10" providerId="ADAL" clId="{7D997690-04A4-4675-83D7-2E1CC2ED1A4E}" dt="2020-03-24T13:05:32.385" v="1433" actId="11529"/>
          <ac:graphicFrameMkLst>
            <pc:docMk/>
            <pc:sldMk cId="1398347698" sldId="602"/>
            <ac:graphicFrameMk id="41" creationId="{A1A4127E-2B0F-4501-BF90-FB3EEBF6E67F}"/>
          </ac:graphicFrameMkLst>
        </pc:graphicFrameChg>
        <pc:graphicFrameChg chg="add mod">
          <ac:chgData name="Renata Festa" userId="6f22df47-533b-4c2a-a3c1-7f9ad1d63e10" providerId="ADAL" clId="{7D997690-04A4-4675-83D7-2E1CC2ED1A4E}" dt="2020-03-24T13:07:12.262" v="1453"/>
          <ac:graphicFrameMkLst>
            <pc:docMk/>
            <pc:sldMk cId="1398347698" sldId="602"/>
            <ac:graphicFrameMk id="43" creationId="{FEF1F9D0-F334-4A9E-9AA9-4DBC8F03075C}"/>
          </ac:graphicFrameMkLst>
        </pc:graphicFrameChg>
      </pc:sldChg>
      <pc:sldChg chg="addSp delSp modSp add mod">
        <pc:chgData name="Renata Festa" userId="6f22df47-533b-4c2a-a3c1-7f9ad1d63e10" providerId="ADAL" clId="{7D997690-04A4-4675-83D7-2E1CC2ED1A4E}" dt="2020-03-24T13:59:30.028" v="1617" actId="478"/>
        <pc:sldMkLst>
          <pc:docMk/>
          <pc:sldMk cId="1325401877" sldId="603"/>
        </pc:sldMkLst>
        <pc:spChg chg="mod">
          <ac:chgData name="Renata Festa" userId="6f22df47-533b-4c2a-a3c1-7f9ad1d63e10" providerId="ADAL" clId="{7D997690-04A4-4675-83D7-2E1CC2ED1A4E}" dt="2020-03-24T13:07:48.281" v="1454"/>
          <ac:spMkLst>
            <pc:docMk/>
            <pc:sldMk cId="1325401877" sldId="603"/>
            <ac:spMk id="2" creationId="{EB67312A-9819-43C6-8D84-D9136E6CFFCC}"/>
          </ac:spMkLst>
        </pc:spChg>
        <pc:spChg chg="del">
          <ac:chgData name="Renata Festa" userId="6f22df47-533b-4c2a-a3c1-7f9ad1d63e10" providerId="ADAL" clId="{7D997690-04A4-4675-83D7-2E1CC2ED1A4E}" dt="2020-03-24T13:59:28.591" v="1616" actId="478"/>
          <ac:spMkLst>
            <pc:docMk/>
            <pc:sldMk cId="1325401877" sldId="603"/>
            <ac:spMk id="3" creationId="{F35E8CBB-5A7D-4DEF-BAF7-8DD5D042F9E0}"/>
          </ac:spMkLst>
        </pc:spChg>
        <pc:spChg chg="del">
          <ac:chgData name="Renata Festa" userId="6f22df47-533b-4c2a-a3c1-7f9ad1d63e10" providerId="ADAL" clId="{7D997690-04A4-4675-83D7-2E1CC2ED1A4E}" dt="2020-03-24T13:59:30.028" v="1617" actId="478"/>
          <ac:spMkLst>
            <pc:docMk/>
            <pc:sldMk cId="1325401877" sldId="603"/>
            <ac:spMk id="4" creationId="{F3616A99-090F-45E1-9334-58D58B148205}"/>
          </ac:spMkLst>
        </pc:spChg>
        <pc:spChg chg="add mod">
          <ac:chgData name="Renata Festa" userId="6f22df47-533b-4c2a-a3c1-7f9ad1d63e10" providerId="ADAL" clId="{7D997690-04A4-4675-83D7-2E1CC2ED1A4E}" dt="2020-03-24T13:54:28.962" v="1481" actId="1076"/>
          <ac:spMkLst>
            <pc:docMk/>
            <pc:sldMk cId="1325401877" sldId="603"/>
            <ac:spMk id="5" creationId="{5C7E8F88-0C3F-495B-A2D7-0AE5A8ABFCC3}"/>
          </ac:spMkLst>
        </pc:spChg>
        <pc:spChg chg="add mod">
          <ac:chgData name="Renata Festa" userId="6f22df47-533b-4c2a-a3c1-7f9ad1d63e10" providerId="ADAL" clId="{7D997690-04A4-4675-83D7-2E1CC2ED1A4E}" dt="2020-03-24T13:54:28.962" v="1481" actId="1076"/>
          <ac:spMkLst>
            <pc:docMk/>
            <pc:sldMk cId="1325401877" sldId="603"/>
            <ac:spMk id="6" creationId="{721CC463-198C-4BBE-A594-C429D26A30A3}"/>
          </ac:spMkLst>
        </pc:spChg>
        <pc:spChg chg="add mod">
          <ac:chgData name="Renata Festa" userId="6f22df47-533b-4c2a-a3c1-7f9ad1d63e10" providerId="ADAL" clId="{7D997690-04A4-4675-83D7-2E1CC2ED1A4E}" dt="2020-03-24T13:54:28.962" v="1481" actId="1076"/>
          <ac:spMkLst>
            <pc:docMk/>
            <pc:sldMk cId="1325401877" sldId="603"/>
            <ac:spMk id="7" creationId="{B84A75F2-8186-4FD3-B9F1-5C5FB0E4CBB8}"/>
          </ac:spMkLst>
        </pc:spChg>
        <pc:spChg chg="add mod">
          <ac:chgData name="Renata Festa" userId="6f22df47-533b-4c2a-a3c1-7f9ad1d63e10" providerId="ADAL" clId="{7D997690-04A4-4675-83D7-2E1CC2ED1A4E}" dt="2020-03-24T13:54:28.962" v="1481" actId="1076"/>
          <ac:spMkLst>
            <pc:docMk/>
            <pc:sldMk cId="1325401877" sldId="603"/>
            <ac:spMk id="8" creationId="{4FE52663-4C14-4E7A-BD07-40135962EB86}"/>
          </ac:spMkLst>
        </pc:spChg>
        <pc:spChg chg="add mod">
          <ac:chgData name="Renata Festa" userId="6f22df47-533b-4c2a-a3c1-7f9ad1d63e10" providerId="ADAL" clId="{7D997690-04A4-4675-83D7-2E1CC2ED1A4E}" dt="2020-03-24T13:54:28.962" v="1481" actId="1076"/>
          <ac:spMkLst>
            <pc:docMk/>
            <pc:sldMk cId="1325401877" sldId="603"/>
            <ac:spMk id="9" creationId="{627F367E-5D97-4726-9EB8-99422F965D0D}"/>
          </ac:spMkLst>
        </pc:spChg>
        <pc:spChg chg="add mod">
          <ac:chgData name="Renata Festa" userId="6f22df47-533b-4c2a-a3c1-7f9ad1d63e10" providerId="ADAL" clId="{7D997690-04A4-4675-83D7-2E1CC2ED1A4E}" dt="2020-03-24T13:54:28.962" v="1481" actId="1076"/>
          <ac:spMkLst>
            <pc:docMk/>
            <pc:sldMk cId="1325401877" sldId="603"/>
            <ac:spMk id="10" creationId="{46A9DA82-07AE-4A25-BE68-A8DDD90BC3B1}"/>
          </ac:spMkLst>
        </pc:spChg>
        <pc:spChg chg="add mod">
          <ac:chgData name="Renata Festa" userId="6f22df47-533b-4c2a-a3c1-7f9ad1d63e10" providerId="ADAL" clId="{7D997690-04A4-4675-83D7-2E1CC2ED1A4E}" dt="2020-03-24T13:54:28.962" v="1481" actId="1076"/>
          <ac:spMkLst>
            <pc:docMk/>
            <pc:sldMk cId="1325401877" sldId="603"/>
            <ac:spMk id="11" creationId="{723EDF50-9204-4DF4-AF4A-CE974781AB57}"/>
          </ac:spMkLst>
        </pc:spChg>
        <pc:spChg chg="add mod">
          <ac:chgData name="Renata Festa" userId="6f22df47-533b-4c2a-a3c1-7f9ad1d63e10" providerId="ADAL" clId="{7D997690-04A4-4675-83D7-2E1CC2ED1A4E}" dt="2020-03-24T13:54:28.962" v="1481" actId="1076"/>
          <ac:spMkLst>
            <pc:docMk/>
            <pc:sldMk cId="1325401877" sldId="603"/>
            <ac:spMk id="12" creationId="{28988D79-3448-4092-B109-38ABA3F2CD21}"/>
          </ac:spMkLst>
        </pc:spChg>
        <pc:spChg chg="add mod">
          <ac:chgData name="Renata Festa" userId="6f22df47-533b-4c2a-a3c1-7f9ad1d63e10" providerId="ADAL" clId="{7D997690-04A4-4675-83D7-2E1CC2ED1A4E}" dt="2020-03-24T13:54:28.962" v="1481" actId="1076"/>
          <ac:spMkLst>
            <pc:docMk/>
            <pc:sldMk cId="1325401877" sldId="603"/>
            <ac:spMk id="13" creationId="{F265C43E-8E67-4E5B-927D-CDFB01B4FBBF}"/>
          </ac:spMkLst>
        </pc:spChg>
        <pc:spChg chg="add mod">
          <ac:chgData name="Renata Festa" userId="6f22df47-533b-4c2a-a3c1-7f9ad1d63e10" providerId="ADAL" clId="{7D997690-04A4-4675-83D7-2E1CC2ED1A4E}" dt="2020-03-24T13:54:28.962" v="1481" actId="1076"/>
          <ac:spMkLst>
            <pc:docMk/>
            <pc:sldMk cId="1325401877" sldId="603"/>
            <ac:spMk id="14" creationId="{38E70360-3435-4A07-AD6C-936C92DBB366}"/>
          </ac:spMkLst>
        </pc:spChg>
        <pc:spChg chg="add mod">
          <ac:chgData name="Renata Festa" userId="6f22df47-533b-4c2a-a3c1-7f9ad1d63e10" providerId="ADAL" clId="{7D997690-04A4-4675-83D7-2E1CC2ED1A4E}" dt="2020-03-24T13:54:28.962" v="1481" actId="1076"/>
          <ac:spMkLst>
            <pc:docMk/>
            <pc:sldMk cId="1325401877" sldId="603"/>
            <ac:spMk id="15" creationId="{65710656-D84B-4956-9016-EE85A13DDA01}"/>
          </ac:spMkLst>
        </pc:spChg>
        <pc:spChg chg="add mod">
          <ac:chgData name="Renata Festa" userId="6f22df47-533b-4c2a-a3c1-7f9ad1d63e10" providerId="ADAL" clId="{7D997690-04A4-4675-83D7-2E1CC2ED1A4E}" dt="2020-03-24T13:54:28.962" v="1481" actId="1076"/>
          <ac:spMkLst>
            <pc:docMk/>
            <pc:sldMk cId="1325401877" sldId="603"/>
            <ac:spMk id="16" creationId="{AB4B5C52-7EBD-4717-85B2-8268C06F2F36}"/>
          </ac:spMkLst>
        </pc:spChg>
        <pc:spChg chg="add mod">
          <ac:chgData name="Renata Festa" userId="6f22df47-533b-4c2a-a3c1-7f9ad1d63e10" providerId="ADAL" clId="{7D997690-04A4-4675-83D7-2E1CC2ED1A4E}" dt="2020-03-24T13:54:28.962" v="1481" actId="1076"/>
          <ac:spMkLst>
            <pc:docMk/>
            <pc:sldMk cId="1325401877" sldId="603"/>
            <ac:spMk id="17" creationId="{2F81B880-90D0-4DA4-8B02-92EC7143C668}"/>
          </ac:spMkLst>
        </pc:spChg>
        <pc:spChg chg="add mod">
          <ac:chgData name="Renata Festa" userId="6f22df47-533b-4c2a-a3c1-7f9ad1d63e10" providerId="ADAL" clId="{7D997690-04A4-4675-83D7-2E1CC2ED1A4E}" dt="2020-03-24T13:54:28.962" v="1481" actId="1076"/>
          <ac:spMkLst>
            <pc:docMk/>
            <pc:sldMk cId="1325401877" sldId="603"/>
            <ac:spMk id="18" creationId="{0F41DD3E-B765-4334-8B83-80D73D62527A}"/>
          </ac:spMkLst>
        </pc:spChg>
        <pc:spChg chg="add mod">
          <ac:chgData name="Renata Festa" userId="6f22df47-533b-4c2a-a3c1-7f9ad1d63e10" providerId="ADAL" clId="{7D997690-04A4-4675-83D7-2E1CC2ED1A4E}" dt="2020-03-24T13:54:28.962" v="1481" actId="1076"/>
          <ac:spMkLst>
            <pc:docMk/>
            <pc:sldMk cId="1325401877" sldId="603"/>
            <ac:spMk id="19" creationId="{5135456C-4B9F-4E02-89E5-8ABF1E939262}"/>
          </ac:spMkLst>
        </pc:spChg>
        <pc:spChg chg="add mod">
          <ac:chgData name="Renata Festa" userId="6f22df47-533b-4c2a-a3c1-7f9ad1d63e10" providerId="ADAL" clId="{7D997690-04A4-4675-83D7-2E1CC2ED1A4E}" dt="2020-03-24T13:54:28.962" v="1481" actId="1076"/>
          <ac:spMkLst>
            <pc:docMk/>
            <pc:sldMk cId="1325401877" sldId="603"/>
            <ac:spMk id="20" creationId="{23256AD9-0422-47B7-87B6-92233EAABAFE}"/>
          </ac:spMkLst>
        </pc:spChg>
        <pc:spChg chg="add mod">
          <ac:chgData name="Renata Festa" userId="6f22df47-533b-4c2a-a3c1-7f9ad1d63e10" providerId="ADAL" clId="{7D997690-04A4-4675-83D7-2E1CC2ED1A4E}" dt="2020-03-24T13:54:28.962" v="1481" actId="1076"/>
          <ac:spMkLst>
            <pc:docMk/>
            <pc:sldMk cId="1325401877" sldId="603"/>
            <ac:spMk id="21" creationId="{3D215608-93D4-44AE-9817-84F53984A3DA}"/>
          </ac:spMkLst>
        </pc:spChg>
        <pc:spChg chg="add mod">
          <ac:chgData name="Renata Festa" userId="6f22df47-533b-4c2a-a3c1-7f9ad1d63e10" providerId="ADAL" clId="{7D997690-04A4-4675-83D7-2E1CC2ED1A4E}" dt="2020-03-24T13:54:28.962" v="1481" actId="1076"/>
          <ac:spMkLst>
            <pc:docMk/>
            <pc:sldMk cId="1325401877" sldId="603"/>
            <ac:spMk id="22" creationId="{059184EC-D08A-42A2-AF36-79E0340C4201}"/>
          </ac:spMkLst>
        </pc:spChg>
        <pc:spChg chg="add mod">
          <ac:chgData name="Renata Festa" userId="6f22df47-533b-4c2a-a3c1-7f9ad1d63e10" providerId="ADAL" clId="{7D997690-04A4-4675-83D7-2E1CC2ED1A4E}" dt="2020-03-24T13:54:28.962" v="1481" actId="1076"/>
          <ac:spMkLst>
            <pc:docMk/>
            <pc:sldMk cId="1325401877" sldId="603"/>
            <ac:spMk id="23" creationId="{9EE4358B-605E-480C-8B13-621A70F3BACD}"/>
          </ac:spMkLst>
        </pc:spChg>
        <pc:spChg chg="add mod">
          <ac:chgData name="Renata Festa" userId="6f22df47-533b-4c2a-a3c1-7f9ad1d63e10" providerId="ADAL" clId="{7D997690-04A4-4675-83D7-2E1CC2ED1A4E}" dt="2020-03-24T13:54:28.962" v="1481" actId="1076"/>
          <ac:spMkLst>
            <pc:docMk/>
            <pc:sldMk cId="1325401877" sldId="603"/>
            <ac:spMk id="24" creationId="{7E90B0C9-403E-43F4-8F3A-795773250F8F}"/>
          </ac:spMkLst>
        </pc:spChg>
        <pc:spChg chg="add mod">
          <ac:chgData name="Renata Festa" userId="6f22df47-533b-4c2a-a3c1-7f9ad1d63e10" providerId="ADAL" clId="{7D997690-04A4-4675-83D7-2E1CC2ED1A4E}" dt="2020-03-24T13:54:28.962" v="1481" actId="1076"/>
          <ac:spMkLst>
            <pc:docMk/>
            <pc:sldMk cId="1325401877" sldId="603"/>
            <ac:spMk id="25" creationId="{77436987-59A7-4993-AC58-3BF070284454}"/>
          </ac:spMkLst>
        </pc:spChg>
        <pc:spChg chg="add mod">
          <ac:chgData name="Renata Festa" userId="6f22df47-533b-4c2a-a3c1-7f9ad1d63e10" providerId="ADAL" clId="{7D997690-04A4-4675-83D7-2E1CC2ED1A4E}" dt="2020-03-24T13:54:28.962" v="1481" actId="1076"/>
          <ac:spMkLst>
            <pc:docMk/>
            <pc:sldMk cId="1325401877" sldId="603"/>
            <ac:spMk id="26" creationId="{0B1B027D-F48D-4A71-9111-BF5C0382E5D1}"/>
          </ac:spMkLst>
        </pc:spChg>
        <pc:spChg chg="add mod">
          <ac:chgData name="Renata Festa" userId="6f22df47-533b-4c2a-a3c1-7f9ad1d63e10" providerId="ADAL" clId="{7D997690-04A4-4675-83D7-2E1CC2ED1A4E}" dt="2020-03-24T13:54:28.962" v="1481" actId="1076"/>
          <ac:spMkLst>
            <pc:docMk/>
            <pc:sldMk cId="1325401877" sldId="603"/>
            <ac:spMk id="27" creationId="{9845EA75-EF1E-4F47-9676-1EB006D7C685}"/>
          </ac:spMkLst>
        </pc:spChg>
        <pc:spChg chg="add mod">
          <ac:chgData name="Renata Festa" userId="6f22df47-533b-4c2a-a3c1-7f9ad1d63e10" providerId="ADAL" clId="{7D997690-04A4-4675-83D7-2E1CC2ED1A4E}" dt="2020-03-24T13:54:28.962" v="1481" actId="1076"/>
          <ac:spMkLst>
            <pc:docMk/>
            <pc:sldMk cId="1325401877" sldId="603"/>
            <ac:spMk id="28" creationId="{C12963C0-78B5-426C-B874-04A975F057F5}"/>
          </ac:spMkLst>
        </pc:spChg>
        <pc:spChg chg="add mod">
          <ac:chgData name="Renata Festa" userId="6f22df47-533b-4c2a-a3c1-7f9ad1d63e10" providerId="ADAL" clId="{7D997690-04A4-4675-83D7-2E1CC2ED1A4E}" dt="2020-03-24T13:54:28.962" v="1481" actId="1076"/>
          <ac:spMkLst>
            <pc:docMk/>
            <pc:sldMk cId="1325401877" sldId="603"/>
            <ac:spMk id="30" creationId="{62A0DFEF-CAF5-4B69-91A7-0C9F36F10C72}"/>
          </ac:spMkLst>
        </pc:spChg>
        <pc:spChg chg="add mod">
          <ac:chgData name="Renata Festa" userId="6f22df47-533b-4c2a-a3c1-7f9ad1d63e10" providerId="ADAL" clId="{7D997690-04A4-4675-83D7-2E1CC2ED1A4E}" dt="2020-03-24T13:54:28.962" v="1481" actId="1076"/>
          <ac:spMkLst>
            <pc:docMk/>
            <pc:sldMk cId="1325401877" sldId="603"/>
            <ac:spMk id="31" creationId="{9F8FF885-2B21-4F38-A46B-68717D9E9133}"/>
          </ac:spMkLst>
        </pc:spChg>
        <pc:spChg chg="add mod">
          <ac:chgData name="Renata Festa" userId="6f22df47-533b-4c2a-a3c1-7f9ad1d63e10" providerId="ADAL" clId="{7D997690-04A4-4675-83D7-2E1CC2ED1A4E}" dt="2020-03-24T13:54:28.962" v="1481" actId="1076"/>
          <ac:spMkLst>
            <pc:docMk/>
            <pc:sldMk cId="1325401877" sldId="603"/>
            <ac:spMk id="34" creationId="{4A3BB3B3-CE1F-40CD-853C-9D9E2600A4CF}"/>
          </ac:spMkLst>
        </pc:spChg>
        <pc:spChg chg="add mod">
          <ac:chgData name="Renata Festa" userId="6f22df47-533b-4c2a-a3c1-7f9ad1d63e10" providerId="ADAL" clId="{7D997690-04A4-4675-83D7-2E1CC2ED1A4E}" dt="2020-03-24T13:54:28.962" v="1481" actId="1076"/>
          <ac:spMkLst>
            <pc:docMk/>
            <pc:sldMk cId="1325401877" sldId="603"/>
            <ac:spMk id="35" creationId="{E041EB62-7084-4E93-B344-EB0F263D9907}"/>
          </ac:spMkLst>
        </pc:spChg>
        <pc:spChg chg="add mod">
          <ac:chgData name="Renata Festa" userId="6f22df47-533b-4c2a-a3c1-7f9ad1d63e10" providerId="ADAL" clId="{7D997690-04A4-4675-83D7-2E1CC2ED1A4E}" dt="2020-03-24T13:54:28.962" v="1481" actId="1076"/>
          <ac:spMkLst>
            <pc:docMk/>
            <pc:sldMk cId="1325401877" sldId="603"/>
            <ac:spMk id="37" creationId="{E84307DB-671B-4DE9-BB82-C1C6D95E3270}"/>
          </ac:spMkLst>
        </pc:spChg>
        <pc:spChg chg="add mod">
          <ac:chgData name="Renata Festa" userId="6f22df47-533b-4c2a-a3c1-7f9ad1d63e10" providerId="ADAL" clId="{7D997690-04A4-4675-83D7-2E1CC2ED1A4E}" dt="2020-03-24T13:54:28.962" v="1481" actId="1076"/>
          <ac:spMkLst>
            <pc:docMk/>
            <pc:sldMk cId="1325401877" sldId="603"/>
            <ac:spMk id="47" creationId="{A05E5924-F8EF-4B2C-A81D-7A361C9BB2EF}"/>
          </ac:spMkLst>
        </pc:spChg>
        <pc:spChg chg="add mod">
          <ac:chgData name="Renata Festa" userId="6f22df47-533b-4c2a-a3c1-7f9ad1d63e10" providerId="ADAL" clId="{7D997690-04A4-4675-83D7-2E1CC2ED1A4E}" dt="2020-03-24T13:54:28.962" v="1481" actId="1076"/>
          <ac:spMkLst>
            <pc:docMk/>
            <pc:sldMk cId="1325401877" sldId="603"/>
            <ac:spMk id="57" creationId="{5E757F12-C3E6-4C80-9095-9D3EBCDE9C74}"/>
          </ac:spMkLst>
        </pc:spChg>
        <pc:spChg chg="add mod">
          <ac:chgData name="Renata Festa" userId="6f22df47-533b-4c2a-a3c1-7f9ad1d63e10" providerId="ADAL" clId="{7D997690-04A4-4675-83D7-2E1CC2ED1A4E}" dt="2020-03-24T13:54:28.962" v="1481" actId="1076"/>
          <ac:spMkLst>
            <pc:docMk/>
            <pc:sldMk cId="1325401877" sldId="603"/>
            <ac:spMk id="67" creationId="{CF26A772-FFAD-4BD7-844A-B869D22538F0}"/>
          </ac:spMkLst>
        </pc:spChg>
        <pc:spChg chg="add mod">
          <ac:chgData name="Renata Festa" userId="6f22df47-533b-4c2a-a3c1-7f9ad1d63e10" providerId="ADAL" clId="{7D997690-04A4-4675-83D7-2E1CC2ED1A4E}" dt="2020-03-24T13:54:28.962" v="1481" actId="1076"/>
          <ac:spMkLst>
            <pc:docMk/>
            <pc:sldMk cId="1325401877" sldId="603"/>
            <ac:spMk id="68" creationId="{37DCD2CC-5D89-45F2-9108-726F0FADD435}"/>
          </ac:spMkLst>
        </pc:spChg>
        <pc:spChg chg="add mod">
          <ac:chgData name="Renata Festa" userId="6f22df47-533b-4c2a-a3c1-7f9ad1d63e10" providerId="ADAL" clId="{7D997690-04A4-4675-83D7-2E1CC2ED1A4E}" dt="2020-03-24T13:54:28.962" v="1481" actId="1076"/>
          <ac:spMkLst>
            <pc:docMk/>
            <pc:sldMk cId="1325401877" sldId="603"/>
            <ac:spMk id="69" creationId="{056E70A1-2695-4F83-A987-C7B972345B32}"/>
          </ac:spMkLst>
        </pc:spChg>
        <pc:spChg chg="add mod">
          <ac:chgData name="Renata Festa" userId="6f22df47-533b-4c2a-a3c1-7f9ad1d63e10" providerId="ADAL" clId="{7D997690-04A4-4675-83D7-2E1CC2ED1A4E}" dt="2020-03-24T13:54:28.962" v="1481" actId="1076"/>
          <ac:spMkLst>
            <pc:docMk/>
            <pc:sldMk cId="1325401877" sldId="603"/>
            <ac:spMk id="70" creationId="{91E846CC-E6ED-4E0C-9872-C71610541356}"/>
          </ac:spMkLst>
        </pc:spChg>
        <pc:spChg chg="add mod">
          <ac:chgData name="Renata Festa" userId="6f22df47-533b-4c2a-a3c1-7f9ad1d63e10" providerId="ADAL" clId="{7D997690-04A4-4675-83D7-2E1CC2ED1A4E}" dt="2020-03-24T13:54:28.962" v="1481" actId="1076"/>
          <ac:spMkLst>
            <pc:docMk/>
            <pc:sldMk cId="1325401877" sldId="603"/>
            <ac:spMk id="71" creationId="{45C7C50E-9BA0-46D8-B75A-A1F0F554DCCB}"/>
          </ac:spMkLst>
        </pc:spChg>
        <pc:spChg chg="add mod">
          <ac:chgData name="Renata Festa" userId="6f22df47-533b-4c2a-a3c1-7f9ad1d63e10" providerId="ADAL" clId="{7D997690-04A4-4675-83D7-2E1CC2ED1A4E}" dt="2020-03-24T13:54:28.962" v="1481" actId="1076"/>
          <ac:spMkLst>
            <pc:docMk/>
            <pc:sldMk cId="1325401877" sldId="603"/>
            <ac:spMk id="72" creationId="{CEC63C2C-8040-498D-B9DF-1CD346262708}"/>
          </ac:spMkLst>
        </pc:spChg>
        <pc:spChg chg="add mod">
          <ac:chgData name="Renata Festa" userId="6f22df47-533b-4c2a-a3c1-7f9ad1d63e10" providerId="ADAL" clId="{7D997690-04A4-4675-83D7-2E1CC2ED1A4E}" dt="2020-03-24T13:54:28.962" v="1481" actId="1076"/>
          <ac:spMkLst>
            <pc:docMk/>
            <pc:sldMk cId="1325401877" sldId="603"/>
            <ac:spMk id="73" creationId="{C978C4C3-4D58-4D54-9F28-A5DC55595774}"/>
          </ac:spMkLst>
        </pc:spChg>
        <pc:spChg chg="add mod">
          <ac:chgData name="Renata Festa" userId="6f22df47-533b-4c2a-a3c1-7f9ad1d63e10" providerId="ADAL" clId="{7D997690-04A4-4675-83D7-2E1CC2ED1A4E}" dt="2020-03-24T13:54:28.962" v="1481" actId="1076"/>
          <ac:spMkLst>
            <pc:docMk/>
            <pc:sldMk cId="1325401877" sldId="603"/>
            <ac:spMk id="74" creationId="{B3EA0F3B-DF42-4EDB-A33A-8B5A7A0533F1}"/>
          </ac:spMkLst>
        </pc:spChg>
        <pc:spChg chg="add mod">
          <ac:chgData name="Renata Festa" userId="6f22df47-533b-4c2a-a3c1-7f9ad1d63e10" providerId="ADAL" clId="{7D997690-04A4-4675-83D7-2E1CC2ED1A4E}" dt="2020-03-24T13:54:28.962" v="1481" actId="1076"/>
          <ac:spMkLst>
            <pc:docMk/>
            <pc:sldMk cId="1325401877" sldId="603"/>
            <ac:spMk id="75" creationId="{44C2E8F4-BBE9-43F9-A355-3DD61E1FD52B}"/>
          </ac:spMkLst>
        </pc:spChg>
        <pc:spChg chg="add mod">
          <ac:chgData name="Renata Festa" userId="6f22df47-533b-4c2a-a3c1-7f9ad1d63e10" providerId="ADAL" clId="{7D997690-04A4-4675-83D7-2E1CC2ED1A4E}" dt="2020-03-24T13:54:28.962" v="1481" actId="1076"/>
          <ac:spMkLst>
            <pc:docMk/>
            <pc:sldMk cId="1325401877" sldId="603"/>
            <ac:spMk id="81" creationId="{8C93C9FE-FC56-4241-83A5-F71588EBD60E}"/>
          </ac:spMkLst>
        </pc:spChg>
        <pc:spChg chg="add mod">
          <ac:chgData name="Renata Festa" userId="6f22df47-533b-4c2a-a3c1-7f9ad1d63e10" providerId="ADAL" clId="{7D997690-04A4-4675-83D7-2E1CC2ED1A4E}" dt="2020-03-24T13:54:28.962" v="1481" actId="1076"/>
          <ac:spMkLst>
            <pc:docMk/>
            <pc:sldMk cId="1325401877" sldId="603"/>
            <ac:spMk id="82" creationId="{93B2F1C1-3919-4A29-96C0-865A78EBF178}"/>
          </ac:spMkLst>
        </pc:spChg>
        <pc:spChg chg="add mod">
          <ac:chgData name="Renata Festa" userId="6f22df47-533b-4c2a-a3c1-7f9ad1d63e10" providerId="ADAL" clId="{7D997690-04A4-4675-83D7-2E1CC2ED1A4E}" dt="2020-03-24T13:54:28.962" v="1481" actId="1076"/>
          <ac:spMkLst>
            <pc:docMk/>
            <pc:sldMk cId="1325401877" sldId="603"/>
            <ac:spMk id="83" creationId="{39B43086-3427-411A-9151-1637F38AE0CD}"/>
          </ac:spMkLst>
        </pc:spChg>
        <pc:grpChg chg="add mod">
          <ac:chgData name="Renata Festa" userId="6f22df47-533b-4c2a-a3c1-7f9ad1d63e10" providerId="ADAL" clId="{7D997690-04A4-4675-83D7-2E1CC2ED1A4E}" dt="2020-03-24T13:54:28.962" v="1481" actId="1076"/>
          <ac:grpSpMkLst>
            <pc:docMk/>
            <pc:sldMk cId="1325401877" sldId="603"/>
            <ac:grpSpMk id="38" creationId="{B368C9CE-9D64-4789-8ED9-1206AEA6B4E6}"/>
          </ac:grpSpMkLst>
        </pc:grpChg>
        <pc:grpChg chg="mod">
          <ac:chgData name="Renata Festa" userId="6f22df47-533b-4c2a-a3c1-7f9ad1d63e10" providerId="ADAL" clId="{7D997690-04A4-4675-83D7-2E1CC2ED1A4E}" dt="2020-03-24T13:54:28.962" v="1481" actId="1076"/>
          <ac:grpSpMkLst>
            <pc:docMk/>
            <pc:sldMk cId="1325401877" sldId="603"/>
            <ac:grpSpMk id="39" creationId="{22A9F43A-EB52-486E-9115-DDCE1CA45208}"/>
          </ac:grpSpMkLst>
        </pc:grpChg>
        <pc:grpChg chg="mod">
          <ac:chgData name="Renata Festa" userId="6f22df47-533b-4c2a-a3c1-7f9ad1d63e10" providerId="ADAL" clId="{7D997690-04A4-4675-83D7-2E1CC2ED1A4E}" dt="2020-03-24T13:54:28.962" v="1481" actId="1076"/>
          <ac:grpSpMkLst>
            <pc:docMk/>
            <pc:sldMk cId="1325401877" sldId="603"/>
            <ac:grpSpMk id="40" creationId="{B98EE018-46C2-481C-887B-538FFB89EA3C}"/>
          </ac:grpSpMkLst>
        </pc:grpChg>
        <pc:grpChg chg="add mod">
          <ac:chgData name="Renata Festa" userId="6f22df47-533b-4c2a-a3c1-7f9ad1d63e10" providerId="ADAL" clId="{7D997690-04A4-4675-83D7-2E1CC2ED1A4E}" dt="2020-03-24T13:54:28.962" v="1481" actId="1076"/>
          <ac:grpSpMkLst>
            <pc:docMk/>
            <pc:sldMk cId="1325401877" sldId="603"/>
            <ac:grpSpMk id="48" creationId="{6E222174-A13F-406B-8AA7-99C2082896D4}"/>
          </ac:grpSpMkLst>
        </pc:grpChg>
        <pc:grpChg chg="mod">
          <ac:chgData name="Renata Festa" userId="6f22df47-533b-4c2a-a3c1-7f9ad1d63e10" providerId="ADAL" clId="{7D997690-04A4-4675-83D7-2E1CC2ED1A4E}" dt="2020-03-24T13:54:28.962" v="1481" actId="1076"/>
          <ac:grpSpMkLst>
            <pc:docMk/>
            <pc:sldMk cId="1325401877" sldId="603"/>
            <ac:grpSpMk id="49" creationId="{0E6BBB07-4367-4378-B615-7B7E7CA7B2FE}"/>
          </ac:grpSpMkLst>
        </pc:grpChg>
        <pc:grpChg chg="mod">
          <ac:chgData name="Renata Festa" userId="6f22df47-533b-4c2a-a3c1-7f9ad1d63e10" providerId="ADAL" clId="{7D997690-04A4-4675-83D7-2E1CC2ED1A4E}" dt="2020-03-24T13:54:28.962" v="1481" actId="1076"/>
          <ac:grpSpMkLst>
            <pc:docMk/>
            <pc:sldMk cId="1325401877" sldId="603"/>
            <ac:grpSpMk id="50" creationId="{3FD75DA6-5774-4B9A-9245-C1BB2BFE41FB}"/>
          </ac:grpSpMkLst>
        </pc:grpChg>
        <pc:grpChg chg="add mod">
          <ac:chgData name="Renata Festa" userId="6f22df47-533b-4c2a-a3c1-7f9ad1d63e10" providerId="ADAL" clId="{7D997690-04A4-4675-83D7-2E1CC2ED1A4E}" dt="2020-03-24T13:54:28.962" v="1481" actId="1076"/>
          <ac:grpSpMkLst>
            <pc:docMk/>
            <pc:sldMk cId="1325401877" sldId="603"/>
            <ac:grpSpMk id="58" creationId="{D20FC170-BB39-462C-9ECF-9E094BFA2DBB}"/>
          </ac:grpSpMkLst>
        </pc:grpChg>
        <pc:grpChg chg="mod">
          <ac:chgData name="Renata Festa" userId="6f22df47-533b-4c2a-a3c1-7f9ad1d63e10" providerId="ADAL" clId="{7D997690-04A4-4675-83D7-2E1CC2ED1A4E}" dt="2020-03-24T13:54:28.962" v="1481" actId="1076"/>
          <ac:grpSpMkLst>
            <pc:docMk/>
            <pc:sldMk cId="1325401877" sldId="603"/>
            <ac:grpSpMk id="59" creationId="{6C03D694-FE50-43BF-B6A9-C69C71D5E14E}"/>
          </ac:grpSpMkLst>
        </pc:grpChg>
        <pc:grpChg chg="mod">
          <ac:chgData name="Renata Festa" userId="6f22df47-533b-4c2a-a3c1-7f9ad1d63e10" providerId="ADAL" clId="{7D997690-04A4-4675-83D7-2E1CC2ED1A4E}" dt="2020-03-24T13:54:28.962" v="1481" actId="1076"/>
          <ac:grpSpMkLst>
            <pc:docMk/>
            <pc:sldMk cId="1325401877" sldId="603"/>
            <ac:grpSpMk id="60" creationId="{E605FFCD-7E29-4C27-BE55-79B05F7FAB57}"/>
          </ac:grpSpMkLst>
        </pc:grpChg>
        <pc:cxnChg chg="add mod">
          <ac:chgData name="Renata Festa" userId="6f22df47-533b-4c2a-a3c1-7f9ad1d63e10" providerId="ADAL" clId="{7D997690-04A4-4675-83D7-2E1CC2ED1A4E}" dt="2020-03-24T13:54:28.962" v="1481" actId="1076"/>
          <ac:cxnSpMkLst>
            <pc:docMk/>
            <pc:sldMk cId="1325401877" sldId="603"/>
            <ac:cxnSpMk id="29" creationId="{9B08B1BD-6E02-4DB9-8112-AFC0DA204567}"/>
          </ac:cxnSpMkLst>
        </pc:cxnChg>
        <pc:cxnChg chg="add mod">
          <ac:chgData name="Renata Festa" userId="6f22df47-533b-4c2a-a3c1-7f9ad1d63e10" providerId="ADAL" clId="{7D997690-04A4-4675-83D7-2E1CC2ED1A4E}" dt="2020-03-24T13:54:28.962" v="1481" actId="1076"/>
          <ac:cxnSpMkLst>
            <pc:docMk/>
            <pc:sldMk cId="1325401877" sldId="603"/>
            <ac:cxnSpMk id="32" creationId="{29241FB1-0BD4-45C3-9A56-28C56934D62A}"/>
          </ac:cxnSpMkLst>
        </pc:cxnChg>
        <pc:cxnChg chg="add mod">
          <ac:chgData name="Renata Festa" userId="6f22df47-533b-4c2a-a3c1-7f9ad1d63e10" providerId="ADAL" clId="{7D997690-04A4-4675-83D7-2E1CC2ED1A4E}" dt="2020-03-24T13:54:28.962" v="1481" actId="1076"/>
          <ac:cxnSpMkLst>
            <pc:docMk/>
            <pc:sldMk cId="1325401877" sldId="603"/>
            <ac:cxnSpMk id="33" creationId="{53430CC1-FFDD-49FB-87F1-26ABC3FA002C}"/>
          </ac:cxnSpMkLst>
        </pc:cxnChg>
        <pc:cxnChg chg="add mod">
          <ac:chgData name="Renata Festa" userId="6f22df47-533b-4c2a-a3c1-7f9ad1d63e10" providerId="ADAL" clId="{7D997690-04A4-4675-83D7-2E1CC2ED1A4E}" dt="2020-03-24T13:54:28.962" v="1481" actId="1076"/>
          <ac:cxnSpMkLst>
            <pc:docMk/>
            <pc:sldMk cId="1325401877" sldId="603"/>
            <ac:cxnSpMk id="36" creationId="{5188E421-087D-45EB-983A-87D5BA1952F1}"/>
          </ac:cxnSpMkLst>
        </pc:cxnChg>
        <pc:cxnChg chg="add mod">
          <ac:chgData name="Renata Festa" userId="6f22df47-533b-4c2a-a3c1-7f9ad1d63e10" providerId="ADAL" clId="{7D997690-04A4-4675-83D7-2E1CC2ED1A4E}" dt="2020-03-24T13:54:28.962" v="1481" actId="1076"/>
          <ac:cxnSpMkLst>
            <pc:docMk/>
            <pc:sldMk cId="1325401877" sldId="603"/>
            <ac:cxnSpMk id="76" creationId="{AE84E1C4-EFD2-482C-B9DC-A8CDA5FC7E4D}"/>
          </ac:cxnSpMkLst>
        </pc:cxnChg>
        <pc:cxnChg chg="add mod">
          <ac:chgData name="Renata Festa" userId="6f22df47-533b-4c2a-a3c1-7f9ad1d63e10" providerId="ADAL" clId="{7D997690-04A4-4675-83D7-2E1CC2ED1A4E}" dt="2020-03-24T13:54:28.962" v="1481" actId="1076"/>
          <ac:cxnSpMkLst>
            <pc:docMk/>
            <pc:sldMk cId="1325401877" sldId="603"/>
            <ac:cxnSpMk id="77" creationId="{16306304-5F17-40F7-AAC3-FACE9DED54F5}"/>
          </ac:cxnSpMkLst>
        </pc:cxnChg>
        <pc:cxnChg chg="add mod">
          <ac:chgData name="Renata Festa" userId="6f22df47-533b-4c2a-a3c1-7f9ad1d63e10" providerId="ADAL" clId="{7D997690-04A4-4675-83D7-2E1CC2ED1A4E}" dt="2020-03-24T13:54:28.962" v="1481" actId="1076"/>
          <ac:cxnSpMkLst>
            <pc:docMk/>
            <pc:sldMk cId="1325401877" sldId="603"/>
            <ac:cxnSpMk id="78" creationId="{EE2738B9-4D21-402E-9EC4-EC3EBE58595D}"/>
          </ac:cxnSpMkLst>
        </pc:cxnChg>
        <pc:cxnChg chg="add mod">
          <ac:chgData name="Renata Festa" userId="6f22df47-533b-4c2a-a3c1-7f9ad1d63e10" providerId="ADAL" clId="{7D997690-04A4-4675-83D7-2E1CC2ED1A4E}" dt="2020-03-24T13:54:28.962" v="1481" actId="1076"/>
          <ac:cxnSpMkLst>
            <pc:docMk/>
            <pc:sldMk cId="1325401877" sldId="603"/>
            <ac:cxnSpMk id="79" creationId="{99CC4B54-12AC-4936-9D19-68D93A6300A6}"/>
          </ac:cxnSpMkLst>
        </pc:cxnChg>
        <pc:cxnChg chg="add mod">
          <ac:chgData name="Renata Festa" userId="6f22df47-533b-4c2a-a3c1-7f9ad1d63e10" providerId="ADAL" clId="{7D997690-04A4-4675-83D7-2E1CC2ED1A4E}" dt="2020-03-24T13:54:28.962" v="1481" actId="1076"/>
          <ac:cxnSpMkLst>
            <pc:docMk/>
            <pc:sldMk cId="1325401877" sldId="603"/>
            <ac:cxnSpMk id="80" creationId="{18843C6E-1EC5-4EBE-969D-9945A41D0548}"/>
          </ac:cxnSpMkLst>
        </pc:cxnChg>
        <pc:cxnChg chg="add mod">
          <ac:chgData name="Renata Festa" userId="6f22df47-533b-4c2a-a3c1-7f9ad1d63e10" providerId="ADAL" clId="{7D997690-04A4-4675-83D7-2E1CC2ED1A4E}" dt="2020-03-24T13:54:28.962" v="1481" actId="1076"/>
          <ac:cxnSpMkLst>
            <pc:docMk/>
            <pc:sldMk cId="1325401877" sldId="603"/>
            <ac:cxnSpMk id="84" creationId="{973DF5BF-73D8-456A-A83D-A979DCEFF1B0}"/>
          </ac:cxnSpMkLst>
        </pc:cxnChg>
        <pc:cxnChg chg="add mod">
          <ac:chgData name="Renata Festa" userId="6f22df47-533b-4c2a-a3c1-7f9ad1d63e10" providerId="ADAL" clId="{7D997690-04A4-4675-83D7-2E1CC2ED1A4E}" dt="2020-03-24T13:54:28.962" v="1481" actId="1076"/>
          <ac:cxnSpMkLst>
            <pc:docMk/>
            <pc:sldMk cId="1325401877" sldId="603"/>
            <ac:cxnSpMk id="85" creationId="{FAB4B12F-C24D-48D6-8BD5-93153B75DB1E}"/>
          </ac:cxnSpMkLst>
        </pc:cxnChg>
        <pc:cxnChg chg="add mod">
          <ac:chgData name="Renata Festa" userId="6f22df47-533b-4c2a-a3c1-7f9ad1d63e10" providerId="ADAL" clId="{7D997690-04A4-4675-83D7-2E1CC2ED1A4E}" dt="2020-03-24T13:54:28.962" v="1481" actId="1076"/>
          <ac:cxnSpMkLst>
            <pc:docMk/>
            <pc:sldMk cId="1325401877" sldId="603"/>
            <ac:cxnSpMk id="86" creationId="{FCD68758-DF9A-4AF7-AF46-5460794AC0F0}"/>
          </ac:cxnSpMkLst>
        </pc:cxnChg>
      </pc:sldChg>
      <pc:sldChg chg="modSp add del mod">
        <pc:chgData name="Renata Festa" userId="6f22df47-533b-4c2a-a3c1-7f9ad1d63e10" providerId="ADAL" clId="{7D997690-04A4-4675-83D7-2E1CC2ED1A4E}" dt="2020-03-24T12:55:12.998" v="1301" actId="47"/>
        <pc:sldMkLst>
          <pc:docMk/>
          <pc:sldMk cId="4006458607" sldId="4402"/>
        </pc:sldMkLst>
        <pc:graphicFrameChg chg="modGraphic">
          <ac:chgData name="Renata Festa" userId="6f22df47-533b-4c2a-a3c1-7f9ad1d63e10" providerId="ADAL" clId="{7D997690-04A4-4675-83D7-2E1CC2ED1A4E}" dt="2020-03-24T12:52:43.006" v="1277" actId="14734"/>
          <ac:graphicFrameMkLst>
            <pc:docMk/>
            <pc:sldMk cId="4006458607" sldId="4402"/>
            <ac:graphicFrameMk id="3" creationId="{F7E4DCAE-91A3-4F8C-89B4-D34A195D4CC4}"/>
          </ac:graphicFrameMkLst>
        </pc:graphicFrameChg>
      </pc:sldChg>
      <pc:sldChg chg="addSp delSp modSp add del">
        <pc:chgData name="Renata Festa" userId="6f22df47-533b-4c2a-a3c1-7f9ad1d63e10" providerId="ADAL" clId="{7D997690-04A4-4675-83D7-2E1CC2ED1A4E}" dt="2020-03-24T12:48:02.544" v="1213" actId="47"/>
        <pc:sldMkLst>
          <pc:docMk/>
          <pc:sldMk cId="907845345" sldId="4404"/>
        </pc:sldMkLst>
        <pc:spChg chg="add del mod">
          <ac:chgData name="Renata Festa" userId="6f22df47-533b-4c2a-a3c1-7f9ad1d63e10" providerId="ADAL" clId="{7D997690-04A4-4675-83D7-2E1CC2ED1A4E}" dt="2020-03-24T12:43:41.469" v="1161"/>
          <ac:spMkLst>
            <pc:docMk/>
            <pc:sldMk cId="907845345" sldId="4404"/>
            <ac:spMk id="4" creationId="{C825D92A-845A-4D2A-ABD0-7825948E8895}"/>
          </ac:spMkLst>
        </pc:spChg>
        <pc:spChg chg="add del mod">
          <ac:chgData name="Renata Festa" userId="6f22df47-533b-4c2a-a3c1-7f9ad1d63e10" providerId="ADAL" clId="{7D997690-04A4-4675-83D7-2E1CC2ED1A4E}" dt="2020-03-24T12:43:41.469" v="1161"/>
          <ac:spMkLst>
            <pc:docMk/>
            <pc:sldMk cId="907845345" sldId="4404"/>
            <ac:spMk id="5" creationId="{1679DC30-384D-4A3C-8A40-D7D956979E44}"/>
          </ac:spMkLst>
        </pc:spChg>
        <pc:graphicFrameChg chg="del">
          <ac:chgData name="Renata Festa" userId="6f22df47-533b-4c2a-a3c1-7f9ad1d63e10" providerId="ADAL" clId="{7D997690-04A4-4675-83D7-2E1CC2ED1A4E}" dt="2020-03-24T12:45:22.197" v="1188"/>
          <ac:graphicFrameMkLst>
            <pc:docMk/>
            <pc:sldMk cId="907845345" sldId="4404"/>
            <ac:graphicFrameMk id="3" creationId="{F7E4DCAE-91A3-4F8C-89B4-D34A195D4CC4}"/>
          </ac:graphicFrameMkLst>
        </pc:graphicFrameChg>
      </pc:sldChg>
      <pc:sldChg chg="addSp delSp modSp add mod modTransition">
        <pc:chgData name="Renata Festa" userId="6f22df47-533b-4c2a-a3c1-7f9ad1d63e10" providerId="ADAL" clId="{7D997690-04A4-4675-83D7-2E1CC2ED1A4E}" dt="2020-03-27T17:19:31.183" v="4980" actId="20577"/>
        <pc:sldMkLst>
          <pc:docMk/>
          <pc:sldMk cId="428745910" sldId="2076136571"/>
        </pc:sldMkLst>
        <pc:spChg chg="mod">
          <ac:chgData name="Renata Festa" userId="6f22df47-533b-4c2a-a3c1-7f9ad1d63e10" providerId="ADAL" clId="{7D997690-04A4-4675-83D7-2E1CC2ED1A4E}" dt="2020-03-24T12:36:36.870" v="1065" actId="108"/>
          <ac:spMkLst>
            <pc:docMk/>
            <pc:sldMk cId="428745910" sldId="2076136571"/>
            <ac:spMk id="2" creationId="{277EC0F6-B31A-411D-BBA7-EF213F312CBB}"/>
          </ac:spMkLst>
        </pc:spChg>
        <pc:spChg chg="del mod">
          <ac:chgData name="Renata Festa" userId="6f22df47-533b-4c2a-a3c1-7f9ad1d63e10" providerId="ADAL" clId="{7D997690-04A4-4675-83D7-2E1CC2ED1A4E}" dt="2020-03-24T12:36:46.766" v="1066" actId="478"/>
          <ac:spMkLst>
            <pc:docMk/>
            <pc:sldMk cId="428745910" sldId="2076136571"/>
            <ac:spMk id="3" creationId="{F2BFFA7A-008F-4085-88AE-E1D7EBCB4679}"/>
          </ac:spMkLst>
        </pc:spChg>
        <pc:spChg chg="add del mod">
          <ac:chgData name="Renata Festa" userId="6f22df47-533b-4c2a-a3c1-7f9ad1d63e10" providerId="ADAL" clId="{7D997690-04A4-4675-83D7-2E1CC2ED1A4E}" dt="2020-03-24T12:36:48.168" v="1067" actId="478"/>
          <ac:spMkLst>
            <pc:docMk/>
            <pc:sldMk cId="428745910" sldId="2076136571"/>
            <ac:spMk id="6" creationId="{C21DD54D-4277-45BE-8F14-E953689B44D1}"/>
          </ac:spMkLst>
        </pc:spChg>
        <pc:spChg chg="del">
          <ac:chgData name="Renata Festa" userId="6f22df47-533b-4c2a-a3c1-7f9ad1d63e10" providerId="ADAL" clId="{7D997690-04A4-4675-83D7-2E1CC2ED1A4E}" dt="2020-03-24T12:38:23.055" v="1074" actId="478"/>
          <ac:spMkLst>
            <pc:docMk/>
            <pc:sldMk cId="428745910" sldId="2076136571"/>
            <ac:spMk id="13" creationId="{30810C71-C65E-415A-9FE2-C0BB608D51C6}"/>
          </ac:spMkLst>
        </pc:spChg>
        <pc:spChg chg="add del">
          <ac:chgData name="Renata Festa" userId="6f22df47-533b-4c2a-a3c1-7f9ad1d63e10" providerId="ADAL" clId="{7D997690-04A4-4675-83D7-2E1CC2ED1A4E}" dt="2020-03-24T12:38:38.267" v="1075" actId="12084"/>
          <ac:spMkLst>
            <pc:docMk/>
            <pc:sldMk cId="428745910" sldId="2076136571"/>
            <ac:spMk id="15" creationId="{DF87D991-EDC5-44DD-807A-6825A4B5AE94}"/>
          </ac:spMkLst>
        </pc:spChg>
        <pc:spChg chg="del">
          <ac:chgData name="Renata Festa" userId="6f22df47-533b-4c2a-a3c1-7f9ad1d63e10" providerId="ADAL" clId="{7D997690-04A4-4675-83D7-2E1CC2ED1A4E}" dt="2020-03-24T12:38:04.375" v="1071" actId="478"/>
          <ac:spMkLst>
            <pc:docMk/>
            <pc:sldMk cId="428745910" sldId="2076136571"/>
            <ac:spMk id="18" creationId="{8CE34CF4-C4B4-4A18-88EB-8C1C9AD175BD}"/>
          </ac:spMkLst>
        </pc:spChg>
        <pc:grpChg chg="del">
          <ac:chgData name="Renata Festa" userId="6f22df47-533b-4c2a-a3c1-7f9ad1d63e10" providerId="ADAL" clId="{7D997690-04A4-4675-83D7-2E1CC2ED1A4E}" dt="2020-03-24T12:38:21.561" v="1073" actId="478"/>
          <ac:grpSpMkLst>
            <pc:docMk/>
            <pc:sldMk cId="428745910" sldId="2076136571"/>
            <ac:grpSpMk id="19" creationId="{85AC5BB8-000D-4371-A92D-2217B5C4FDDA}"/>
          </ac:grpSpMkLst>
        </pc:grpChg>
        <pc:grpChg chg="del">
          <ac:chgData name="Renata Festa" userId="6f22df47-533b-4c2a-a3c1-7f9ad1d63e10" providerId="ADAL" clId="{7D997690-04A4-4675-83D7-2E1CC2ED1A4E}" dt="2020-03-24T12:38:07.712" v="1072" actId="478"/>
          <ac:grpSpMkLst>
            <pc:docMk/>
            <pc:sldMk cId="428745910" sldId="2076136571"/>
            <ac:grpSpMk id="22" creationId="{DCA2A26E-1F83-4CFA-AE0C-32AAB76AAF14}"/>
          </ac:grpSpMkLst>
        </pc:grpChg>
        <pc:graphicFrameChg chg="del">
          <ac:chgData name="Renata Festa" userId="6f22df47-533b-4c2a-a3c1-7f9ad1d63e10" providerId="ADAL" clId="{7D997690-04A4-4675-83D7-2E1CC2ED1A4E}" dt="2020-03-24T12:38:02.248" v="1070" actId="478"/>
          <ac:graphicFrameMkLst>
            <pc:docMk/>
            <pc:sldMk cId="428745910" sldId="2076136571"/>
            <ac:graphicFrameMk id="5" creationId="{1118B543-8A76-41B7-96E3-4FB4D3F747C3}"/>
          </ac:graphicFrameMkLst>
        </pc:graphicFrameChg>
        <pc:graphicFrameChg chg="add mod">
          <ac:chgData name="Renata Festa" userId="6f22df47-533b-4c2a-a3c1-7f9ad1d63e10" providerId="ADAL" clId="{7D997690-04A4-4675-83D7-2E1CC2ED1A4E}" dt="2020-03-27T17:19:31.183" v="4980" actId="20577"/>
          <ac:graphicFrameMkLst>
            <pc:docMk/>
            <pc:sldMk cId="428745910" sldId="2076136571"/>
            <ac:graphicFrameMk id="7" creationId="{06FC3312-3751-49D5-9529-688AF08D3398}"/>
          </ac:graphicFrameMkLst>
        </pc:graphicFrameChg>
      </pc:sldChg>
      <pc:sldChg chg="add del">
        <pc:chgData name="Renata Festa" userId="6f22df47-533b-4c2a-a3c1-7f9ad1d63e10" providerId="ADAL" clId="{7D997690-04A4-4675-83D7-2E1CC2ED1A4E}" dt="2020-03-24T12:57:38.212" v="1331" actId="47"/>
        <pc:sldMkLst>
          <pc:docMk/>
          <pc:sldMk cId="3419317640" sldId="2076136583"/>
        </pc:sldMkLst>
      </pc:sldChg>
      <pc:sldChg chg="addSp delSp modSp add mod">
        <pc:chgData name="Renata Festa" userId="6f22df47-533b-4c2a-a3c1-7f9ad1d63e10" providerId="ADAL" clId="{7D997690-04A4-4675-83D7-2E1CC2ED1A4E}" dt="2020-03-23T23:58:07.427" v="685" actId="1076"/>
        <pc:sldMkLst>
          <pc:docMk/>
          <pc:sldMk cId="4139485802" sldId="2076136636"/>
        </pc:sldMkLst>
        <pc:spChg chg="del">
          <ac:chgData name="Renata Festa" userId="6f22df47-533b-4c2a-a3c1-7f9ad1d63e10" providerId="ADAL" clId="{7D997690-04A4-4675-83D7-2E1CC2ED1A4E}" dt="2020-03-23T23:54:50.139" v="660" actId="478"/>
          <ac:spMkLst>
            <pc:docMk/>
            <pc:sldMk cId="4139485802" sldId="2076136636"/>
            <ac:spMk id="3" creationId="{DF0E8C89-EF85-403D-B0E5-C582519FD913}"/>
          </ac:spMkLst>
        </pc:spChg>
        <pc:spChg chg="add del mod">
          <ac:chgData name="Renata Festa" userId="6f22df47-533b-4c2a-a3c1-7f9ad1d63e10" providerId="ADAL" clId="{7D997690-04A4-4675-83D7-2E1CC2ED1A4E}" dt="2020-03-23T23:54:54.906" v="663"/>
          <ac:spMkLst>
            <pc:docMk/>
            <pc:sldMk cId="4139485802" sldId="2076136636"/>
            <ac:spMk id="4" creationId="{7AB83B0A-7D85-454B-B74A-2E23003F7159}"/>
          </ac:spMkLst>
        </pc:spChg>
        <pc:spChg chg="mod">
          <ac:chgData name="Renata Festa" userId="6f22df47-533b-4c2a-a3c1-7f9ad1d63e10" providerId="ADAL" clId="{7D997690-04A4-4675-83D7-2E1CC2ED1A4E}" dt="2020-03-23T23:57:04.105" v="677" actId="1076"/>
          <ac:spMkLst>
            <pc:docMk/>
            <pc:sldMk cId="4139485802" sldId="2076136636"/>
            <ac:spMk id="5" creationId="{A04AAEE3-EE01-4B1C-8DD8-2A42A55D7AC3}"/>
          </ac:spMkLst>
        </pc:spChg>
        <pc:spChg chg="mod">
          <ac:chgData name="Renata Festa" userId="6f22df47-533b-4c2a-a3c1-7f9ad1d63e10" providerId="ADAL" clId="{7D997690-04A4-4675-83D7-2E1CC2ED1A4E}" dt="2020-03-23T23:56:07.911" v="669" actId="1076"/>
          <ac:spMkLst>
            <pc:docMk/>
            <pc:sldMk cId="4139485802" sldId="2076136636"/>
            <ac:spMk id="6" creationId="{72FD3F85-2A87-42EA-BBFF-490B0EAA2DDF}"/>
          </ac:spMkLst>
        </pc:spChg>
        <pc:spChg chg="mod">
          <ac:chgData name="Renata Festa" userId="6f22df47-533b-4c2a-a3c1-7f9ad1d63e10" providerId="ADAL" clId="{7D997690-04A4-4675-83D7-2E1CC2ED1A4E}" dt="2020-03-23T23:57:21.412" v="679" actId="1076"/>
          <ac:spMkLst>
            <pc:docMk/>
            <pc:sldMk cId="4139485802" sldId="2076136636"/>
            <ac:spMk id="7" creationId="{8C977923-9A27-4145-AAD7-63FC82BE4CB4}"/>
          </ac:spMkLst>
        </pc:spChg>
        <pc:spChg chg="mod">
          <ac:chgData name="Renata Festa" userId="6f22df47-533b-4c2a-a3c1-7f9ad1d63e10" providerId="ADAL" clId="{7D997690-04A4-4675-83D7-2E1CC2ED1A4E}" dt="2020-03-23T23:57:09.305" v="678" actId="1076"/>
          <ac:spMkLst>
            <pc:docMk/>
            <pc:sldMk cId="4139485802" sldId="2076136636"/>
            <ac:spMk id="8" creationId="{1937399E-F9E4-4E56-9FBE-F7893D87D795}"/>
          </ac:spMkLst>
        </pc:spChg>
        <pc:spChg chg="mod">
          <ac:chgData name="Renata Festa" userId="6f22df47-533b-4c2a-a3c1-7f9ad1d63e10" providerId="ADAL" clId="{7D997690-04A4-4675-83D7-2E1CC2ED1A4E}" dt="2020-03-23T23:57:58.850" v="683" actId="1076"/>
          <ac:spMkLst>
            <pc:docMk/>
            <pc:sldMk cId="4139485802" sldId="2076136636"/>
            <ac:spMk id="9" creationId="{36E3E0F1-2F90-46BC-BF70-0E7231B44F7C}"/>
          </ac:spMkLst>
        </pc:spChg>
        <pc:spChg chg="mod">
          <ac:chgData name="Renata Festa" userId="6f22df47-533b-4c2a-a3c1-7f9ad1d63e10" providerId="ADAL" clId="{7D997690-04A4-4675-83D7-2E1CC2ED1A4E}" dt="2020-03-23T23:57:49.070" v="682" actId="1076"/>
          <ac:spMkLst>
            <pc:docMk/>
            <pc:sldMk cId="4139485802" sldId="2076136636"/>
            <ac:spMk id="10" creationId="{F4D73C3E-7D8A-4657-94AB-BACB4944E095}"/>
          </ac:spMkLst>
        </pc:spChg>
        <pc:spChg chg="mod">
          <ac:chgData name="Renata Festa" userId="6f22df47-533b-4c2a-a3c1-7f9ad1d63e10" providerId="ADAL" clId="{7D997690-04A4-4675-83D7-2E1CC2ED1A4E}" dt="2020-03-23T23:58:01.898" v="684" actId="1076"/>
          <ac:spMkLst>
            <pc:docMk/>
            <pc:sldMk cId="4139485802" sldId="2076136636"/>
            <ac:spMk id="11" creationId="{360C4140-7975-4122-B566-D31439099E4F}"/>
          </ac:spMkLst>
        </pc:spChg>
        <pc:spChg chg="add del">
          <ac:chgData name="Renata Festa" userId="6f22df47-533b-4c2a-a3c1-7f9ad1d63e10" providerId="ADAL" clId="{7D997690-04A4-4675-83D7-2E1CC2ED1A4E}" dt="2020-03-23T23:54:48.253" v="659"/>
          <ac:spMkLst>
            <pc:docMk/>
            <pc:sldMk cId="4139485802" sldId="2076136636"/>
            <ac:spMk id="12" creationId="{5E81AD8E-B8B3-4183-BCA7-392ADA0C2330}"/>
          </ac:spMkLst>
        </pc:spChg>
        <pc:spChg chg="mod">
          <ac:chgData name="Renata Festa" userId="6f22df47-533b-4c2a-a3c1-7f9ad1d63e10" providerId="ADAL" clId="{7D997690-04A4-4675-83D7-2E1CC2ED1A4E}" dt="2020-03-23T23:58:07.427" v="685" actId="1076"/>
          <ac:spMkLst>
            <pc:docMk/>
            <pc:sldMk cId="4139485802" sldId="2076136636"/>
            <ac:spMk id="13" creationId="{561B424C-EADA-4732-981C-47623685A634}"/>
          </ac:spMkLst>
        </pc:spChg>
        <pc:spChg chg="add del">
          <ac:chgData name="Renata Festa" userId="6f22df47-533b-4c2a-a3c1-7f9ad1d63e10" providerId="ADAL" clId="{7D997690-04A4-4675-83D7-2E1CC2ED1A4E}" dt="2020-03-23T23:54:51.593" v="662"/>
          <ac:spMkLst>
            <pc:docMk/>
            <pc:sldMk cId="4139485802" sldId="2076136636"/>
            <ac:spMk id="15" creationId="{E360FB81-BE2F-4568-8795-EB92304BBA35}"/>
          </ac:spMkLst>
        </pc:spChg>
        <pc:spChg chg="add mod">
          <ac:chgData name="Renata Festa" userId="6f22df47-533b-4c2a-a3c1-7f9ad1d63e10" providerId="ADAL" clId="{7D997690-04A4-4675-83D7-2E1CC2ED1A4E}" dt="2020-03-23T23:56:10.073" v="670" actId="404"/>
          <ac:spMkLst>
            <pc:docMk/>
            <pc:sldMk cId="4139485802" sldId="2076136636"/>
            <ac:spMk id="16" creationId="{4B7B82A7-A77E-4CD4-BCDA-38DF1AC60F9C}"/>
          </ac:spMkLst>
        </pc:spChg>
        <pc:graphicFrameChg chg="mod">
          <ac:chgData name="Renata Festa" userId="6f22df47-533b-4c2a-a3c1-7f9ad1d63e10" providerId="ADAL" clId="{7D997690-04A4-4675-83D7-2E1CC2ED1A4E}" dt="2020-03-23T23:56:07.911" v="669" actId="1076"/>
          <ac:graphicFrameMkLst>
            <pc:docMk/>
            <pc:sldMk cId="4139485802" sldId="2076136636"/>
            <ac:graphicFrameMk id="23" creationId="{B0DE46E9-B9D5-4510-A31A-1FBA0F0F23A2}"/>
          </ac:graphicFrameMkLst>
        </pc:graphicFrameChg>
        <pc:picChg chg="del mod">
          <ac:chgData name="Renata Festa" userId="6f22df47-533b-4c2a-a3c1-7f9ad1d63e10" providerId="ADAL" clId="{7D997690-04A4-4675-83D7-2E1CC2ED1A4E}" dt="2020-03-23T23:55:47.955" v="668" actId="27803"/>
          <ac:picMkLst>
            <pc:docMk/>
            <pc:sldMk cId="4139485802" sldId="2076136636"/>
            <ac:picMk id="26" creationId="{A04AAEE3-EE01-4B1C-8DD8-2A42A55D7AC3}"/>
          </ac:picMkLst>
        </pc:picChg>
        <pc:picChg chg="del mod">
          <ac:chgData name="Renata Festa" userId="6f22df47-533b-4c2a-a3c1-7f9ad1d63e10" providerId="ADAL" clId="{7D997690-04A4-4675-83D7-2E1CC2ED1A4E}" dt="2020-03-23T23:55:47.955" v="668" actId="27803"/>
          <ac:picMkLst>
            <pc:docMk/>
            <pc:sldMk cId="4139485802" sldId="2076136636"/>
            <ac:picMk id="28" creationId="{72FD3F85-2A87-42EA-BBFF-490B0EAA2DDF}"/>
          </ac:picMkLst>
        </pc:picChg>
        <pc:picChg chg="del mod">
          <ac:chgData name="Renata Festa" userId="6f22df47-533b-4c2a-a3c1-7f9ad1d63e10" providerId="ADAL" clId="{7D997690-04A4-4675-83D7-2E1CC2ED1A4E}" dt="2020-03-23T23:55:47.955" v="668" actId="27803"/>
          <ac:picMkLst>
            <pc:docMk/>
            <pc:sldMk cId="4139485802" sldId="2076136636"/>
            <ac:picMk id="29" creationId="{8C977923-9A27-4145-AAD7-63FC82BE4CB4}"/>
          </ac:picMkLst>
        </pc:picChg>
        <pc:picChg chg="del mod">
          <ac:chgData name="Renata Festa" userId="6f22df47-533b-4c2a-a3c1-7f9ad1d63e10" providerId="ADAL" clId="{7D997690-04A4-4675-83D7-2E1CC2ED1A4E}" dt="2020-03-23T23:55:47.955" v="668" actId="27803"/>
          <ac:picMkLst>
            <pc:docMk/>
            <pc:sldMk cId="4139485802" sldId="2076136636"/>
            <ac:picMk id="30" creationId="{1937399E-F9E4-4E56-9FBE-F7893D87D795}"/>
          </ac:picMkLst>
        </pc:picChg>
        <pc:picChg chg="del mod">
          <ac:chgData name="Renata Festa" userId="6f22df47-533b-4c2a-a3c1-7f9ad1d63e10" providerId="ADAL" clId="{7D997690-04A4-4675-83D7-2E1CC2ED1A4E}" dt="2020-03-23T23:55:47.955" v="668" actId="27803"/>
          <ac:picMkLst>
            <pc:docMk/>
            <pc:sldMk cId="4139485802" sldId="2076136636"/>
            <ac:picMk id="31" creationId="{36E3E0F1-2F90-46BC-BF70-0E7231B44F7C}"/>
          </ac:picMkLst>
        </pc:picChg>
        <pc:picChg chg="del mod">
          <ac:chgData name="Renata Festa" userId="6f22df47-533b-4c2a-a3c1-7f9ad1d63e10" providerId="ADAL" clId="{7D997690-04A4-4675-83D7-2E1CC2ED1A4E}" dt="2020-03-23T23:55:47.955" v="668" actId="27803"/>
          <ac:picMkLst>
            <pc:docMk/>
            <pc:sldMk cId="4139485802" sldId="2076136636"/>
            <ac:picMk id="32" creationId="{F4D73C3E-7D8A-4657-94AB-BACB4944E095}"/>
          </ac:picMkLst>
        </pc:picChg>
        <pc:picChg chg="del mod">
          <ac:chgData name="Renata Festa" userId="6f22df47-533b-4c2a-a3c1-7f9ad1d63e10" providerId="ADAL" clId="{7D997690-04A4-4675-83D7-2E1CC2ED1A4E}" dt="2020-03-23T23:55:47.955" v="668" actId="27803"/>
          <ac:picMkLst>
            <pc:docMk/>
            <pc:sldMk cId="4139485802" sldId="2076136636"/>
            <ac:picMk id="33" creationId="{360C4140-7975-4122-B566-D31439099E4F}"/>
          </ac:picMkLst>
        </pc:picChg>
        <pc:picChg chg="del mod">
          <ac:chgData name="Renata Festa" userId="6f22df47-533b-4c2a-a3c1-7f9ad1d63e10" providerId="ADAL" clId="{7D997690-04A4-4675-83D7-2E1CC2ED1A4E}" dt="2020-03-23T23:55:47.955" v="668" actId="27803"/>
          <ac:picMkLst>
            <pc:docMk/>
            <pc:sldMk cId="4139485802" sldId="2076136636"/>
            <ac:picMk id="34" creationId="{561B424C-EADA-4732-981C-47623685A634}"/>
          </ac:picMkLst>
        </pc:picChg>
      </pc:sldChg>
      <pc:sldChg chg="modSp add mod modShow modNotesTx">
        <pc:chgData name="Renata Festa" userId="6f22df47-533b-4c2a-a3c1-7f9ad1d63e10" providerId="ADAL" clId="{7D997690-04A4-4675-83D7-2E1CC2ED1A4E}" dt="2020-03-24T00:12:00.057" v="918" actId="207"/>
        <pc:sldMkLst>
          <pc:docMk/>
          <pc:sldMk cId="3163075682" sldId="2076136637"/>
        </pc:sldMkLst>
        <pc:spChg chg="mod">
          <ac:chgData name="Renata Festa" userId="6f22df47-533b-4c2a-a3c1-7f9ad1d63e10" providerId="ADAL" clId="{7D997690-04A4-4675-83D7-2E1CC2ED1A4E}" dt="2020-03-24T00:12:00.057" v="918" actId="207"/>
          <ac:spMkLst>
            <pc:docMk/>
            <pc:sldMk cId="3163075682" sldId="2076136637"/>
            <ac:spMk id="3" creationId="{8F64A22E-2B43-4FC6-AF08-0CDB3F9E9269}"/>
          </ac:spMkLst>
        </pc:spChg>
        <pc:spChg chg="mod">
          <ac:chgData name="Renata Festa" userId="6f22df47-533b-4c2a-a3c1-7f9ad1d63e10" providerId="ADAL" clId="{7D997690-04A4-4675-83D7-2E1CC2ED1A4E}" dt="2020-03-24T00:11:32.259" v="914"/>
          <ac:spMkLst>
            <pc:docMk/>
            <pc:sldMk cId="3163075682" sldId="2076136637"/>
            <ac:spMk id="6" creationId="{637E159C-9ACF-48AE-927A-D5FB13695C7F}"/>
          </ac:spMkLst>
        </pc:spChg>
      </pc:sldChg>
      <pc:sldChg chg="addSp delSp modSp add mod modNotesTx">
        <pc:chgData name="Renata Festa" userId="6f22df47-533b-4c2a-a3c1-7f9ad1d63e10" providerId="ADAL" clId="{7D997690-04A4-4675-83D7-2E1CC2ED1A4E}" dt="2020-03-24T17:32:10.315" v="2361"/>
        <pc:sldMkLst>
          <pc:docMk/>
          <pc:sldMk cId="2276845176" sldId="2076136638"/>
        </pc:sldMkLst>
        <pc:spChg chg="mod">
          <ac:chgData name="Renata Festa" userId="6f22df47-533b-4c2a-a3c1-7f9ad1d63e10" providerId="ADAL" clId="{7D997690-04A4-4675-83D7-2E1CC2ED1A4E}" dt="2020-03-24T00:17:17.508" v="967"/>
          <ac:spMkLst>
            <pc:docMk/>
            <pc:sldMk cId="2276845176" sldId="2076136638"/>
            <ac:spMk id="2" creationId="{EB67312A-9819-43C6-8D84-D9136E6CFFCC}"/>
          </ac:spMkLst>
        </pc:spChg>
        <pc:spChg chg="del">
          <ac:chgData name="Renata Festa" userId="6f22df47-533b-4c2a-a3c1-7f9ad1d63e10" providerId="ADAL" clId="{7D997690-04A4-4675-83D7-2E1CC2ED1A4E}" dt="2020-03-24T14:00:41.885" v="1628" actId="478"/>
          <ac:spMkLst>
            <pc:docMk/>
            <pc:sldMk cId="2276845176" sldId="2076136638"/>
            <ac:spMk id="3" creationId="{F35E8CBB-5A7D-4DEF-BAF7-8DD5D042F9E0}"/>
          </ac:spMkLst>
        </pc:spChg>
        <pc:spChg chg="add del">
          <ac:chgData name="Renata Festa" userId="6f22df47-533b-4c2a-a3c1-7f9ad1d63e10" providerId="ADAL" clId="{7D997690-04A4-4675-83D7-2E1CC2ED1A4E}" dt="2020-03-24T00:17:46.724" v="973"/>
          <ac:spMkLst>
            <pc:docMk/>
            <pc:sldMk cId="2276845176" sldId="2076136638"/>
            <ac:spMk id="5" creationId="{B20D3EE4-0F7A-464B-B75B-33E4D092D402}"/>
          </ac:spMkLst>
        </pc:spChg>
        <pc:spChg chg="add del">
          <ac:chgData name="Renata Festa" userId="6f22df47-533b-4c2a-a3c1-7f9ad1d63e10" providerId="ADAL" clId="{7D997690-04A4-4675-83D7-2E1CC2ED1A4E}" dt="2020-03-24T00:17:46.724" v="973"/>
          <ac:spMkLst>
            <pc:docMk/>
            <pc:sldMk cId="2276845176" sldId="2076136638"/>
            <ac:spMk id="6" creationId="{7A710421-7567-42C0-89E2-06B97832C710}"/>
          </ac:spMkLst>
        </pc:spChg>
        <pc:spChg chg="add del">
          <ac:chgData name="Renata Festa" userId="6f22df47-533b-4c2a-a3c1-7f9ad1d63e10" providerId="ADAL" clId="{7D997690-04A4-4675-83D7-2E1CC2ED1A4E}" dt="2020-03-24T00:17:46.724" v="973"/>
          <ac:spMkLst>
            <pc:docMk/>
            <pc:sldMk cId="2276845176" sldId="2076136638"/>
            <ac:spMk id="9" creationId="{D942EFC3-9D84-45C5-B1F5-81331F296907}"/>
          </ac:spMkLst>
        </pc:spChg>
        <pc:spChg chg="add del">
          <ac:chgData name="Renata Festa" userId="6f22df47-533b-4c2a-a3c1-7f9ad1d63e10" providerId="ADAL" clId="{7D997690-04A4-4675-83D7-2E1CC2ED1A4E}" dt="2020-03-24T00:17:46.724" v="973"/>
          <ac:spMkLst>
            <pc:docMk/>
            <pc:sldMk cId="2276845176" sldId="2076136638"/>
            <ac:spMk id="10" creationId="{04F4022A-8E1C-45B1-BD87-3478DC839484}"/>
          </ac:spMkLst>
        </pc:spChg>
        <pc:spChg chg="add del">
          <ac:chgData name="Renata Festa" userId="6f22df47-533b-4c2a-a3c1-7f9ad1d63e10" providerId="ADAL" clId="{7D997690-04A4-4675-83D7-2E1CC2ED1A4E}" dt="2020-03-24T00:17:54.998" v="975"/>
          <ac:spMkLst>
            <pc:docMk/>
            <pc:sldMk cId="2276845176" sldId="2076136638"/>
            <ac:spMk id="11" creationId="{C956DD38-C47E-4192-B1A2-6358C0A7CB9E}"/>
          </ac:spMkLst>
        </pc:spChg>
        <pc:spChg chg="add del">
          <ac:chgData name="Renata Festa" userId="6f22df47-533b-4c2a-a3c1-7f9ad1d63e10" providerId="ADAL" clId="{7D997690-04A4-4675-83D7-2E1CC2ED1A4E}" dt="2020-03-24T00:17:54.998" v="975"/>
          <ac:spMkLst>
            <pc:docMk/>
            <pc:sldMk cId="2276845176" sldId="2076136638"/>
            <ac:spMk id="12" creationId="{73792AA2-49D9-4EB1-8B38-60E38DBE976D}"/>
          </ac:spMkLst>
        </pc:spChg>
        <pc:spChg chg="add del">
          <ac:chgData name="Renata Festa" userId="6f22df47-533b-4c2a-a3c1-7f9ad1d63e10" providerId="ADAL" clId="{7D997690-04A4-4675-83D7-2E1CC2ED1A4E}" dt="2020-03-24T00:17:54.998" v="975"/>
          <ac:spMkLst>
            <pc:docMk/>
            <pc:sldMk cId="2276845176" sldId="2076136638"/>
            <ac:spMk id="15" creationId="{C58F510E-1239-4A13-A718-A51B51029E78}"/>
          </ac:spMkLst>
        </pc:spChg>
        <pc:spChg chg="add del">
          <ac:chgData name="Renata Festa" userId="6f22df47-533b-4c2a-a3c1-7f9ad1d63e10" providerId="ADAL" clId="{7D997690-04A4-4675-83D7-2E1CC2ED1A4E}" dt="2020-03-24T00:17:54.998" v="975"/>
          <ac:spMkLst>
            <pc:docMk/>
            <pc:sldMk cId="2276845176" sldId="2076136638"/>
            <ac:spMk id="16" creationId="{42B7C181-9D33-4141-BCAC-3547EAE698B6}"/>
          </ac:spMkLst>
        </pc:spChg>
        <pc:spChg chg="add mod">
          <ac:chgData name="Renata Festa" userId="6f22df47-533b-4c2a-a3c1-7f9ad1d63e10" providerId="ADAL" clId="{7D997690-04A4-4675-83D7-2E1CC2ED1A4E}" dt="2020-03-24T12:34:16.753" v="1042" actId="1076"/>
          <ac:spMkLst>
            <pc:docMk/>
            <pc:sldMk cId="2276845176" sldId="2076136638"/>
            <ac:spMk id="17" creationId="{0A585082-47F3-47F5-A911-31E2E02C9261}"/>
          </ac:spMkLst>
        </pc:spChg>
        <pc:spChg chg="add mod">
          <ac:chgData name="Renata Festa" userId="6f22df47-533b-4c2a-a3c1-7f9ad1d63e10" providerId="ADAL" clId="{7D997690-04A4-4675-83D7-2E1CC2ED1A4E}" dt="2020-03-24T12:33:33.425" v="1038" actId="1076"/>
          <ac:spMkLst>
            <pc:docMk/>
            <pc:sldMk cId="2276845176" sldId="2076136638"/>
            <ac:spMk id="18" creationId="{6D7C4E30-6111-4271-BC05-25E67C4EE2DB}"/>
          </ac:spMkLst>
        </pc:spChg>
        <pc:spChg chg="add del mod">
          <ac:chgData name="Renata Festa" userId="6f22df47-533b-4c2a-a3c1-7f9ad1d63e10" providerId="ADAL" clId="{7D997690-04A4-4675-83D7-2E1CC2ED1A4E}" dt="2020-03-24T00:18:12.148" v="978" actId="478"/>
          <ac:spMkLst>
            <pc:docMk/>
            <pc:sldMk cId="2276845176" sldId="2076136638"/>
            <ac:spMk id="21" creationId="{FAD33DE4-376B-4220-83D6-254BC24EE3A7}"/>
          </ac:spMkLst>
        </pc:spChg>
        <pc:spChg chg="add mod">
          <ac:chgData name="Renata Festa" userId="6f22df47-533b-4c2a-a3c1-7f9ad1d63e10" providerId="ADAL" clId="{7D997690-04A4-4675-83D7-2E1CC2ED1A4E}" dt="2020-03-24T00:27:00.536" v="1036" actId="1035"/>
          <ac:spMkLst>
            <pc:docMk/>
            <pc:sldMk cId="2276845176" sldId="2076136638"/>
            <ac:spMk id="22" creationId="{B7311D23-B138-44D3-954D-14C71307B8D4}"/>
          </ac:spMkLst>
        </pc:spChg>
        <pc:graphicFrameChg chg="add del">
          <ac:chgData name="Renata Festa" userId="6f22df47-533b-4c2a-a3c1-7f9ad1d63e10" providerId="ADAL" clId="{7D997690-04A4-4675-83D7-2E1CC2ED1A4E}" dt="2020-03-24T00:17:46.724" v="973"/>
          <ac:graphicFrameMkLst>
            <pc:docMk/>
            <pc:sldMk cId="2276845176" sldId="2076136638"/>
            <ac:graphicFrameMk id="8" creationId="{5EEBEDD1-A606-4283-B187-B7A8EEC8B0CD}"/>
          </ac:graphicFrameMkLst>
        </pc:graphicFrameChg>
        <pc:graphicFrameChg chg="add del">
          <ac:chgData name="Renata Festa" userId="6f22df47-533b-4c2a-a3c1-7f9ad1d63e10" providerId="ADAL" clId="{7D997690-04A4-4675-83D7-2E1CC2ED1A4E}" dt="2020-03-24T00:17:54.998" v="975"/>
          <ac:graphicFrameMkLst>
            <pc:docMk/>
            <pc:sldMk cId="2276845176" sldId="2076136638"/>
            <ac:graphicFrameMk id="14" creationId="{64A8DEAD-DCED-44D2-AB90-8992D8944A29}"/>
          </ac:graphicFrameMkLst>
        </pc:graphicFrameChg>
        <pc:graphicFrameChg chg="add mod modGraphic">
          <ac:chgData name="Renata Festa" userId="6f22df47-533b-4c2a-a3c1-7f9ad1d63e10" providerId="ADAL" clId="{7D997690-04A4-4675-83D7-2E1CC2ED1A4E}" dt="2020-03-24T17:32:10.315" v="2361"/>
          <ac:graphicFrameMkLst>
            <pc:docMk/>
            <pc:sldMk cId="2276845176" sldId="2076136638"/>
            <ac:graphicFrameMk id="20" creationId="{2A52DC15-A65C-4604-8292-93B527600C4A}"/>
          </ac:graphicFrameMkLst>
        </pc:graphicFrameChg>
        <pc:cxnChg chg="add del">
          <ac:chgData name="Renata Festa" userId="6f22df47-533b-4c2a-a3c1-7f9ad1d63e10" providerId="ADAL" clId="{7D997690-04A4-4675-83D7-2E1CC2ED1A4E}" dt="2020-03-24T00:17:46.724" v="973"/>
          <ac:cxnSpMkLst>
            <pc:docMk/>
            <pc:sldMk cId="2276845176" sldId="2076136638"/>
            <ac:cxnSpMk id="7" creationId="{0AC8F703-6F3A-4E99-A70A-8236DB80AE81}"/>
          </ac:cxnSpMkLst>
        </pc:cxnChg>
        <pc:cxnChg chg="add del">
          <ac:chgData name="Renata Festa" userId="6f22df47-533b-4c2a-a3c1-7f9ad1d63e10" providerId="ADAL" clId="{7D997690-04A4-4675-83D7-2E1CC2ED1A4E}" dt="2020-03-24T00:17:54.998" v="975"/>
          <ac:cxnSpMkLst>
            <pc:docMk/>
            <pc:sldMk cId="2276845176" sldId="2076136638"/>
            <ac:cxnSpMk id="13" creationId="{BCB700D6-EB90-40B6-AD87-DA1825B6A44F}"/>
          </ac:cxnSpMkLst>
        </pc:cxnChg>
        <pc:cxnChg chg="add mod">
          <ac:chgData name="Renata Festa" userId="6f22df47-533b-4c2a-a3c1-7f9ad1d63e10" providerId="ADAL" clId="{7D997690-04A4-4675-83D7-2E1CC2ED1A4E}" dt="2020-03-24T12:34:12.906" v="1041" actId="14100"/>
          <ac:cxnSpMkLst>
            <pc:docMk/>
            <pc:sldMk cId="2276845176" sldId="2076136638"/>
            <ac:cxnSpMk id="19" creationId="{599E692F-A61C-4F2D-BE95-7150B40A8E5F}"/>
          </ac:cxnSpMkLst>
        </pc:cxnChg>
      </pc:sldChg>
      <pc:sldChg chg="delSp modSp add del mod">
        <pc:chgData name="Renata Festa" userId="6f22df47-533b-4c2a-a3c1-7f9ad1d63e10" providerId="ADAL" clId="{7D997690-04A4-4675-83D7-2E1CC2ED1A4E}" dt="2020-03-26T23:21:01.251" v="4953" actId="47"/>
        <pc:sldMkLst>
          <pc:docMk/>
          <pc:sldMk cId="1545590404" sldId="2076136639"/>
        </pc:sldMkLst>
        <pc:spChg chg="mod">
          <ac:chgData name="Renata Festa" userId="6f22df47-533b-4c2a-a3c1-7f9ad1d63e10" providerId="ADAL" clId="{7D997690-04A4-4675-83D7-2E1CC2ED1A4E}" dt="2020-03-24T12:34:45.170" v="1044" actId="20577"/>
          <ac:spMkLst>
            <pc:docMk/>
            <pc:sldMk cId="1545590404" sldId="2076136639"/>
            <ac:spMk id="2" creationId="{EB67312A-9819-43C6-8D84-D9136E6CFFCC}"/>
          </ac:spMkLst>
        </pc:spChg>
        <pc:spChg chg="del">
          <ac:chgData name="Renata Festa" userId="6f22df47-533b-4c2a-a3c1-7f9ad1d63e10" providerId="ADAL" clId="{7D997690-04A4-4675-83D7-2E1CC2ED1A4E}" dt="2020-03-24T14:00:38.667" v="1627" actId="478"/>
          <ac:spMkLst>
            <pc:docMk/>
            <pc:sldMk cId="1545590404" sldId="2076136639"/>
            <ac:spMk id="3" creationId="{F35E8CBB-5A7D-4DEF-BAF7-8DD5D042F9E0}"/>
          </ac:spMkLst>
        </pc:spChg>
        <pc:spChg chg="mod">
          <ac:chgData name="Renata Festa" userId="6f22df47-533b-4c2a-a3c1-7f9ad1d63e10" providerId="ADAL" clId="{7D997690-04A4-4675-83D7-2E1CC2ED1A4E}" dt="2020-03-24T12:35:53.498" v="1061"/>
          <ac:spMkLst>
            <pc:docMk/>
            <pc:sldMk cId="1545590404" sldId="2076136639"/>
            <ac:spMk id="4" creationId="{F3616A99-090F-45E1-9334-58D58B148205}"/>
          </ac:spMkLst>
        </pc:spChg>
      </pc:sldChg>
      <pc:sldChg chg="addSp delSp modSp add mod ord modShow">
        <pc:chgData name="Renata Festa" userId="6f22df47-533b-4c2a-a3c1-7f9ad1d63e10" providerId="ADAL" clId="{7D997690-04A4-4675-83D7-2E1CC2ED1A4E}" dt="2020-03-24T13:59:52.433" v="1625" actId="478"/>
        <pc:sldMkLst>
          <pc:docMk/>
          <pc:sldMk cId="1015519254" sldId="2076136640"/>
        </pc:sldMkLst>
        <pc:spChg chg="add del mod">
          <ac:chgData name="Renata Festa" userId="6f22df47-533b-4c2a-a3c1-7f9ad1d63e10" providerId="ADAL" clId="{7D997690-04A4-4675-83D7-2E1CC2ED1A4E}" dt="2020-03-24T13:59:50.836" v="1624" actId="478"/>
          <ac:spMkLst>
            <pc:docMk/>
            <pc:sldMk cId="1015519254" sldId="2076136640"/>
            <ac:spMk id="2" creationId="{EB67312A-9819-43C6-8D84-D9136E6CFFCC}"/>
          </ac:spMkLst>
        </pc:spChg>
        <pc:spChg chg="del">
          <ac:chgData name="Renata Festa" userId="6f22df47-533b-4c2a-a3c1-7f9ad1d63e10" providerId="ADAL" clId="{7D997690-04A4-4675-83D7-2E1CC2ED1A4E}" dt="2020-03-24T12:48:58.976" v="1231"/>
          <ac:spMkLst>
            <pc:docMk/>
            <pc:sldMk cId="1015519254" sldId="2076136640"/>
            <ac:spMk id="3" creationId="{F35E8CBB-5A7D-4DEF-BAF7-8DD5D042F9E0}"/>
          </ac:spMkLst>
        </pc:spChg>
        <pc:spChg chg="del">
          <ac:chgData name="Renata Festa" userId="6f22df47-533b-4c2a-a3c1-7f9ad1d63e10" providerId="ADAL" clId="{7D997690-04A4-4675-83D7-2E1CC2ED1A4E}" dt="2020-03-24T12:48:43.968" v="1227"/>
          <ac:spMkLst>
            <pc:docMk/>
            <pc:sldMk cId="1015519254" sldId="2076136640"/>
            <ac:spMk id="4" creationId="{F3616A99-090F-45E1-9334-58D58B148205}"/>
          </ac:spMkLst>
        </pc:spChg>
        <pc:spChg chg="add del mod">
          <ac:chgData name="Renata Festa" userId="6f22df47-533b-4c2a-a3c1-7f9ad1d63e10" providerId="ADAL" clId="{7D997690-04A4-4675-83D7-2E1CC2ED1A4E}" dt="2020-03-24T13:59:52.433" v="1625" actId="478"/>
          <ac:spMkLst>
            <pc:docMk/>
            <pc:sldMk cId="1015519254" sldId="2076136640"/>
            <ac:spMk id="9" creationId="{1F6E770C-8DBF-46BA-91D2-21F8F8410D1A}"/>
          </ac:spMkLst>
        </pc:spChg>
        <pc:spChg chg="add mod">
          <ac:chgData name="Renata Festa" userId="6f22df47-533b-4c2a-a3c1-7f9ad1d63e10" providerId="ADAL" clId="{7D997690-04A4-4675-83D7-2E1CC2ED1A4E}" dt="2020-03-24T12:51:37.507" v="1267" actId="1038"/>
          <ac:spMkLst>
            <pc:docMk/>
            <pc:sldMk cId="1015519254" sldId="2076136640"/>
            <ac:spMk id="10" creationId="{0380E9C7-5CE5-4819-92D1-4AC17221379C}"/>
          </ac:spMkLst>
        </pc:spChg>
        <pc:spChg chg="add mod">
          <ac:chgData name="Renata Festa" userId="6f22df47-533b-4c2a-a3c1-7f9ad1d63e10" providerId="ADAL" clId="{7D997690-04A4-4675-83D7-2E1CC2ED1A4E}" dt="2020-03-24T12:51:41.444" v="1274" actId="1036"/>
          <ac:spMkLst>
            <pc:docMk/>
            <pc:sldMk cId="1015519254" sldId="2076136640"/>
            <ac:spMk id="11" creationId="{DC8A9DD2-E5FA-4467-8DD2-6474AAD1F77C}"/>
          </ac:spMkLst>
        </pc:spChg>
        <pc:spChg chg="add mod">
          <ac:chgData name="Renata Festa" userId="6f22df47-533b-4c2a-a3c1-7f9ad1d63e10" providerId="ADAL" clId="{7D997690-04A4-4675-83D7-2E1CC2ED1A4E}" dt="2020-03-24T12:51:37.507" v="1267" actId="1038"/>
          <ac:spMkLst>
            <pc:docMk/>
            <pc:sldMk cId="1015519254" sldId="2076136640"/>
            <ac:spMk id="12" creationId="{B3206252-431B-453D-9991-4631A172520A}"/>
          </ac:spMkLst>
        </pc:spChg>
        <pc:spChg chg="add mod">
          <ac:chgData name="Renata Festa" userId="6f22df47-533b-4c2a-a3c1-7f9ad1d63e10" providerId="ADAL" clId="{7D997690-04A4-4675-83D7-2E1CC2ED1A4E}" dt="2020-03-24T12:51:37.507" v="1267" actId="1038"/>
          <ac:spMkLst>
            <pc:docMk/>
            <pc:sldMk cId="1015519254" sldId="2076136640"/>
            <ac:spMk id="13" creationId="{FAEA30B0-BC74-43E8-9540-FD3C6FBAEE6B}"/>
          </ac:spMkLst>
        </pc:spChg>
        <pc:spChg chg="add mod">
          <ac:chgData name="Renata Festa" userId="6f22df47-533b-4c2a-a3c1-7f9ad1d63e10" providerId="ADAL" clId="{7D997690-04A4-4675-83D7-2E1CC2ED1A4E}" dt="2020-03-24T12:51:37.507" v="1267" actId="1038"/>
          <ac:spMkLst>
            <pc:docMk/>
            <pc:sldMk cId="1015519254" sldId="2076136640"/>
            <ac:spMk id="16" creationId="{F1947A04-C1F6-43AC-9273-2090A9A2624C}"/>
          </ac:spMkLst>
        </pc:spChg>
        <pc:spChg chg="add mod">
          <ac:chgData name="Renata Festa" userId="6f22df47-533b-4c2a-a3c1-7f9ad1d63e10" providerId="ADAL" clId="{7D997690-04A4-4675-83D7-2E1CC2ED1A4E}" dt="2020-03-24T12:51:37.507" v="1267" actId="1038"/>
          <ac:spMkLst>
            <pc:docMk/>
            <pc:sldMk cId="1015519254" sldId="2076136640"/>
            <ac:spMk id="81" creationId="{6B1B062D-6075-4C53-9FAF-443E1BAD5E6E}"/>
          </ac:spMkLst>
        </pc:spChg>
        <pc:spChg chg="add mod">
          <ac:chgData name="Renata Festa" userId="6f22df47-533b-4c2a-a3c1-7f9ad1d63e10" providerId="ADAL" clId="{7D997690-04A4-4675-83D7-2E1CC2ED1A4E}" dt="2020-03-24T12:51:37.507" v="1267" actId="1038"/>
          <ac:spMkLst>
            <pc:docMk/>
            <pc:sldMk cId="1015519254" sldId="2076136640"/>
            <ac:spMk id="82" creationId="{FD0EB85E-A118-46A0-AD1B-48B898A96C8D}"/>
          </ac:spMkLst>
        </pc:spChg>
        <pc:spChg chg="add mod">
          <ac:chgData name="Renata Festa" userId="6f22df47-533b-4c2a-a3c1-7f9ad1d63e10" providerId="ADAL" clId="{7D997690-04A4-4675-83D7-2E1CC2ED1A4E}" dt="2020-03-24T12:51:37.507" v="1267" actId="1038"/>
          <ac:spMkLst>
            <pc:docMk/>
            <pc:sldMk cId="1015519254" sldId="2076136640"/>
            <ac:spMk id="83" creationId="{F1B68ECC-ABB5-41A2-9B62-A7D689628577}"/>
          </ac:spMkLst>
        </pc:spChg>
        <pc:spChg chg="add mod">
          <ac:chgData name="Renata Festa" userId="6f22df47-533b-4c2a-a3c1-7f9ad1d63e10" providerId="ADAL" clId="{7D997690-04A4-4675-83D7-2E1CC2ED1A4E}" dt="2020-03-24T12:51:37.507" v="1267" actId="1038"/>
          <ac:spMkLst>
            <pc:docMk/>
            <pc:sldMk cId="1015519254" sldId="2076136640"/>
            <ac:spMk id="84" creationId="{79760D8B-72F7-4C5C-8215-72F93D3D38C2}"/>
          </ac:spMkLst>
        </pc:spChg>
        <pc:spChg chg="add mod">
          <ac:chgData name="Renata Festa" userId="6f22df47-533b-4c2a-a3c1-7f9ad1d63e10" providerId="ADAL" clId="{7D997690-04A4-4675-83D7-2E1CC2ED1A4E}" dt="2020-03-24T12:51:37.507" v="1267" actId="1038"/>
          <ac:spMkLst>
            <pc:docMk/>
            <pc:sldMk cId="1015519254" sldId="2076136640"/>
            <ac:spMk id="85" creationId="{FE7B9824-7D21-4B6B-9E93-7DA22B9EAAFC}"/>
          </ac:spMkLst>
        </pc:spChg>
        <pc:spChg chg="add del mod">
          <ac:chgData name="Renata Festa" userId="6f22df47-533b-4c2a-a3c1-7f9ad1d63e10" providerId="ADAL" clId="{7D997690-04A4-4675-83D7-2E1CC2ED1A4E}" dt="2020-03-24T12:52:43.748" v="1278" actId="478"/>
          <ac:spMkLst>
            <pc:docMk/>
            <pc:sldMk cId="1015519254" sldId="2076136640"/>
            <ac:spMk id="87" creationId="{7F4EB0E1-061F-4337-9A09-ABB99CD57E4F}"/>
          </ac:spMkLst>
        </pc:spChg>
        <pc:spChg chg="add del mod">
          <ac:chgData name="Renata Festa" userId="6f22df47-533b-4c2a-a3c1-7f9ad1d63e10" providerId="ADAL" clId="{7D997690-04A4-4675-83D7-2E1CC2ED1A4E}" dt="2020-03-24T12:53:19.128" v="1285"/>
          <ac:spMkLst>
            <pc:docMk/>
            <pc:sldMk cId="1015519254" sldId="2076136640"/>
            <ac:spMk id="89" creationId="{7B398A43-E8F8-4022-83B3-D24225D03924}"/>
          </ac:spMkLst>
        </pc:spChg>
        <pc:spChg chg="add del mod">
          <ac:chgData name="Renata Festa" userId="6f22df47-533b-4c2a-a3c1-7f9ad1d63e10" providerId="ADAL" clId="{7D997690-04A4-4675-83D7-2E1CC2ED1A4E}" dt="2020-03-24T12:53:43.480" v="1288"/>
          <ac:spMkLst>
            <pc:docMk/>
            <pc:sldMk cId="1015519254" sldId="2076136640"/>
            <ac:spMk id="93" creationId="{2FB516ED-64D4-40BC-A012-207D74F3CBFD}"/>
          </ac:spMkLst>
        </pc:spChg>
        <pc:spChg chg="add del mod">
          <ac:chgData name="Renata Festa" userId="6f22df47-533b-4c2a-a3c1-7f9ad1d63e10" providerId="ADAL" clId="{7D997690-04A4-4675-83D7-2E1CC2ED1A4E}" dt="2020-03-24T13:59:50.836" v="1624" actId="478"/>
          <ac:spMkLst>
            <pc:docMk/>
            <pc:sldMk cId="1015519254" sldId="2076136640"/>
            <ac:spMk id="95" creationId="{F0B38EBC-FBE0-4374-8A4B-1190B603A42C}"/>
          </ac:spMkLst>
        </pc:spChg>
        <pc:grpChg chg="add mod">
          <ac:chgData name="Renata Festa" userId="6f22df47-533b-4c2a-a3c1-7f9ad1d63e10" providerId="ADAL" clId="{7D997690-04A4-4675-83D7-2E1CC2ED1A4E}" dt="2020-03-24T12:48:22.313" v="1222" actId="1076"/>
          <ac:grpSpMkLst>
            <pc:docMk/>
            <pc:sldMk cId="1015519254" sldId="2076136640"/>
            <ac:grpSpMk id="5" creationId="{9FE57B5C-127F-4256-9B0A-27DF2022ECC8}"/>
          </ac:grpSpMkLst>
        </pc:grpChg>
        <pc:grpChg chg="add mod">
          <ac:chgData name="Renata Festa" userId="6f22df47-533b-4c2a-a3c1-7f9ad1d63e10" providerId="ADAL" clId="{7D997690-04A4-4675-83D7-2E1CC2ED1A4E}" dt="2020-03-24T12:51:37.507" v="1267" actId="1038"/>
          <ac:grpSpMkLst>
            <pc:docMk/>
            <pc:sldMk cId="1015519254" sldId="2076136640"/>
            <ac:grpSpMk id="17" creationId="{9B3C532A-27A1-47BC-97A3-2F42EA094F8C}"/>
          </ac:grpSpMkLst>
        </pc:grpChg>
        <pc:grpChg chg="add mod">
          <ac:chgData name="Renata Festa" userId="6f22df47-533b-4c2a-a3c1-7f9ad1d63e10" providerId="ADAL" clId="{7D997690-04A4-4675-83D7-2E1CC2ED1A4E}" dt="2020-03-24T12:51:37.507" v="1267" actId="1038"/>
          <ac:grpSpMkLst>
            <pc:docMk/>
            <pc:sldMk cId="1015519254" sldId="2076136640"/>
            <ac:grpSpMk id="33" creationId="{71F58C6E-B40C-423B-82A2-6833DFD6F55E}"/>
          </ac:grpSpMkLst>
        </pc:grpChg>
        <pc:grpChg chg="add mod">
          <ac:chgData name="Renata Festa" userId="6f22df47-533b-4c2a-a3c1-7f9ad1d63e10" providerId="ADAL" clId="{7D997690-04A4-4675-83D7-2E1CC2ED1A4E}" dt="2020-03-24T12:51:37.507" v="1267" actId="1038"/>
          <ac:grpSpMkLst>
            <pc:docMk/>
            <pc:sldMk cId="1015519254" sldId="2076136640"/>
            <ac:grpSpMk id="49" creationId="{29714D62-13B6-4299-865E-3DF4067B2FBC}"/>
          </ac:grpSpMkLst>
        </pc:grpChg>
        <pc:grpChg chg="add mod">
          <ac:chgData name="Renata Festa" userId="6f22df47-533b-4c2a-a3c1-7f9ad1d63e10" providerId="ADAL" clId="{7D997690-04A4-4675-83D7-2E1CC2ED1A4E}" dt="2020-03-24T12:51:37.507" v="1267" actId="1038"/>
          <ac:grpSpMkLst>
            <pc:docMk/>
            <pc:sldMk cId="1015519254" sldId="2076136640"/>
            <ac:grpSpMk id="65" creationId="{81D64A12-2FF9-4753-99C4-0697BC47A03B}"/>
          </ac:grpSpMkLst>
        </pc:grpChg>
        <pc:graphicFrameChg chg="add del mod modGraphic">
          <ac:chgData name="Renata Festa" userId="6f22df47-533b-4c2a-a3c1-7f9ad1d63e10" providerId="ADAL" clId="{7D997690-04A4-4675-83D7-2E1CC2ED1A4E}" dt="2020-03-24T12:52:54.323" v="1280" actId="478"/>
          <ac:graphicFrameMkLst>
            <pc:docMk/>
            <pc:sldMk cId="1015519254" sldId="2076136640"/>
            <ac:graphicFrameMk id="8" creationId="{92742565-A5A6-416E-910C-F429763F3CA8}"/>
          </ac:graphicFrameMkLst>
        </pc:graphicFrameChg>
        <pc:graphicFrameChg chg="add del mod">
          <ac:chgData name="Renata Festa" userId="6f22df47-533b-4c2a-a3c1-7f9ad1d63e10" providerId="ADAL" clId="{7D997690-04A4-4675-83D7-2E1CC2ED1A4E}" dt="2020-03-24T12:53:10.820" v="1282"/>
          <ac:graphicFrameMkLst>
            <pc:docMk/>
            <pc:sldMk cId="1015519254" sldId="2076136640"/>
            <ac:graphicFrameMk id="90" creationId="{5E1C382C-28AF-4804-B375-0DBA238266B0}"/>
          </ac:graphicFrameMkLst>
        </pc:graphicFrameChg>
        <pc:graphicFrameChg chg="add del mod">
          <ac:chgData name="Renata Festa" userId="6f22df47-533b-4c2a-a3c1-7f9ad1d63e10" providerId="ADAL" clId="{7D997690-04A4-4675-83D7-2E1CC2ED1A4E}" dt="2020-03-24T12:53:13.763" v="1284"/>
          <ac:graphicFrameMkLst>
            <pc:docMk/>
            <pc:sldMk cId="1015519254" sldId="2076136640"/>
            <ac:graphicFrameMk id="91" creationId="{C771FAF8-9EE7-44F9-80C1-125364F198A5}"/>
          </ac:graphicFrameMkLst>
        </pc:graphicFrameChg>
        <pc:graphicFrameChg chg="add mod modGraphic">
          <ac:chgData name="Renata Festa" userId="6f22df47-533b-4c2a-a3c1-7f9ad1d63e10" providerId="ADAL" clId="{7D997690-04A4-4675-83D7-2E1CC2ED1A4E}" dt="2020-03-24T12:54:09.319" v="1297" actId="14734"/>
          <ac:graphicFrameMkLst>
            <pc:docMk/>
            <pc:sldMk cId="1015519254" sldId="2076136640"/>
            <ac:graphicFrameMk id="92" creationId="{81F30FB2-0620-4461-9753-54435887FC54}"/>
          </ac:graphicFrameMkLst>
        </pc:graphicFrameChg>
        <pc:cxnChg chg="add mod">
          <ac:chgData name="Renata Festa" userId="6f22df47-533b-4c2a-a3c1-7f9ad1d63e10" providerId="ADAL" clId="{7D997690-04A4-4675-83D7-2E1CC2ED1A4E}" dt="2020-03-24T12:51:37.507" v="1267" actId="1038"/>
          <ac:cxnSpMkLst>
            <pc:docMk/>
            <pc:sldMk cId="1015519254" sldId="2076136640"/>
            <ac:cxnSpMk id="14" creationId="{4F8E2269-EAD6-4134-88F0-E9850E22354B}"/>
          </ac:cxnSpMkLst>
        </pc:cxnChg>
        <pc:cxnChg chg="add mod">
          <ac:chgData name="Renata Festa" userId="6f22df47-533b-4c2a-a3c1-7f9ad1d63e10" providerId="ADAL" clId="{7D997690-04A4-4675-83D7-2E1CC2ED1A4E}" dt="2020-03-24T12:51:37.507" v="1267" actId="1038"/>
          <ac:cxnSpMkLst>
            <pc:docMk/>
            <pc:sldMk cId="1015519254" sldId="2076136640"/>
            <ac:cxnSpMk id="15" creationId="{1BD164A7-0A3C-4724-AACD-E360B53BA7D0}"/>
          </ac:cxnSpMkLst>
        </pc:cxnChg>
      </pc:sldChg>
      <pc:sldChg chg="addSp delSp modSp add mod modAnim">
        <pc:chgData name="Renata Festa" userId="6f22df47-533b-4c2a-a3c1-7f9ad1d63e10" providerId="ADAL" clId="{7D997690-04A4-4675-83D7-2E1CC2ED1A4E}" dt="2020-03-24T13:59:37.310" v="1620" actId="478"/>
        <pc:sldMkLst>
          <pc:docMk/>
          <pc:sldMk cId="4115785853" sldId="2076136641"/>
        </pc:sldMkLst>
        <pc:spChg chg="mod">
          <ac:chgData name="Renata Festa" userId="6f22df47-533b-4c2a-a3c1-7f9ad1d63e10" providerId="ADAL" clId="{7D997690-04A4-4675-83D7-2E1CC2ED1A4E}" dt="2020-03-24T12:59:49.760" v="1390"/>
          <ac:spMkLst>
            <pc:docMk/>
            <pc:sldMk cId="4115785853" sldId="2076136641"/>
            <ac:spMk id="2" creationId="{EB67312A-9819-43C6-8D84-D9136E6CFFCC}"/>
          </ac:spMkLst>
        </pc:spChg>
        <pc:spChg chg="del">
          <ac:chgData name="Renata Festa" userId="6f22df47-533b-4c2a-a3c1-7f9ad1d63e10" providerId="ADAL" clId="{7D997690-04A4-4675-83D7-2E1CC2ED1A4E}" dt="2020-03-24T13:59:37.310" v="1620" actId="478"/>
          <ac:spMkLst>
            <pc:docMk/>
            <pc:sldMk cId="4115785853" sldId="2076136641"/>
            <ac:spMk id="3" creationId="{F35E8CBB-5A7D-4DEF-BAF7-8DD5D042F9E0}"/>
          </ac:spMkLst>
        </pc:spChg>
        <pc:spChg chg="del">
          <ac:chgData name="Renata Festa" userId="6f22df47-533b-4c2a-a3c1-7f9ad1d63e10" providerId="ADAL" clId="{7D997690-04A4-4675-83D7-2E1CC2ED1A4E}" dt="2020-03-24T13:59:35.864" v="1619" actId="478"/>
          <ac:spMkLst>
            <pc:docMk/>
            <pc:sldMk cId="4115785853" sldId="2076136641"/>
            <ac:spMk id="4" creationId="{F3616A99-090F-45E1-9334-58D58B148205}"/>
          </ac:spMkLst>
        </pc:spChg>
        <pc:spChg chg="add mod">
          <ac:chgData name="Renata Festa" userId="6f22df47-533b-4c2a-a3c1-7f9ad1d63e10" providerId="ADAL" clId="{7D997690-04A4-4675-83D7-2E1CC2ED1A4E}" dt="2020-03-24T13:00:05.312" v="1392" actId="1076"/>
          <ac:spMkLst>
            <pc:docMk/>
            <pc:sldMk cId="4115785853" sldId="2076136641"/>
            <ac:spMk id="5" creationId="{28168D1B-0486-4D7F-BFF3-95CCB252D2FC}"/>
          </ac:spMkLst>
        </pc:spChg>
        <pc:spChg chg="add mod">
          <ac:chgData name="Renata Festa" userId="6f22df47-533b-4c2a-a3c1-7f9ad1d63e10" providerId="ADAL" clId="{7D997690-04A4-4675-83D7-2E1CC2ED1A4E}" dt="2020-03-24T13:00:05.312" v="1392" actId="1076"/>
          <ac:spMkLst>
            <pc:docMk/>
            <pc:sldMk cId="4115785853" sldId="2076136641"/>
            <ac:spMk id="6" creationId="{A515A7B5-87CD-40C2-9629-BE570B4EF8A5}"/>
          </ac:spMkLst>
        </pc:spChg>
        <pc:spChg chg="add mod">
          <ac:chgData name="Renata Festa" userId="6f22df47-533b-4c2a-a3c1-7f9ad1d63e10" providerId="ADAL" clId="{7D997690-04A4-4675-83D7-2E1CC2ED1A4E}" dt="2020-03-24T13:00:05.312" v="1392" actId="1076"/>
          <ac:spMkLst>
            <pc:docMk/>
            <pc:sldMk cId="4115785853" sldId="2076136641"/>
            <ac:spMk id="7" creationId="{406C42C0-9CAC-479B-848D-72C6DC9CA695}"/>
          </ac:spMkLst>
        </pc:spChg>
        <pc:spChg chg="add mod">
          <ac:chgData name="Renata Festa" userId="6f22df47-533b-4c2a-a3c1-7f9ad1d63e10" providerId="ADAL" clId="{7D997690-04A4-4675-83D7-2E1CC2ED1A4E}" dt="2020-03-24T13:00:05.312" v="1392" actId="1076"/>
          <ac:spMkLst>
            <pc:docMk/>
            <pc:sldMk cId="4115785853" sldId="2076136641"/>
            <ac:spMk id="13" creationId="{DE526217-B739-4BC2-96AA-F0767CC22C47}"/>
          </ac:spMkLst>
        </pc:spChg>
        <pc:spChg chg="add mod">
          <ac:chgData name="Renata Festa" userId="6f22df47-533b-4c2a-a3c1-7f9ad1d63e10" providerId="ADAL" clId="{7D997690-04A4-4675-83D7-2E1CC2ED1A4E}" dt="2020-03-24T13:00:05.312" v="1392" actId="1076"/>
          <ac:spMkLst>
            <pc:docMk/>
            <pc:sldMk cId="4115785853" sldId="2076136641"/>
            <ac:spMk id="14" creationId="{52EAC3EF-A883-4483-B2B2-0FAD88FE8AE5}"/>
          </ac:spMkLst>
        </pc:spChg>
        <pc:spChg chg="add mod">
          <ac:chgData name="Renata Festa" userId="6f22df47-533b-4c2a-a3c1-7f9ad1d63e10" providerId="ADAL" clId="{7D997690-04A4-4675-83D7-2E1CC2ED1A4E}" dt="2020-03-24T13:00:05.312" v="1392" actId="1076"/>
          <ac:spMkLst>
            <pc:docMk/>
            <pc:sldMk cId="4115785853" sldId="2076136641"/>
            <ac:spMk id="27" creationId="{0AAA5BF5-6B8A-40C8-9738-A754320F9FB6}"/>
          </ac:spMkLst>
        </pc:spChg>
        <pc:spChg chg="add mod">
          <ac:chgData name="Renata Festa" userId="6f22df47-533b-4c2a-a3c1-7f9ad1d63e10" providerId="ADAL" clId="{7D997690-04A4-4675-83D7-2E1CC2ED1A4E}" dt="2020-03-24T13:00:05.312" v="1392" actId="1076"/>
          <ac:spMkLst>
            <pc:docMk/>
            <pc:sldMk cId="4115785853" sldId="2076136641"/>
            <ac:spMk id="28" creationId="{FEFBAB62-6D95-462F-853A-10C822DEB182}"/>
          </ac:spMkLst>
        </pc:spChg>
        <pc:spChg chg="add mod">
          <ac:chgData name="Renata Festa" userId="6f22df47-533b-4c2a-a3c1-7f9ad1d63e10" providerId="ADAL" clId="{7D997690-04A4-4675-83D7-2E1CC2ED1A4E}" dt="2020-03-24T13:00:05.312" v="1392" actId="1076"/>
          <ac:spMkLst>
            <pc:docMk/>
            <pc:sldMk cId="4115785853" sldId="2076136641"/>
            <ac:spMk id="29" creationId="{3E17EE59-D5FA-4D84-A8DE-55F0BBE97C04}"/>
          </ac:spMkLst>
        </pc:spChg>
        <pc:spChg chg="add mod">
          <ac:chgData name="Renata Festa" userId="6f22df47-533b-4c2a-a3c1-7f9ad1d63e10" providerId="ADAL" clId="{7D997690-04A4-4675-83D7-2E1CC2ED1A4E}" dt="2020-03-24T13:00:05.312" v="1392" actId="1076"/>
          <ac:spMkLst>
            <pc:docMk/>
            <pc:sldMk cId="4115785853" sldId="2076136641"/>
            <ac:spMk id="37" creationId="{6E0C95DB-6819-43CF-9AE3-554CA2269CC8}"/>
          </ac:spMkLst>
        </pc:spChg>
        <pc:spChg chg="add mod">
          <ac:chgData name="Renata Festa" userId="6f22df47-533b-4c2a-a3c1-7f9ad1d63e10" providerId="ADAL" clId="{7D997690-04A4-4675-83D7-2E1CC2ED1A4E}" dt="2020-03-24T13:00:05.312" v="1392" actId="1076"/>
          <ac:spMkLst>
            <pc:docMk/>
            <pc:sldMk cId="4115785853" sldId="2076136641"/>
            <ac:spMk id="38" creationId="{98FDF0D7-75F8-4376-B440-FC45E8D69407}"/>
          </ac:spMkLst>
        </pc:spChg>
        <pc:spChg chg="add mod">
          <ac:chgData name="Renata Festa" userId="6f22df47-533b-4c2a-a3c1-7f9ad1d63e10" providerId="ADAL" clId="{7D997690-04A4-4675-83D7-2E1CC2ED1A4E}" dt="2020-03-24T13:00:05.312" v="1392" actId="1076"/>
          <ac:spMkLst>
            <pc:docMk/>
            <pc:sldMk cId="4115785853" sldId="2076136641"/>
            <ac:spMk id="48" creationId="{EB36BD39-8C76-48D2-8826-B72334CBE47E}"/>
          </ac:spMkLst>
        </pc:spChg>
        <pc:spChg chg="add mod">
          <ac:chgData name="Renata Festa" userId="6f22df47-533b-4c2a-a3c1-7f9ad1d63e10" providerId="ADAL" clId="{7D997690-04A4-4675-83D7-2E1CC2ED1A4E}" dt="2020-03-24T13:00:05.312" v="1392" actId="1076"/>
          <ac:spMkLst>
            <pc:docMk/>
            <pc:sldMk cId="4115785853" sldId="2076136641"/>
            <ac:spMk id="49" creationId="{FD988B30-3F50-4127-8708-3CDD953C68BE}"/>
          </ac:spMkLst>
        </pc:spChg>
        <pc:grpChg chg="add mod">
          <ac:chgData name="Renata Festa" userId="6f22df47-533b-4c2a-a3c1-7f9ad1d63e10" providerId="ADAL" clId="{7D997690-04A4-4675-83D7-2E1CC2ED1A4E}" dt="2020-03-24T13:00:05.312" v="1392" actId="1076"/>
          <ac:grpSpMkLst>
            <pc:docMk/>
            <pc:sldMk cId="4115785853" sldId="2076136641"/>
            <ac:grpSpMk id="8" creationId="{4BBE4334-DFDE-448D-8520-8EBDE60CE47A}"/>
          </ac:grpSpMkLst>
        </pc:grpChg>
        <pc:grpChg chg="add mod">
          <ac:chgData name="Renata Festa" userId="6f22df47-533b-4c2a-a3c1-7f9ad1d63e10" providerId="ADAL" clId="{7D997690-04A4-4675-83D7-2E1CC2ED1A4E}" dt="2020-03-24T13:00:05.312" v="1392" actId="1076"/>
          <ac:grpSpMkLst>
            <pc:docMk/>
            <pc:sldMk cId="4115785853" sldId="2076136641"/>
            <ac:grpSpMk id="15" creationId="{1BFB73AD-F5D2-4745-AA4F-CA43CADD4E29}"/>
          </ac:grpSpMkLst>
        </pc:grpChg>
        <pc:grpChg chg="add mod">
          <ac:chgData name="Renata Festa" userId="6f22df47-533b-4c2a-a3c1-7f9ad1d63e10" providerId="ADAL" clId="{7D997690-04A4-4675-83D7-2E1CC2ED1A4E}" dt="2020-03-24T13:00:05.312" v="1392" actId="1076"/>
          <ac:grpSpMkLst>
            <pc:docMk/>
            <pc:sldMk cId="4115785853" sldId="2076136641"/>
            <ac:grpSpMk id="18" creationId="{FD2FA145-9B88-490A-968D-220FACC454EA}"/>
          </ac:grpSpMkLst>
        </pc:grpChg>
        <pc:grpChg chg="add mod">
          <ac:chgData name="Renata Festa" userId="6f22df47-533b-4c2a-a3c1-7f9ad1d63e10" providerId="ADAL" clId="{7D997690-04A4-4675-83D7-2E1CC2ED1A4E}" dt="2020-03-24T13:00:05.312" v="1392" actId="1076"/>
          <ac:grpSpMkLst>
            <pc:docMk/>
            <pc:sldMk cId="4115785853" sldId="2076136641"/>
            <ac:grpSpMk id="30" creationId="{D9DE7FA9-D7B9-4EA3-A33E-B0CF1A3A6DB2}"/>
          </ac:grpSpMkLst>
        </pc:grpChg>
        <pc:grpChg chg="add mod">
          <ac:chgData name="Renata Festa" userId="6f22df47-533b-4c2a-a3c1-7f9ad1d63e10" providerId="ADAL" clId="{7D997690-04A4-4675-83D7-2E1CC2ED1A4E}" dt="2020-03-24T13:00:05.312" v="1392" actId="1076"/>
          <ac:grpSpMkLst>
            <pc:docMk/>
            <pc:sldMk cId="4115785853" sldId="2076136641"/>
            <ac:grpSpMk id="39" creationId="{91DE356A-EF6F-4A94-B356-9E76224F6D9A}"/>
          </ac:grpSpMkLst>
        </pc:grpChg>
        <pc:grpChg chg="add mod">
          <ac:chgData name="Renata Festa" userId="6f22df47-533b-4c2a-a3c1-7f9ad1d63e10" providerId="ADAL" clId="{7D997690-04A4-4675-83D7-2E1CC2ED1A4E}" dt="2020-03-24T13:00:05.312" v="1392" actId="1076"/>
          <ac:grpSpMkLst>
            <pc:docMk/>
            <pc:sldMk cId="4115785853" sldId="2076136641"/>
            <ac:grpSpMk id="44" creationId="{6988DD09-9F30-4D0E-B94B-057DE23496D2}"/>
          </ac:grpSpMkLst>
        </pc:grpChg>
      </pc:sldChg>
      <pc:sldChg chg="addSp delSp modSp add mod">
        <pc:chgData name="Renata Festa" userId="6f22df47-533b-4c2a-a3c1-7f9ad1d63e10" providerId="ADAL" clId="{7D997690-04A4-4675-83D7-2E1CC2ED1A4E}" dt="2020-03-27T17:20:48.551" v="4992" actId="1038"/>
        <pc:sldMkLst>
          <pc:docMk/>
          <pc:sldMk cId="1168460214" sldId="2076136642"/>
        </pc:sldMkLst>
        <pc:spChg chg="add mod">
          <ac:chgData name="Renata Festa" userId="6f22df47-533b-4c2a-a3c1-7f9ad1d63e10" providerId="ADAL" clId="{7D997690-04A4-4675-83D7-2E1CC2ED1A4E}" dt="2020-03-27T17:20:09.491" v="4982"/>
          <ac:spMkLst>
            <pc:docMk/>
            <pc:sldMk cId="1168460214" sldId="2076136642"/>
            <ac:spMk id="3" creationId="{2E04DBD5-DB03-48C0-8D06-3C5AF7F87414}"/>
          </ac:spMkLst>
        </pc:spChg>
        <pc:spChg chg="mod">
          <ac:chgData name="Renata Festa" userId="6f22df47-533b-4c2a-a3c1-7f9ad1d63e10" providerId="ADAL" clId="{7D997690-04A4-4675-83D7-2E1CC2ED1A4E}" dt="2020-03-26T23:21:44.125" v="4963" actId="1037"/>
          <ac:spMkLst>
            <pc:docMk/>
            <pc:sldMk cId="1168460214" sldId="2076136642"/>
            <ac:spMk id="13" creationId="{30810C71-C65E-415A-9FE2-C0BB608D51C6}"/>
          </ac:spMkLst>
        </pc:spChg>
        <pc:spChg chg="del mod">
          <ac:chgData name="Renata Festa" userId="6f22df47-533b-4c2a-a3c1-7f9ad1d63e10" providerId="ADAL" clId="{7D997690-04A4-4675-83D7-2E1CC2ED1A4E}" dt="2020-03-24T12:40:28.578" v="1141" actId="478"/>
          <ac:spMkLst>
            <pc:docMk/>
            <pc:sldMk cId="1168460214" sldId="2076136642"/>
            <ac:spMk id="15" creationId="{DF87D991-EDC5-44DD-807A-6825A4B5AE94}"/>
          </ac:spMkLst>
        </pc:spChg>
        <pc:spChg chg="mod">
          <ac:chgData name="Renata Festa" userId="6f22df47-533b-4c2a-a3c1-7f9ad1d63e10" providerId="ADAL" clId="{7D997690-04A4-4675-83D7-2E1CC2ED1A4E}" dt="2020-03-27T17:20:48.551" v="4992" actId="1038"/>
          <ac:spMkLst>
            <pc:docMk/>
            <pc:sldMk cId="1168460214" sldId="2076136642"/>
            <ac:spMk id="18" creationId="{8CE34CF4-C4B4-4A18-88EB-8C1C9AD175BD}"/>
          </ac:spMkLst>
        </pc:spChg>
        <pc:grpChg chg="mod">
          <ac:chgData name="Renata Festa" userId="6f22df47-533b-4c2a-a3c1-7f9ad1d63e10" providerId="ADAL" clId="{7D997690-04A4-4675-83D7-2E1CC2ED1A4E}" dt="2020-03-27T17:20:41.414" v="4989" actId="1036"/>
          <ac:grpSpMkLst>
            <pc:docMk/>
            <pc:sldMk cId="1168460214" sldId="2076136642"/>
            <ac:grpSpMk id="19" creationId="{85AC5BB8-000D-4371-A92D-2217B5C4FDDA}"/>
          </ac:grpSpMkLst>
        </pc:grpChg>
        <pc:grpChg chg="mod">
          <ac:chgData name="Renata Festa" userId="6f22df47-533b-4c2a-a3c1-7f9ad1d63e10" providerId="ADAL" clId="{7D997690-04A4-4675-83D7-2E1CC2ED1A4E}" dt="2020-03-27T17:20:41.414" v="4989" actId="1036"/>
          <ac:grpSpMkLst>
            <pc:docMk/>
            <pc:sldMk cId="1168460214" sldId="2076136642"/>
            <ac:grpSpMk id="22" creationId="{DCA2A26E-1F83-4CFA-AE0C-32AAB76AAF14}"/>
          </ac:grpSpMkLst>
        </pc:grpChg>
        <pc:graphicFrameChg chg="del mod modGraphic">
          <ac:chgData name="Renata Festa" userId="6f22df47-533b-4c2a-a3c1-7f9ad1d63e10" providerId="ADAL" clId="{7D997690-04A4-4675-83D7-2E1CC2ED1A4E}" dt="2020-03-27T17:20:03.295" v="4981" actId="478"/>
          <ac:graphicFrameMkLst>
            <pc:docMk/>
            <pc:sldMk cId="1168460214" sldId="2076136642"/>
            <ac:graphicFrameMk id="5" creationId="{1118B543-8A76-41B7-96E3-4FB4D3F747C3}"/>
          </ac:graphicFrameMkLst>
        </pc:graphicFrameChg>
        <pc:graphicFrameChg chg="add mod modGraphic">
          <ac:chgData name="Renata Festa" userId="6f22df47-533b-4c2a-a3c1-7f9ad1d63e10" providerId="ADAL" clId="{7D997690-04A4-4675-83D7-2E1CC2ED1A4E}" dt="2020-03-27T17:20:26.194" v="4985" actId="14100"/>
          <ac:graphicFrameMkLst>
            <pc:docMk/>
            <pc:sldMk cId="1168460214" sldId="2076136642"/>
            <ac:graphicFrameMk id="14" creationId="{81DA0D0A-6A76-479C-9608-A86440D4607E}"/>
          </ac:graphicFrameMkLst>
        </pc:graphicFrameChg>
      </pc:sldChg>
      <pc:sldChg chg="addSp delSp modSp add mod modAnim modShow">
        <pc:chgData name="Renata Festa" userId="6f22df47-533b-4c2a-a3c1-7f9ad1d63e10" providerId="ADAL" clId="{7D997690-04A4-4675-83D7-2E1CC2ED1A4E}" dt="2020-03-24T13:59:55.381" v="1626" actId="478"/>
        <pc:sldMkLst>
          <pc:docMk/>
          <pc:sldMk cId="3643083574" sldId="2076136643"/>
        </pc:sldMkLst>
        <pc:spChg chg="mod">
          <ac:chgData name="Renata Festa" userId="6f22df47-533b-4c2a-a3c1-7f9ad1d63e10" providerId="ADAL" clId="{7D997690-04A4-4675-83D7-2E1CC2ED1A4E}" dt="2020-03-24T12:44:31.474" v="1181" actId="20577"/>
          <ac:spMkLst>
            <pc:docMk/>
            <pc:sldMk cId="3643083574" sldId="2076136643"/>
            <ac:spMk id="2" creationId="{EB67312A-9819-43C6-8D84-D9136E6CFFCC}"/>
          </ac:spMkLst>
        </pc:spChg>
        <pc:spChg chg="del">
          <ac:chgData name="Renata Festa" userId="6f22df47-533b-4c2a-a3c1-7f9ad1d63e10" providerId="ADAL" clId="{7D997690-04A4-4675-83D7-2E1CC2ED1A4E}" dt="2020-03-24T12:54:49.365" v="1299"/>
          <ac:spMkLst>
            <pc:docMk/>
            <pc:sldMk cId="3643083574" sldId="2076136643"/>
            <ac:spMk id="3" creationId="{F35E8CBB-5A7D-4DEF-BAF7-8DD5D042F9E0}"/>
          </ac:spMkLst>
        </pc:spChg>
        <pc:spChg chg="del mod">
          <ac:chgData name="Renata Festa" userId="6f22df47-533b-4c2a-a3c1-7f9ad1d63e10" providerId="ADAL" clId="{7D997690-04A4-4675-83D7-2E1CC2ED1A4E}" dt="2020-03-24T12:49:49.081" v="1240" actId="478"/>
          <ac:spMkLst>
            <pc:docMk/>
            <pc:sldMk cId="3643083574" sldId="2076136643"/>
            <ac:spMk id="4" creationId="{F3616A99-090F-45E1-9334-58D58B148205}"/>
          </ac:spMkLst>
        </pc:spChg>
        <pc:spChg chg="add mod">
          <ac:chgData name="Renata Festa" userId="6f22df47-533b-4c2a-a3c1-7f9ad1d63e10" providerId="ADAL" clId="{7D997690-04A4-4675-83D7-2E1CC2ED1A4E}" dt="2020-03-24T12:44:35.358" v="1182" actId="1076"/>
          <ac:spMkLst>
            <pc:docMk/>
            <pc:sldMk cId="3643083574" sldId="2076136643"/>
            <ac:spMk id="6" creationId="{EEC73979-BE93-494E-9AB9-B394B6C6273C}"/>
          </ac:spMkLst>
        </pc:spChg>
        <pc:spChg chg="add del">
          <ac:chgData name="Renata Festa" userId="6f22df47-533b-4c2a-a3c1-7f9ad1d63e10" providerId="ADAL" clId="{7D997690-04A4-4675-83D7-2E1CC2ED1A4E}" dt="2020-03-24T12:46:37.876" v="1205"/>
          <ac:spMkLst>
            <pc:docMk/>
            <pc:sldMk cId="3643083574" sldId="2076136643"/>
            <ac:spMk id="8" creationId="{C21F1137-35DE-4088-BEE5-6228B86480BB}"/>
          </ac:spMkLst>
        </pc:spChg>
        <pc:spChg chg="add mod">
          <ac:chgData name="Renata Festa" userId="6f22df47-533b-4c2a-a3c1-7f9ad1d63e10" providerId="ADAL" clId="{7D997690-04A4-4675-83D7-2E1CC2ED1A4E}" dt="2020-03-24T12:47:21.149" v="1212" actId="14100"/>
          <ac:spMkLst>
            <pc:docMk/>
            <pc:sldMk cId="3643083574" sldId="2076136643"/>
            <ac:spMk id="9" creationId="{6D1B8ADA-5958-474C-B325-659FA8A302EA}"/>
          </ac:spMkLst>
        </pc:spChg>
        <pc:spChg chg="add mod">
          <ac:chgData name="Renata Festa" userId="6f22df47-533b-4c2a-a3c1-7f9ad1d63e10" providerId="ADAL" clId="{7D997690-04A4-4675-83D7-2E1CC2ED1A4E}" dt="2020-03-24T12:47:14.569" v="1211" actId="14100"/>
          <ac:spMkLst>
            <pc:docMk/>
            <pc:sldMk cId="3643083574" sldId="2076136643"/>
            <ac:spMk id="10" creationId="{BD88A543-EF86-45E0-A19F-7D3E0BDC4C23}"/>
          </ac:spMkLst>
        </pc:spChg>
        <pc:spChg chg="add mod">
          <ac:chgData name="Renata Festa" userId="6f22df47-533b-4c2a-a3c1-7f9ad1d63e10" providerId="ADAL" clId="{7D997690-04A4-4675-83D7-2E1CC2ED1A4E}" dt="2020-03-24T12:47:14.569" v="1211" actId="14100"/>
          <ac:spMkLst>
            <pc:docMk/>
            <pc:sldMk cId="3643083574" sldId="2076136643"/>
            <ac:spMk id="11" creationId="{B10B7D3A-2376-4B70-9511-B5D9CD7E88C0}"/>
          </ac:spMkLst>
        </pc:spChg>
        <pc:spChg chg="add mod">
          <ac:chgData name="Renata Festa" userId="6f22df47-533b-4c2a-a3c1-7f9ad1d63e10" providerId="ADAL" clId="{7D997690-04A4-4675-83D7-2E1CC2ED1A4E}" dt="2020-03-24T12:47:14.569" v="1211" actId="14100"/>
          <ac:spMkLst>
            <pc:docMk/>
            <pc:sldMk cId="3643083574" sldId="2076136643"/>
            <ac:spMk id="12" creationId="{1149C700-2C28-4910-A655-478444CE8E38}"/>
          </ac:spMkLst>
        </pc:spChg>
        <pc:spChg chg="add mod">
          <ac:chgData name="Renata Festa" userId="6f22df47-533b-4c2a-a3c1-7f9ad1d63e10" providerId="ADAL" clId="{7D997690-04A4-4675-83D7-2E1CC2ED1A4E}" dt="2020-03-24T12:47:14.569" v="1211" actId="14100"/>
          <ac:spMkLst>
            <pc:docMk/>
            <pc:sldMk cId="3643083574" sldId="2076136643"/>
            <ac:spMk id="56" creationId="{34367C17-DE3F-4CB5-B681-3F9B64DDE177}"/>
          </ac:spMkLst>
        </pc:spChg>
        <pc:spChg chg="add mod">
          <ac:chgData name="Renata Festa" userId="6f22df47-533b-4c2a-a3c1-7f9ad1d63e10" providerId="ADAL" clId="{7D997690-04A4-4675-83D7-2E1CC2ED1A4E}" dt="2020-03-24T12:47:14.569" v="1211" actId="14100"/>
          <ac:spMkLst>
            <pc:docMk/>
            <pc:sldMk cId="3643083574" sldId="2076136643"/>
            <ac:spMk id="57" creationId="{2E8FFD25-13BC-4D82-A6C4-8196F4ACE546}"/>
          </ac:spMkLst>
        </pc:spChg>
        <pc:spChg chg="add mod">
          <ac:chgData name="Renata Festa" userId="6f22df47-533b-4c2a-a3c1-7f9ad1d63e10" providerId="ADAL" clId="{7D997690-04A4-4675-83D7-2E1CC2ED1A4E}" dt="2020-03-24T12:47:14.569" v="1211" actId="14100"/>
          <ac:spMkLst>
            <pc:docMk/>
            <pc:sldMk cId="3643083574" sldId="2076136643"/>
            <ac:spMk id="58" creationId="{6831C6AE-C7B0-405D-8EDF-ABAA6A752053}"/>
          </ac:spMkLst>
        </pc:spChg>
        <pc:spChg chg="add mod">
          <ac:chgData name="Renata Festa" userId="6f22df47-533b-4c2a-a3c1-7f9ad1d63e10" providerId="ADAL" clId="{7D997690-04A4-4675-83D7-2E1CC2ED1A4E}" dt="2020-03-24T12:47:14.569" v="1211" actId="14100"/>
          <ac:spMkLst>
            <pc:docMk/>
            <pc:sldMk cId="3643083574" sldId="2076136643"/>
            <ac:spMk id="59" creationId="{1C581CDA-1BC1-4410-9C70-95EA9B6A9672}"/>
          </ac:spMkLst>
        </pc:spChg>
        <pc:spChg chg="add mod">
          <ac:chgData name="Renata Festa" userId="6f22df47-533b-4c2a-a3c1-7f9ad1d63e10" providerId="ADAL" clId="{7D997690-04A4-4675-83D7-2E1CC2ED1A4E}" dt="2020-03-24T12:47:14.569" v="1211" actId="14100"/>
          <ac:spMkLst>
            <pc:docMk/>
            <pc:sldMk cId="3643083574" sldId="2076136643"/>
            <ac:spMk id="60" creationId="{92AB39A4-0A40-4772-9E3A-A976C48065C1}"/>
          </ac:spMkLst>
        </pc:spChg>
        <pc:spChg chg="add mod">
          <ac:chgData name="Renata Festa" userId="6f22df47-533b-4c2a-a3c1-7f9ad1d63e10" providerId="ADAL" clId="{7D997690-04A4-4675-83D7-2E1CC2ED1A4E}" dt="2020-03-24T12:47:14.569" v="1211" actId="14100"/>
          <ac:spMkLst>
            <pc:docMk/>
            <pc:sldMk cId="3643083574" sldId="2076136643"/>
            <ac:spMk id="61" creationId="{B97D80F0-A270-4E24-B1AA-3EE4AB0B132B}"/>
          </ac:spMkLst>
        </pc:spChg>
        <pc:spChg chg="add del mod">
          <ac:chgData name="Renata Festa" userId="6f22df47-533b-4c2a-a3c1-7f9ad1d63e10" providerId="ADAL" clId="{7D997690-04A4-4675-83D7-2E1CC2ED1A4E}" dt="2020-03-24T13:59:55.381" v="1626" actId="478"/>
          <ac:spMkLst>
            <pc:docMk/>
            <pc:sldMk cId="3643083574" sldId="2076136643"/>
            <ac:spMk id="64" creationId="{B5826B8B-5CF9-4968-90D3-2B7A31BAEEE4}"/>
          </ac:spMkLst>
        </pc:spChg>
        <pc:spChg chg="add del mod">
          <ac:chgData name="Renata Festa" userId="6f22df47-533b-4c2a-a3c1-7f9ad1d63e10" providerId="ADAL" clId="{7D997690-04A4-4675-83D7-2E1CC2ED1A4E}" dt="2020-03-24T12:54:53.374" v="1300"/>
          <ac:spMkLst>
            <pc:docMk/>
            <pc:sldMk cId="3643083574" sldId="2076136643"/>
            <ac:spMk id="65" creationId="{547FDA9A-D8B5-462D-B6E6-D7F417714977}"/>
          </ac:spMkLst>
        </pc:spChg>
        <pc:grpChg chg="add mod">
          <ac:chgData name="Renata Festa" userId="6f22df47-533b-4c2a-a3c1-7f9ad1d63e10" providerId="ADAL" clId="{7D997690-04A4-4675-83D7-2E1CC2ED1A4E}" dt="2020-03-24T12:47:14.569" v="1211" actId="14100"/>
          <ac:grpSpMkLst>
            <pc:docMk/>
            <pc:sldMk cId="3643083574" sldId="2076136643"/>
            <ac:grpSpMk id="14" creationId="{2A0A2F44-E5F0-49F8-887E-E0414D5FB015}"/>
          </ac:grpSpMkLst>
        </pc:grpChg>
        <pc:grpChg chg="mod">
          <ac:chgData name="Renata Festa" userId="6f22df47-533b-4c2a-a3c1-7f9ad1d63e10" providerId="ADAL" clId="{7D997690-04A4-4675-83D7-2E1CC2ED1A4E}" dt="2020-03-24T12:47:14.569" v="1211" actId="14100"/>
          <ac:grpSpMkLst>
            <pc:docMk/>
            <pc:sldMk cId="3643083574" sldId="2076136643"/>
            <ac:grpSpMk id="17" creationId="{62D730E4-91C3-477F-91C8-6FB928E3ECF6}"/>
          </ac:grpSpMkLst>
        </pc:grpChg>
        <pc:grpChg chg="add mod">
          <ac:chgData name="Renata Festa" userId="6f22df47-533b-4c2a-a3c1-7f9ad1d63e10" providerId="ADAL" clId="{7D997690-04A4-4675-83D7-2E1CC2ED1A4E}" dt="2020-03-24T12:47:14.569" v="1211" actId="14100"/>
          <ac:grpSpMkLst>
            <pc:docMk/>
            <pc:sldMk cId="3643083574" sldId="2076136643"/>
            <ac:grpSpMk id="23" creationId="{B09404A2-B9CA-4578-9553-E1D14A31078D}"/>
          </ac:grpSpMkLst>
        </pc:grpChg>
        <pc:grpChg chg="mod">
          <ac:chgData name="Renata Festa" userId="6f22df47-533b-4c2a-a3c1-7f9ad1d63e10" providerId="ADAL" clId="{7D997690-04A4-4675-83D7-2E1CC2ED1A4E}" dt="2020-03-24T12:47:14.569" v="1211" actId="14100"/>
          <ac:grpSpMkLst>
            <pc:docMk/>
            <pc:sldMk cId="3643083574" sldId="2076136643"/>
            <ac:grpSpMk id="25" creationId="{3B71799D-5764-4E8A-81D0-73AF804EB3DC}"/>
          </ac:grpSpMkLst>
        </pc:grpChg>
        <pc:grpChg chg="mod">
          <ac:chgData name="Renata Festa" userId="6f22df47-533b-4c2a-a3c1-7f9ad1d63e10" providerId="ADAL" clId="{7D997690-04A4-4675-83D7-2E1CC2ED1A4E}" dt="2020-03-24T12:47:14.569" v="1211" actId="14100"/>
          <ac:grpSpMkLst>
            <pc:docMk/>
            <pc:sldMk cId="3643083574" sldId="2076136643"/>
            <ac:grpSpMk id="28" creationId="{069BC6EF-8B60-4EF1-89CD-21AFD9EF4B7A}"/>
          </ac:grpSpMkLst>
        </pc:grpChg>
        <pc:grpChg chg="add mod">
          <ac:chgData name="Renata Festa" userId="6f22df47-533b-4c2a-a3c1-7f9ad1d63e10" providerId="ADAL" clId="{7D997690-04A4-4675-83D7-2E1CC2ED1A4E}" dt="2020-03-24T12:47:14.569" v="1211" actId="14100"/>
          <ac:grpSpMkLst>
            <pc:docMk/>
            <pc:sldMk cId="3643083574" sldId="2076136643"/>
            <ac:grpSpMk id="34" creationId="{CF63F245-BE1D-475E-B79B-6BAFEEAADAAB}"/>
          </ac:grpSpMkLst>
        </pc:grpChg>
        <pc:grpChg chg="mod">
          <ac:chgData name="Renata Festa" userId="6f22df47-533b-4c2a-a3c1-7f9ad1d63e10" providerId="ADAL" clId="{7D997690-04A4-4675-83D7-2E1CC2ED1A4E}" dt="2020-03-24T12:47:14.569" v="1211" actId="14100"/>
          <ac:grpSpMkLst>
            <pc:docMk/>
            <pc:sldMk cId="3643083574" sldId="2076136643"/>
            <ac:grpSpMk id="36" creationId="{785038FC-0930-4BE1-98D8-8983FED96699}"/>
          </ac:grpSpMkLst>
        </pc:grpChg>
        <pc:grpChg chg="mod">
          <ac:chgData name="Renata Festa" userId="6f22df47-533b-4c2a-a3c1-7f9ad1d63e10" providerId="ADAL" clId="{7D997690-04A4-4675-83D7-2E1CC2ED1A4E}" dt="2020-03-24T12:47:14.569" v="1211" actId="14100"/>
          <ac:grpSpMkLst>
            <pc:docMk/>
            <pc:sldMk cId="3643083574" sldId="2076136643"/>
            <ac:grpSpMk id="38" creationId="{E05E2207-0E6C-4F47-AED0-FE0D5FF27DDF}"/>
          </ac:grpSpMkLst>
        </pc:grpChg>
        <pc:grpChg chg="add mod">
          <ac:chgData name="Renata Festa" userId="6f22df47-533b-4c2a-a3c1-7f9ad1d63e10" providerId="ADAL" clId="{7D997690-04A4-4675-83D7-2E1CC2ED1A4E}" dt="2020-03-24T12:47:14.569" v="1211" actId="14100"/>
          <ac:grpSpMkLst>
            <pc:docMk/>
            <pc:sldMk cId="3643083574" sldId="2076136643"/>
            <ac:grpSpMk id="45" creationId="{E279C33B-EE75-4B5B-99C1-39B6C1451AEC}"/>
          </ac:grpSpMkLst>
        </pc:grpChg>
        <pc:grpChg chg="mod">
          <ac:chgData name="Renata Festa" userId="6f22df47-533b-4c2a-a3c1-7f9ad1d63e10" providerId="ADAL" clId="{7D997690-04A4-4675-83D7-2E1CC2ED1A4E}" dt="2020-03-24T12:47:14.569" v="1211" actId="14100"/>
          <ac:grpSpMkLst>
            <pc:docMk/>
            <pc:sldMk cId="3643083574" sldId="2076136643"/>
            <ac:grpSpMk id="47" creationId="{AF30F162-D4EE-43AF-9074-3301A0CF12FB}"/>
          </ac:grpSpMkLst>
        </pc:grpChg>
        <pc:grpChg chg="mod">
          <ac:chgData name="Renata Festa" userId="6f22df47-533b-4c2a-a3c1-7f9ad1d63e10" providerId="ADAL" clId="{7D997690-04A4-4675-83D7-2E1CC2ED1A4E}" dt="2020-03-24T12:47:14.569" v="1211" actId="14100"/>
          <ac:grpSpMkLst>
            <pc:docMk/>
            <pc:sldMk cId="3643083574" sldId="2076136643"/>
            <ac:grpSpMk id="50" creationId="{BB1E0184-D492-4983-980C-662853F5E6EE}"/>
          </ac:grpSpMkLst>
        </pc:grpChg>
        <pc:graphicFrameChg chg="add del mod modGraphic">
          <ac:chgData name="Renata Festa" userId="6f22df47-533b-4c2a-a3c1-7f9ad1d63e10" providerId="ADAL" clId="{7D997690-04A4-4675-83D7-2E1CC2ED1A4E}" dt="2020-03-24T12:54:46.682" v="1298" actId="478"/>
          <ac:graphicFrameMkLst>
            <pc:docMk/>
            <pc:sldMk cId="3643083574" sldId="2076136643"/>
            <ac:graphicFrameMk id="7" creationId="{5C0B0A14-6CD1-415A-B4B7-A57AEE829120}"/>
          </ac:graphicFrameMkLst>
        </pc:graphicFrameChg>
        <pc:graphicFrameChg chg="add mod">
          <ac:chgData name="Renata Festa" userId="6f22df47-533b-4c2a-a3c1-7f9ad1d63e10" providerId="ADAL" clId="{7D997690-04A4-4675-83D7-2E1CC2ED1A4E}" dt="2020-03-24T12:54:53.374" v="1300"/>
          <ac:graphicFrameMkLst>
            <pc:docMk/>
            <pc:sldMk cId="3643083574" sldId="2076136643"/>
            <ac:graphicFrameMk id="66" creationId="{3D0DB7F7-1EA1-4254-BD8F-14CB4DA1D31C}"/>
          </ac:graphicFrameMkLst>
        </pc:graphicFrameChg>
        <pc:picChg chg="add del mod">
          <ac:chgData name="Renata Festa" userId="6f22df47-533b-4c2a-a3c1-7f9ad1d63e10" providerId="ADAL" clId="{7D997690-04A4-4675-83D7-2E1CC2ED1A4E}" dt="2020-03-24T12:44:17.169" v="1174"/>
          <ac:picMkLst>
            <pc:docMk/>
            <pc:sldMk cId="3643083574" sldId="2076136643"/>
            <ac:picMk id="5" creationId="{F4ECD692-577F-46F6-B504-28B4CC26C77F}"/>
          </ac:picMkLst>
        </pc:picChg>
        <pc:cxnChg chg="add mod">
          <ac:chgData name="Renata Festa" userId="6f22df47-533b-4c2a-a3c1-7f9ad1d63e10" providerId="ADAL" clId="{7D997690-04A4-4675-83D7-2E1CC2ED1A4E}" dt="2020-03-24T12:47:14.569" v="1211" actId="14100"/>
          <ac:cxnSpMkLst>
            <pc:docMk/>
            <pc:sldMk cId="3643083574" sldId="2076136643"/>
            <ac:cxnSpMk id="13" creationId="{970E9C0A-C918-41C1-BD26-C69D0BA2539B}"/>
          </ac:cxnSpMkLst>
        </pc:cxnChg>
      </pc:sldChg>
      <pc:sldChg chg="addSp delSp modSp add mod modShow">
        <pc:chgData name="Renata Festa" userId="6f22df47-533b-4c2a-a3c1-7f9ad1d63e10" providerId="ADAL" clId="{7D997690-04A4-4675-83D7-2E1CC2ED1A4E}" dt="2020-03-24T13:59:46.762" v="1622" actId="478"/>
        <pc:sldMkLst>
          <pc:docMk/>
          <pc:sldMk cId="1723008925" sldId="2076136644"/>
        </pc:sldMkLst>
        <pc:spChg chg="mod">
          <ac:chgData name="Renata Festa" userId="6f22df47-533b-4c2a-a3c1-7f9ad1d63e10" providerId="ADAL" clId="{7D997690-04A4-4675-83D7-2E1CC2ED1A4E}" dt="2020-03-24T12:55:31.511" v="1308" actId="20577"/>
          <ac:spMkLst>
            <pc:docMk/>
            <pc:sldMk cId="1723008925" sldId="2076136644"/>
            <ac:spMk id="2" creationId="{EB67312A-9819-43C6-8D84-D9136E6CFFCC}"/>
          </ac:spMkLst>
        </pc:spChg>
        <pc:spChg chg="del">
          <ac:chgData name="Renata Festa" userId="6f22df47-533b-4c2a-a3c1-7f9ad1d63e10" providerId="ADAL" clId="{7D997690-04A4-4675-83D7-2E1CC2ED1A4E}" dt="2020-03-24T13:59:46.762" v="1622" actId="478"/>
          <ac:spMkLst>
            <pc:docMk/>
            <pc:sldMk cId="1723008925" sldId="2076136644"/>
            <ac:spMk id="3" creationId="{F35E8CBB-5A7D-4DEF-BAF7-8DD5D042F9E0}"/>
          </ac:spMkLst>
        </pc:spChg>
        <pc:spChg chg="del">
          <ac:chgData name="Renata Festa" userId="6f22df47-533b-4c2a-a3c1-7f9ad1d63e10" providerId="ADAL" clId="{7D997690-04A4-4675-83D7-2E1CC2ED1A4E}" dt="2020-03-24T12:56:52.173" v="1322" actId="478"/>
          <ac:spMkLst>
            <pc:docMk/>
            <pc:sldMk cId="1723008925" sldId="2076136644"/>
            <ac:spMk id="4" creationId="{F3616A99-090F-45E1-9334-58D58B148205}"/>
          </ac:spMkLst>
        </pc:spChg>
        <pc:spChg chg="add mod">
          <ac:chgData name="Renata Festa" userId="6f22df47-533b-4c2a-a3c1-7f9ad1d63e10" providerId="ADAL" clId="{7D997690-04A4-4675-83D7-2E1CC2ED1A4E}" dt="2020-03-24T12:56:47.206" v="1321" actId="1076"/>
          <ac:spMkLst>
            <pc:docMk/>
            <pc:sldMk cId="1723008925" sldId="2076136644"/>
            <ac:spMk id="9" creationId="{DE491008-EC9B-44E9-9503-95EF2ACF9281}"/>
          </ac:spMkLst>
        </pc:spChg>
        <pc:grpChg chg="add mod">
          <ac:chgData name="Renata Festa" userId="6f22df47-533b-4c2a-a3c1-7f9ad1d63e10" providerId="ADAL" clId="{7D997690-04A4-4675-83D7-2E1CC2ED1A4E}" dt="2020-03-24T12:55:47.713" v="1310" actId="1076"/>
          <ac:grpSpMkLst>
            <pc:docMk/>
            <pc:sldMk cId="1723008925" sldId="2076136644"/>
            <ac:grpSpMk id="5" creationId="{095D5D7D-B72C-4197-ADE3-E884B37556FE}"/>
          </ac:grpSpMkLst>
        </pc:grpChg>
        <pc:graphicFrameChg chg="add mod modGraphic">
          <ac:chgData name="Renata Festa" userId="6f22df47-533b-4c2a-a3c1-7f9ad1d63e10" providerId="ADAL" clId="{7D997690-04A4-4675-83D7-2E1CC2ED1A4E}" dt="2020-03-24T12:57:15.270" v="1329" actId="14734"/>
          <ac:graphicFrameMkLst>
            <pc:docMk/>
            <pc:sldMk cId="1723008925" sldId="2076136644"/>
            <ac:graphicFrameMk id="8" creationId="{1A74F07C-F7BC-4826-80EC-A2B5476263CC}"/>
          </ac:graphicFrameMkLst>
        </pc:graphicFrameChg>
        <pc:picChg chg="add mod">
          <ac:chgData name="Renata Festa" userId="6f22df47-533b-4c2a-a3c1-7f9ad1d63e10" providerId="ADAL" clId="{7D997690-04A4-4675-83D7-2E1CC2ED1A4E}" dt="2020-03-24T12:56:34.118" v="1317" actId="1076"/>
          <ac:picMkLst>
            <pc:docMk/>
            <pc:sldMk cId="1723008925" sldId="2076136644"/>
            <ac:picMk id="10" creationId="{94BF0BA6-DC7B-45D6-8401-9EB656AB94D3}"/>
          </ac:picMkLst>
        </pc:picChg>
      </pc:sldChg>
      <pc:sldChg chg="addSp delSp modSp add mod">
        <pc:chgData name="Renata Festa" userId="6f22df47-533b-4c2a-a3c1-7f9ad1d63e10" providerId="ADAL" clId="{7D997690-04A4-4675-83D7-2E1CC2ED1A4E}" dt="2020-03-24T13:59:41.167" v="1621" actId="478"/>
        <pc:sldMkLst>
          <pc:docMk/>
          <pc:sldMk cId="2835470576" sldId="2076136645"/>
        </pc:sldMkLst>
        <pc:spChg chg="mod">
          <ac:chgData name="Renata Festa" userId="6f22df47-533b-4c2a-a3c1-7f9ad1d63e10" providerId="ADAL" clId="{7D997690-04A4-4675-83D7-2E1CC2ED1A4E}" dt="2020-03-24T12:57:56.090" v="1334" actId="20577"/>
          <ac:spMkLst>
            <pc:docMk/>
            <pc:sldMk cId="2835470576" sldId="2076136645"/>
            <ac:spMk id="2" creationId="{EB67312A-9819-43C6-8D84-D9136E6CFFCC}"/>
          </ac:spMkLst>
        </pc:spChg>
        <pc:spChg chg="del">
          <ac:chgData name="Renata Festa" userId="6f22df47-533b-4c2a-a3c1-7f9ad1d63e10" providerId="ADAL" clId="{7D997690-04A4-4675-83D7-2E1CC2ED1A4E}" dt="2020-03-24T13:59:41.167" v="1621" actId="478"/>
          <ac:spMkLst>
            <pc:docMk/>
            <pc:sldMk cId="2835470576" sldId="2076136645"/>
            <ac:spMk id="3" creationId="{F35E8CBB-5A7D-4DEF-BAF7-8DD5D042F9E0}"/>
          </ac:spMkLst>
        </pc:spChg>
        <pc:spChg chg="del mod">
          <ac:chgData name="Renata Festa" userId="6f22df47-533b-4c2a-a3c1-7f9ad1d63e10" providerId="ADAL" clId="{7D997690-04A4-4675-83D7-2E1CC2ED1A4E}" dt="2020-03-24T12:59:00.788" v="1383" actId="478"/>
          <ac:spMkLst>
            <pc:docMk/>
            <pc:sldMk cId="2835470576" sldId="2076136645"/>
            <ac:spMk id="4" creationId="{F3616A99-090F-45E1-9334-58D58B148205}"/>
          </ac:spMkLst>
        </pc:spChg>
        <pc:spChg chg="add mod">
          <ac:chgData name="Renata Festa" userId="6f22df47-533b-4c2a-a3c1-7f9ad1d63e10" providerId="ADAL" clId="{7D997690-04A4-4675-83D7-2E1CC2ED1A4E}" dt="2020-03-24T12:59:25.652" v="1389" actId="14100"/>
          <ac:spMkLst>
            <pc:docMk/>
            <pc:sldMk cId="2835470576" sldId="2076136645"/>
            <ac:spMk id="6" creationId="{E466DD75-8A7F-4686-B27A-FB3C6BEE4C2C}"/>
          </ac:spMkLst>
        </pc:spChg>
        <pc:graphicFrameChg chg="add mod modGraphic">
          <ac:chgData name="Renata Festa" userId="6f22df47-533b-4c2a-a3c1-7f9ad1d63e10" providerId="ADAL" clId="{7D997690-04A4-4675-83D7-2E1CC2ED1A4E}" dt="2020-03-24T12:58:33.538" v="1342" actId="14734"/>
          <ac:graphicFrameMkLst>
            <pc:docMk/>
            <pc:sldMk cId="2835470576" sldId="2076136645"/>
            <ac:graphicFrameMk id="5" creationId="{BB42184F-CA1B-4A7B-9844-D1A2357E0022}"/>
          </ac:graphicFrameMkLst>
        </pc:graphicFrameChg>
      </pc:sldChg>
      <pc:sldChg chg="addSp delSp modSp add mod addAnim delAnim modAnim">
        <pc:chgData name="Renata Festa" userId="6f22df47-533b-4c2a-a3c1-7f9ad1d63e10" providerId="ADAL" clId="{7D997690-04A4-4675-83D7-2E1CC2ED1A4E}" dt="2020-03-24T13:59:24.707" v="1615" actId="478"/>
        <pc:sldMkLst>
          <pc:docMk/>
          <pc:sldMk cId="364567982" sldId="2076136646"/>
        </pc:sldMkLst>
        <pc:spChg chg="add del mod">
          <ac:chgData name="Renata Festa" userId="6f22df47-533b-4c2a-a3c1-7f9ad1d63e10" providerId="ADAL" clId="{7D997690-04A4-4675-83D7-2E1CC2ED1A4E}" dt="2020-03-24T13:59:14.111" v="1613" actId="478"/>
          <ac:spMkLst>
            <pc:docMk/>
            <pc:sldMk cId="364567982" sldId="2076136646"/>
            <ac:spMk id="2" creationId="{EB67312A-9819-43C6-8D84-D9136E6CFFCC}"/>
          </ac:spMkLst>
        </pc:spChg>
        <pc:spChg chg="del">
          <ac:chgData name="Renata Festa" userId="6f22df47-533b-4c2a-a3c1-7f9ad1d63e10" providerId="ADAL" clId="{7D997690-04A4-4675-83D7-2E1CC2ED1A4E}" dt="2020-03-24T13:59:24.707" v="1615" actId="478"/>
          <ac:spMkLst>
            <pc:docMk/>
            <pc:sldMk cId="364567982" sldId="2076136646"/>
            <ac:spMk id="3" creationId="{F35E8CBB-5A7D-4DEF-BAF7-8DD5D042F9E0}"/>
          </ac:spMkLst>
        </pc:spChg>
        <pc:spChg chg="add del">
          <ac:chgData name="Renata Festa" userId="6f22df47-533b-4c2a-a3c1-7f9ad1d63e10" providerId="ADAL" clId="{7D997690-04A4-4675-83D7-2E1CC2ED1A4E}" dt="2020-03-24T13:59:22.941" v="1614" actId="478"/>
          <ac:spMkLst>
            <pc:docMk/>
            <pc:sldMk cId="364567982" sldId="2076136646"/>
            <ac:spMk id="4" creationId="{F3616A99-090F-45E1-9334-58D58B148205}"/>
          </ac:spMkLst>
        </pc:spChg>
        <pc:spChg chg="add del">
          <ac:chgData name="Renata Festa" userId="6f22df47-533b-4c2a-a3c1-7f9ad1d63e10" providerId="ADAL" clId="{7D997690-04A4-4675-83D7-2E1CC2ED1A4E}" dt="2020-03-24T13:10:47.461" v="1470"/>
          <ac:spMkLst>
            <pc:docMk/>
            <pc:sldMk cId="364567982" sldId="2076136646"/>
            <ac:spMk id="5" creationId="{D1E9115A-1C6D-450F-9B15-553FC324591A}"/>
          </ac:spMkLst>
        </pc:spChg>
        <pc:spChg chg="add del">
          <ac:chgData name="Renata Festa" userId="6f22df47-533b-4c2a-a3c1-7f9ad1d63e10" providerId="ADAL" clId="{7D997690-04A4-4675-83D7-2E1CC2ED1A4E}" dt="2020-03-24T13:10:47.461" v="1470"/>
          <ac:spMkLst>
            <pc:docMk/>
            <pc:sldMk cId="364567982" sldId="2076136646"/>
            <ac:spMk id="24" creationId="{DE0B31C3-96F1-4686-A373-1DA57DABAC9F}"/>
          </ac:spMkLst>
        </pc:spChg>
        <pc:spChg chg="add del">
          <ac:chgData name="Renata Festa" userId="6f22df47-533b-4c2a-a3c1-7f9ad1d63e10" providerId="ADAL" clId="{7D997690-04A4-4675-83D7-2E1CC2ED1A4E}" dt="2020-03-24T13:10:47.461" v="1470"/>
          <ac:spMkLst>
            <pc:docMk/>
            <pc:sldMk cId="364567982" sldId="2076136646"/>
            <ac:spMk id="25" creationId="{0F9D8D7D-B006-4BD7-9926-D82D948E3E3A}"/>
          </ac:spMkLst>
        </pc:spChg>
        <pc:spChg chg="add del">
          <ac:chgData name="Renata Festa" userId="6f22df47-533b-4c2a-a3c1-7f9ad1d63e10" providerId="ADAL" clId="{7D997690-04A4-4675-83D7-2E1CC2ED1A4E}" dt="2020-03-24T13:10:47.461" v="1470"/>
          <ac:spMkLst>
            <pc:docMk/>
            <pc:sldMk cId="364567982" sldId="2076136646"/>
            <ac:spMk id="26" creationId="{12FD1B0D-2FED-4C5E-985E-79AFD999643C}"/>
          </ac:spMkLst>
        </pc:spChg>
        <pc:spChg chg="add del">
          <ac:chgData name="Renata Festa" userId="6f22df47-533b-4c2a-a3c1-7f9ad1d63e10" providerId="ADAL" clId="{7D997690-04A4-4675-83D7-2E1CC2ED1A4E}" dt="2020-03-24T13:10:47.461" v="1470"/>
          <ac:spMkLst>
            <pc:docMk/>
            <pc:sldMk cId="364567982" sldId="2076136646"/>
            <ac:spMk id="29" creationId="{308C0E5E-9A95-49B5-9A0B-50F26E7B26FC}"/>
          </ac:spMkLst>
        </pc:spChg>
        <pc:spChg chg="add del">
          <ac:chgData name="Renata Festa" userId="6f22df47-533b-4c2a-a3c1-7f9ad1d63e10" providerId="ADAL" clId="{7D997690-04A4-4675-83D7-2E1CC2ED1A4E}" dt="2020-03-24T13:10:47.461" v="1470"/>
          <ac:spMkLst>
            <pc:docMk/>
            <pc:sldMk cId="364567982" sldId="2076136646"/>
            <ac:spMk id="30" creationId="{E6E3CCB6-0A19-49F8-8569-74AEB0B5F1EF}"/>
          </ac:spMkLst>
        </pc:spChg>
        <pc:spChg chg="add del">
          <ac:chgData name="Renata Festa" userId="6f22df47-533b-4c2a-a3c1-7f9ad1d63e10" providerId="ADAL" clId="{7D997690-04A4-4675-83D7-2E1CC2ED1A4E}" dt="2020-03-24T13:10:47.461" v="1470"/>
          <ac:spMkLst>
            <pc:docMk/>
            <pc:sldMk cId="364567982" sldId="2076136646"/>
            <ac:spMk id="31" creationId="{9B8CF00F-751F-4D32-BCFD-0F7C4DBD2E60}"/>
          </ac:spMkLst>
        </pc:spChg>
        <pc:spChg chg="add del">
          <ac:chgData name="Renata Festa" userId="6f22df47-533b-4c2a-a3c1-7f9ad1d63e10" providerId="ADAL" clId="{7D997690-04A4-4675-83D7-2E1CC2ED1A4E}" dt="2020-03-24T13:10:47.461" v="1470"/>
          <ac:spMkLst>
            <pc:docMk/>
            <pc:sldMk cId="364567982" sldId="2076136646"/>
            <ac:spMk id="32" creationId="{DFC081D9-9094-40DF-A461-183DFF55CEB2}"/>
          </ac:spMkLst>
        </pc:spChg>
        <pc:spChg chg="add del">
          <ac:chgData name="Renata Festa" userId="6f22df47-533b-4c2a-a3c1-7f9ad1d63e10" providerId="ADAL" clId="{7D997690-04A4-4675-83D7-2E1CC2ED1A4E}" dt="2020-03-24T13:10:47.461" v="1470"/>
          <ac:spMkLst>
            <pc:docMk/>
            <pc:sldMk cId="364567982" sldId="2076136646"/>
            <ac:spMk id="33" creationId="{07D0436A-6562-4286-8955-D9EF288D4248}"/>
          </ac:spMkLst>
        </pc:spChg>
        <pc:spChg chg="add del">
          <ac:chgData name="Renata Festa" userId="6f22df47-533b-4c2a-a3c1-7f9ad1d63e10" providerId="ADAL" clId="{7D997690-04A4-4675-83D7-2E1CC2ED1A4E}" dt="2020-03-24T13:10:47.461" v="1470"/>
          <ac:spMkLst>
            <pc:docMk/>
            <pc:sldMk cId="364567982" sldId="2076136646"/>
            <ac:spMk id="34" creationId="{366208F3-74DF-457D-A6CA-BEA018CB0CD6}"/>
          </ac:spMkLst>
        </pc:spChg>
        <pc:spChg chg="add del">
          <ac:chgData name="Renata Festa" userId="6f22df47-533b-4c2a-a3c1-7f9ad1d63e10" providerId="ADAL" clId="{7D997690-04A4-4675-83D7-2E1CC2ED1A4E}" dt="2020-03-24T13:10:47.461" v="1470"/>
          <ac:spMkLst>
            <pc:docMk/>
            <pc:sldMk cId="364567982" sldId="2076136646"/>
            <ac:spMk id="35" creationId="{4839175F-9C9F-41CB-9362-61D81F8BC754}"/>
          </ac:spMkLst>
        </pc:spChg>
        <pc:spChg chg="add del">
          <ac:chgData name="Renata Festa" userId="6f22df47-533b-4c2a-a3c1-7f9ad1d63e10" providerId="ADAL" clId="{7D997690-04A4-4675-83D7-2E1CC2ED1A4E}" dt="2020-03-24T13:10:47.461" v="1470"/>
          <ac:spMkLst>
            <pc:docMk/>
            <pc:sldMk cId="364567982" sldId="2076136646"/>
            <ac:spMk id="36" creationId="{DAD924E4-969F-4C90-AED9-FF07ED84275F}"/>
          </ac:spMkLst>
        </pc:spChg>
        <pc:spChg chg="add del">
          <ac:chgData name="Renata Festa" userId="6f22df47-533b-4c2a-a3c1-7f9ad1d63e10" providerId="ADAL" clId="{7D997690-04A4-4675-83D7-2E1CC2ED1A4E}" dt="2020-03-24T13:10:47.461" v="1470"/>
          <ac:spMkLst>
            <pc:docMk/>
            <pc:sldMk cId="364567982" sldId="2076136646"/>
            <ac:spMk id="37" creationId="{D5E455DF-D629-413F-A8EB-1481A2E00E8A}"/>
          </ac:spMkLst>
        </pc:spChg>
        <pc:spChg chg="add del">
          <ac:chgData name="Renata Festa" userId="6f22df47-533b-4c2a-a3c1-7f9ad1d63e10" providerId="ADAL" clId="{7D997690-04A4-4675-83D7-2E1CC2ED1A4E}" dt="2020-03-24T13:10:47.461" v="1470"/>
          <ac:spMkLst>
            <pc:docMk/>
            <pc:sldMk cId="364567982" sldId="2076136646"/>
            <ac:spMk id="38" creationId="{041C7577-A93E-4729-B9FB-82C2DDEC0F3F}"/>
          </ac:spMkLst>
        </pc:spChg>
        <pc:spChg chg="add del">
          <ac:chgData name="Renata Festa" userId="6f22df47-533b-4c2a-a3c1-7f9ad1d63e10" providerId="ADAL" clId="{7D997690-04A4-4675-83D7-2E1CC2ED1A4E}" dt="2020-03-24T13:10:47.461" v="1470"/>
          <ac:spMkLst>
            <pc:docMk/>
            <pc:sldMk cId="364567982" sldId="2076136646"/>
            <ac:spMk id="39" creationId="{56804F86-92B6-414E-8BD2-E60E7545D2EB}"/>
          </ac:spMkLst>
        </pc:spChg>
        <pc:spChg chg="add del">
          <ac:chgData name="Renata Festa" userId="6f22df47-533b-4c2a-a3c1-7f9ad1d63e10" providerId="ADAL" clId="{7D997690-04A4-4675-83D7-2E1CC2ED1A4E}" dt="2020-03-24T13:10:47.461" v="1470"/>
          <ac:spMkLst>
            <pc:docMk/>
            <pc:sldMk cId="364567982" sldId="2076136646"/>
            <ac:spMk id="40" creationId="{8931C5A9-2B1E-44EF-AAD3-43D99A61B491}"/>
          </ac:spMkLst>
        </pc:spChg>
        <pc:spChg chg="add del">
          <ac:chgData name="Renata Festa" userId="6f22df47-533b-4c2a-a3c1-7f9ad1d63e10" providerId="ADAL" clId="{7D997690-04A4-4675-83D7-2E1CC2ED1A4E}" dt="2020-03-24T13:10:47.461" v="1470"/>
          <ac:spMkLst>
            <pc:docMk/>
            <pc:sldMk cId="364567982" sldId="2076136646"/>
            <ac:spMk id="41" creationId="{78217458-A21B-4A39-8D0D-6D927E7E37F4}"/>
          </ac:spMkLst>
        </pc:spChg>
        <pc:spChg chg="add del">
          <ac:chgData name="Renata Festa" userId="6f22df47-533b-4c2a-a3c1-7f9ad1d63e10" providerId="ADAL" clId="{7D997690-04A4-4675-83D7-2E1CC2ED1A4E}" dt="2020-03-24T13:10:47.461" v="1470"/>
          <ac:spMkLst>
            <pc:docMk/>
            <pc:sldMk cId="364567982" sldId="2076136646"/>
            <ac:spMk id="42" creationId="{1B77EBA5-E8BF-4697-85A7-6EE3820E6795}"/>
          </ac:spMkLst>
        </pc:spChg>
        <pc:spChg chg="add del">
          <ac:chgData name="Renata Festa" userId="6f22df47-533b-4c2a-a3c1-7f9ad1d63e10" providerId="ADAL" clId="{7D997690-04A4-4675-83D7-2E1CC2ED1A4E}" dt="2020-03-24T13:10:47.461" v="1470"/>
          <ac:spMkLst>
            <pc:docMk/>
            <pc:sldMk cId="364567982" sldId="2076136646"/>
            <ac:spMk id="43" creationId="{F1CE8305-97D6-46F1-BACF-13F20C9B812F}"/>
          </ac:spMkLst>
        </pc:spChg>
        <pc:spChg chg="add del">
          <ac:chgData name="Renata Festa" userId="6f22df47-533b-4c2a-a3c1-7f9ad1d63e10" providerId="ADAL" clId="{7D997690-04A4-4675-83D7-2E1CC2ED1A4E}" dt="2020-03-24T13:10:47.461" v="1470"/>
          <ac:spMkLst>
            <pc:docMk/>
            <pc:sldMk cId="364567982" sldId="2076136646"/>
            <ac:spMk id="45" creationId="{9B2349E4-65E0-4C4A-94FC-260E53FBD41B}"/>
          </ac:spMkLst>
        </pc:spChg>
        <pc:spChg chg="add del">
          <ac:chgData name="Renata Festa" userId="6f22df47-533b-4c2a-a3c1-7f9ad1d63e10" providerId="ADAL" clId="{7D997690-04A4-4675-83D7-2E1CC2ED1A4E}" dt="2020-03-24T13:10:47.461" v="1470"/>
          <ac:spMkLst>
            <pc:docMk/>
            <pc:sldMk cId="364567982" sldId="2076136646"/>
            <ac:spMk id="46" creationId="{6333D1AB-E59E-4DB6-90D7-DEAF6B3EB29D}"/>
          </ac:spMkLst>
        </pc:spChg>
        <pc:spChg chg="add del">
          <ac:chgData name="Renata Festa" userId="6f22df47-533b-4c2a-a3c1-7f9ad1d63e10" providerId="ADAL" clId="{7D997690-04A4-4675-83D7-2E1CC2ED1A4E}" dt="2020-03-24T13:10:47.461" v="1470"/>
          <ac:spMkLst>
            <pc:docMk/>
            <pc:sldMk cId="364567982" sldId="2076136646"/>
            <ac:spMk id="47" creationId="{934DD5DF-486D-4E90-A831-270710D954D6}"/>
          </ac:spMkLst>
        </pc:spChg>
        <pc:spChg chg="add del">
          <ac:chgData name="Renata Festa" userId="6f22df47-533b-4c2a-a3c1-7f9ad1d63e10" providerId="ADAL" clId="{7D997690-04A4-4675-83D7-2E1CC2ED1A4E}" dt="2020-03-24T13:10:47.461" v="1470"/>
          <ac:spMkLst>
            <pc:docMk/>
            <pc:sldMk cId="364567982" sldId="2076136646"/>
            <ac:spMk id="48" creationId="{8113F4D3-0896-47F5-9A41-BD573840074C}"/>
          </ac:spMkLst>
        </pc:spChg>
        <pc:spChg chg="add del">
          <ac:chgData name="Renata Festa" userId="6f22df47-533b-4c2a-a3c1-7f9ad1d63e10" providerId="ADAL" clId="{7D997690-04A4-4675-83D7-2E1CC2ED1A4E}" dt="2020-03-24T13:10:47.461" v="1470"/>
          <ac:spMkLst>
            <pc:docMk/>
            <pc:sldMk cId="364567982" sldId="2076136646"/>
            <ac:spMk id="50" creationId="{DF96AE6F-D94F-40FA-AB08-B86DC5353A36}"/>
          </ac:spMkLst>
        </pc:spChg>
        <pc:spChg chg="add del">
          <ac:chgData name="Renata Festa" userId="6f22df47-533b-4c2a-a3c1-7f9ad1d63e10" providerId="ADAL" clId="{7D997690-04A4-4675-83D7-2E1CC2ED1A4E}" dt="2020-03-24T13:10:47.461" v="1470"/>
          <ac:spMkLst>
            <pc:docMk/>
            <pc:sldMk cId="364567982" sldId="2076136646"/>
            <ac:spMk id="51" creationId="{C2903CF4-F95B-48FF-BF5B-86672FC97BF7}"/>
          </ac:spMkLst>
        </pc:spChg>
        <pc:spChg chg="add del">
          <ac:chgData name="Renata Festa" userId="6f22df47-533b-4c2a-a3c1-7f9ad1d63e10" providerId="ADAL" clId="{7D997690-04A4-4675-83D7-2E1CC2ED1A4E}" dt="2020-03-24T13:10:47.461" v="1470"/>
          <ac:spMkLst>
            <pc:docMk/>
            <pc:sldMk cId="364567982" sldId="2076136646"/>
            <ac:spMk id="55" creationId="{7D15EF57-418E-400A-BA25-90B87435F4A0}"/>
          </ac:spMkLst>
        </pc:spChg>
        <pc:spChg chg="add del">
          <ac:chgData name="Renata Festa" userId="6f22df47-533b-4c2a-a3c1-7f9ad1d63e10" providerId="ADAL" clId="{7D997690-04A4-4675-83D7-2E1CC2ED1A4E}" dt="2020-03-24T13:10:47.461" v="1470"/>
          <ac:spMkLst>
            <pc:docMk/>
            <pc:sldMk cId="364567982" sldId="2076136646"/>
            <ac:spMk id="57" creationId="{5703C273-8E13-4F50-A9FA-C1363103412A}"/>
          </ac:spMkLst>
        </pc:spChg>
        <pc:spChg chg="add del">
          <ac:chgData name="Renata Festa" userId="6f22df47-533b-4c2a-a3c1-7f9ad1d63e10" providerId="ADAL" clId="{7D997690-04A4-4675-83D7-2E1CC2ED1A4E}" dt="2020-03-24T13:10:47.461" v="1470"/>
          <ac:spMkLst>
            <pc:docMk/>
            <pc:sldMk cId="364567982" sldId="2076136646"/>
            <ac:spMk id="70" creationId="{5271243E-F91A-4109-BF4E-BCC2425DEF85}"/>
          </ac:spMkLst>
        </pc:spChg>
        <pc:spChg chg="add del">
          <ac:chgData name="Renata Festa" userId="6f22df47-533b-4c2a-a3c1-7f9ad1d63e10" providerId="ADAL" clId="{7D997690-04A4-4675-83D7-2E1CC2ED1A4E}" dt="2020-03-24T13:10:47.461" v="1470"/>
          <ac:spMkLst>
            <pc:docMk/>
            <pc:sldMk cId="364567982" sldId="2076136646"/>
            <ac:spMk id="71" creationId="{73A7CFFC-E464-4DE6-BBC6-150D33A83176}"/>
          </ac:spMkLst>
        </pc:spChg>
        <pc:spChg chg="add del">
          <ac:chgData name="Renata Festa" userId="6f22df47-533b-4c2a-a3c1-7f9ad1d63e10" providerId="ADAL" clId="{7D997690-04A4-4675-83D7-2E1CC2ED1A4E}" dt="2020-03-24T13:10:47.461" v="1470"/>
          <ac:spMkLst>
            <pc:docMk/>
            <pc:sldMk cId="364567982" sldId="2076136646"/>
            <ac:spMk id="103" creationId="{F7FFD50E-C26D-417B-A97B-46FD52D89978}"/>
          </ac:spMkLst>
        </pc:spChg>
        <pc:spChg chg="add del">
          <ac:chgData name="Renata Festa" userId="6f22df47-533b-4c2a-a3c1-7f9ad1d63e10" providerId="ADAL" clId="{7D997690-04A4-4675-83D7-2E1CC2ED1A4E}" dt="2020-03-24T13:10:47.461" v="1470"/>
          <ac:spMkLst>
            <pc:docMk/>
            <pc:sldMk cId="364567982" sldId="2076136646"/>
            <ac:spMk id="104" creationId="{E7845C4E-8F63-45BC-80A4-91BBD4BC623C}"/>
          </ac:spMkLst>
        </pc:spChg>
        <pc:spChg chg="add del">
          <ac:chgData name="Renata Festa" userId="6f22df47-533b-4c2a-a3c1-7f9ad1d63e10" providerId="ADAL" clId="{7D997690-04A4-4675-83D7-2E1CC2ED1A4E}" dt="2020-03-24T13:10:47.461" v="1470"/>
          <ac:spMkLst>
            <pc:docMk/>
            <pc:sldMk cId="364567982" sldId="2076136646"/>
            <ac:spMk id="117" creationId="{4470F5E5-34FC-4CAF-9B3D-F98128F76963}"/>
          </ac:spMkLst>
        </pc:spChg>
        <pc:spChg chg="add del">
          <ac:chgData name="Renata Festa" userId="6f22df47-533b-4c2a-a3c1-7f9ad1d63e10" providerId="ADAL" clId="{7D997690-04A4-4675-83D7-2E1CC2ED1A4E}" dt="2020-03-24T13:10:47.461" v="1470"/>
          <ac:spMkLst>
            <pc:docMk/>
            <pc:sldMk cId="364567982" sldId="2076136646"/>
            <ac:spMk id="118" creationId="{A337CD43-46D9-4307-8C09-BAC908A0717A}"/>
          </ac:spMkLst>
        </pc:spChg>
        <pc:spChg chg="add del">
          <ac:chgData name="Renata Festa" userId="6f22df47-533b-4c2a-a3c1-7f9ad1d63e10" providerId="ADAL" clId="{7D997690-04A4-4675-83D7-2E1CC2ED1A4E}" dt="2020-03-24T13:10:47.461" v="1470"/>
          <ac:spMkLst>
            <pc:docMk/>
            <pc:sldMk cId="364567982" sldId="2076136646"/>
            <ac:spMk id="119" creationId="{68E82E44-3803-43C7-87CE-6B0BF7AC0E03}"/>
          </ac:spMkLst>
        </pc:spChg>
        <pc:spChg chg="add del">
          <ac:chgData name="Renata Festa" userId="6f22df47-533b-4c2a-a3c1-7f9ad1d63e10" providerId="ADAL" clId="{7D997690-04A4-4675-83D7-2E1CC2ED1A4E}" dt="2020-03-24T13:10:47.461" v="1470"/>
          <ac:spMkLst>
            <pc:docMk/>
            <pc:sldMk cId="364567982" sldId="2076136646"/>
            <ac:spMk id="120" creationId="{CB842B47-4507-4074-96C5-B1106BAE9B3D}"/>
          </ac:spMkLst>
        </pc:spChg>
        <pc:spChg chg="add del">
          <ac:chgData name="Renata Festa" userId="6f22df47-533b-4c2a-a3c1-7f9ad1d63e10" providerId="ADAL" clId="{7D997690-04A4-4675-83D7-2E1CC2ED1A4E}" dt="2020-03-24T13:10:47.461" v="1470"/>
          <ac:spMkLst>
            <pc:docMk/>
            <pc:sldMk cId="364567982" sldId="2076136646"/>
            <ac:spMk id="121" creationId="{34452C2D-E427-4D91-B569-60F2C3EA80A1}"/>
          </ac:spMkLst>
        </pc:spChg>
        <pc:spChg chg="add del">
          <ac:chgData name="Renata Festa" userId="6f22df47-533b-4c2a-a3c1-7f9ad1d63e10" providerId="ADAL" clId="{7D997690-04A4-4675-83D7-2E1CC2ED1A4E}" dt="2020-03-24T13:10:47.461" v="1470"/>
          <ac:spMkLst>
            <pc:docMk/>
            <pc:sldMk cId="364567982" sldId="2076136646"/>
            <ac:spMk id="122" creationId="{491623AF-E7AC-483C-94DB-185DBDF97D2F}"/>
          </ac:spMkLst>
        </pc:spChg>
        <pc:spChg chg="add del">
          <ac:chgData name="Renata Festa" userId="6f22df47-533b-4c2a-a3c1-7f9ad1d63e10" providerId="ADAL" clId="{7D997690-04A4-4675-83D7-2E1CC2ED1A4E}" dt="2020-03-24T13:10:47.461" v="1470"/>
          <ac:spMkLst>
            <pc:docMk/>
            <pc:sldMk cId="364567982" sldId="2076136646"/>
            <ac:spMk id="123" creationId="{3A6618FA-6EB0-40EC-AEF0-99DE8184F274}"/>
          </ac:spMkLst>
        </pc:spChg>
        <pc:spChg chg="add del">
          <ac:chgData name="Renata Festa" userId="6f22df47-533b-4c2a-a3c1-7f9ad1d63e10" providerId="ADAL" clId="{7D997690-04A4-4675-83D7-2E1CC2ED1A4E}" dt="2020-03-24T13:10:47.461" v="1470"/>
          <ac:spMkLst>
            <pc:docMk/>
            <pc:sldMk cId="364567982" sldId="2076136646"/>
            <ac:spMk id="124" creationId="{15BC1D56-8AC6-4A95-B2CE-7C0F0B565F2A}"/>
          </ac:spMkLst>
        </pc:spChg>
        <pc:spChg chg="add del">
          <ac:chgData name="Renata Festa" userId="6f22df47-533b-4c2a-a3c1-7f9ad1d63e10" providerId="ADAL" clId="{7D997690-04A4-4675-83D7-2E1CC2ED1A4E}" dt="2020-03-24T13:10:47.461" v="1470"/>
          <ac:spMkLst>
            <pc:docMk/>
            <pc:sldMk cId="364567982" sldId="2076136646"/>
            <ac:spMk id="125" creationId="{DB51155B-F58E-4B22-890E-B643F50E5378}"/>
          </ac:spMkLst>
        </pc:spChg>
        <pc:spChg chg="add del">
          <ac:chgData name="Renata Festa" userId="6f22df47-533b-4c2a-a3c1-7f9ad1d63e10" providerId="ADAL" clId="{7D997690-04A4-4675-83D7-2E1CC2ED1A4E}" dt="2020-03-24T13:10:47.461" v="1470"/>
          <ac:spMkLst>
            <pc:docMk/>
            <pc:sldMk cId="364567982" sldId="2076136646"/>
            <ac:spMk id="126" creationId="{90A07550-DF77-4FAF-A14A-FDA9E51EF0E8}"/>
          </ac:spMkLst>
        </pc:spChg>
        <pc:spChg chg="add del">
          <ac:chgData name="Renata Festa" userId="6f22df47-533b-4c2a-a3c1-7f9ad1d63e10" providerId="ADAL" clId="{7D997690-04A4-4675-83D7-2E1CC2ED1A4E}" dt="2020-03-24T13:10:47.461" v="1470"/>
          <ac:spMkLst>
            <pc:docMk/>
            <pc:sldMk cId="364567982" sldId="2076136646"/>
            <ac:spMk id="127" creationId="{E3977F74-5AF1-44F4-9F63-7BC6294A1C68}"/>
          </ac:spMkLst>
        </pc:spChg>
        <pc:spChg chg="add del">
          <ac:chgData name="Renata Festa" userId="6f22df47-533b-4c2a-a3c1-7f9ad1d63e10" providerId="ADAL" clId="{7D997690-04A4-4675-83D7-2E1CC2ED1A4E}" dt="2020-03-24T13:10:47.461" v="1470"/>
          <ac:spMkLst>
            <pc:docMk/>
            <pc:sldMk cId="364567982" sldId="2076136646"/>
            <ac:spMk id="128" creationId="{248DF8E3-5CAE-4920-817B-9313B195B2A9}"/>
          </ac:spMkLst>
        </pc:spChg>
        <pc:spChg chg="add del">
          <ac:chgData name="Renata Festa" userId="6f22df47-533b-4c2a-a3c1-7f9ad1d63e10" providerId="ADAL" clId="{7D997690-04A4-4675-83D7-2E1CC2ED1A4E}" dt="2020-03-24T13:10:47.461" v="1470"/>
          <ac:spMkLst>
            <pc:docMk/>
            <pc:sldMk cId="364567982" sldId="2076136646"/>
            <ac:spMk id="130" creationId="{56DC55FC-9AD1-4F11-B3FE-E15E3DF9845C}"/>
          </ac:spMkLst>
        </pc:spChg>
        <pc:spChg chg="add del">
          <ac:chgData name="Renata Festa" userId="6f22df47-533b-4c2a-a3c1-7f9ad1d63e10" providerId="ADAL" clId="{7D997690-04A4-4675-83D7-2E1CC2ED1A4E}" dt="2020-03-24T13:10:47.461" v="1470"/>
          <ac:spMkLst>
            <pc:docMk/>
            <pc:sldMk cId="364567982" sldId="2076136646"/>
            <ac:spMk id="131" creationId="{15A015B0-7025-4C16-AC04-DA6DE0FB78E4}"/>
          </ac:spMkLst>
        </pc:spChg>
        <pc:spChg chg="add del">
          <ac:chgData name="Renata Festa" userId="6f22df47-533b-4c2a-a3c1-7f9ad1d63e10" providerId="ADAL" clId="{7D997690-04A4-4675-83D7-2E1CC2ED1A4E}" dt="2020-03-24T13:10:47.461" v="1470"/>
          <ac:spMkLst>
            <pc:docMk/>
            <pc:sldMk cId="364567982" sldId="2076136646"/>
            <ac:spMk id="133" creationId="{70226032-B4D9-4EC7-AC18-E5BC109DD5D3}"/>
          </ac:spMkLst>
        </pc:spChg>
        <pc:spChg chg="add mod">
          <ac:chgData name="Renata Festa" userId="6f22df47-533b-4c2a-a3c1-7f9ad1d63e10" providerId="ADAL" clId="{7D997690-04A4-4675-83D7-2E1CC2ED1A4E}" dt="2020-03-24T13:53:49.796" v="1480" actId="1036"/>
          <ac:spMkLst>
            <pc:docMk/>
            <pc:sldMk cId="364567982" sldId="2076136646"/>
            <ac:spMk id="134" creationId="{AC4E1CE2-910C-40F1-8997-6EE486EBD0E2}"/>
          </ac:spMkLst>
        </pc:spChg>
        <pc:spChg chg="add mod">
          <ac:chgData name="Renata Festa" userId="6f22df47-533b-4c2a-a3c1-7f9ad1d63e10" providerId="ADAL" clId="{7D997690-04A4-4675-83D7-2E1CC2ED1A4E}" dt="2020-03-24T13:53:49.796" v="1480" actId="1036"/>
          <ac:spMkLst>
            <pc:docMk/>
            <pc:sldMk cId="364567982" sldId="2076136646"/>
            <ac:spMk id="153" creationId="{99CFDC2A-1D81-48F0-976A-81F1C3497946}"/>
          </ac:spMkLst>
        </pc:spChg>
        <pc:spChg chg="add mod">
          <ac:chgData name="Renata Festa" userId="6f22df47-533b-4c2a-a3c1-7f9ad1d63e10" providerId="ADAL" clId="{7D997690-04A4-4675-83D7-2E1CC2ED1A4E}" dt="2020-03-24T13:53:49.796" v="1480" actId="1036"/>
          <ac:spMkLst>
            <pc:docMk/>
            <pc:sldMk cId="364567982" sldId="2076136646"/>
            <ac:spMk id="154" creationId="{71690863-7997-4886-9792-3D547C0E4601}"/>
          </ac:spMkLst>
        </pc:spChg>
        <pc:spChg chg="add mod">
          <ac:chgData name="Renata Festa" userId="6f22df47-533b-4c2a-a3c1-7f9ad1d63e10" providerId="ADAL" clId="{7D997690-04A4-4675-83D7-2E1CC2ED1A4E}" dt="2020-03-24T13:53:49.796" v="1480" actId="1036"/>
          <ac:spMkLst>
            <pc:docMk/>
            <pc:sldMk cId="364567982" sldId="2076136646"/>
            <ac:spMk id="155" creationId="{0DF3845C-0726-42EB-9635-63F1EB097733}"/>
          </ac:spMkLst>
        </pc:spChg>
        <pc:spChg chg="add mod">
          <ac:chgData name="Renata Festa" userId="6f22df47-533b-4c2a-a3c1-7f9ad1d63e10" providerId="ADAL" clId="{7D997690-04A4-4675-83D7-2E1CC2ED1A4E}" dt="2020-03-24T13:53:49.796" v="1480" actId="1036"/>
          <ac:spMkLst>
            <pc:docMk/>
            <pc:sldMk cId="364567982" sldId="2076136646"/>
            <ac:spMk id="158" creationId="{197D3D71-0CC9-441C-ACFA-7361FB4AC4C8}"/>
          </ac:spMkLst>
        </pc:spChg>
        <pc:spChg chg="add mod">
          <ac:chgData name="Renata Festa" userId="6f22df47-533b-4c2a-a3c1-7f9ad1d63e10" providerId="ADAL" clId="{7D997690-04A4-4675-83D7-2E1CC2ED1A4E}" dt="2020-03-24T13:53:49.796" v="1480" actId="1036"/>
          <ac:spMkLst>
            <pc:docMk/>
            <pc:sldMk cId="364567982" sldId="2076136646"/>
            <ac:spMk id="159" creationId="{BD0F7BAA-6D34-4608-8E04-B01B871E95EB}"/>
          </ac:spMkLst>
        </pc:spChg>
        <pc:spChg chg="add mod">
          <ac:chgData name="Renata Festa" userId="6f22df47-533b-4c2a-a3c1-7f9ad1d63e10" providerId="ADAL" clId="{7D997690-04A4-4675-83D7-2E1CC2ED1A4E}" dt="2020-03-24T13:53:49.796" v="1480" actId="1036"/>
          <ac:spMkLst>
            <pc:docMk/>
            <pc:sldMk cId="364567982" sldId="2076136646"/>
            <ac:spMk id="160" creationId="{1937E76C-BC68-43E2-B21A-52330483BBF1}"/>
          </ac:spMkLst>
        </pc:spChg>
        <pc:spChg chg="add mod">
          <ac:chgData name="Renata Festa" userId="6f22df47-533b-4c2a-a3c1-7f9ad1d63e10" providerId="ADAL" clId="{7D997690-04A4-4675-83D7-2E1CC2ED1A4E}" dt="2020-03-24T13:53:49.796" v="1480" actId="1036"/>
          <ac:spMkLst>
            <pc:docMk/>
            <pc:sldMk cId="364567982" sldId="2076136646"/>
            <ac:spMk id="161" creationId="{ACAC5076-E617-43F8-8FB5-B411EB28B6E7}"/>
          </ac:spMkLst>
        </pc:spChg>
        <pc:spChg chg="add mod">
          <ac:chgData name="Renata Festa" userId="6f22df47-533b-4c2a-a3c1-7f9ad1d63e10" providerId="ADAL" clId="{7D997690-04A4-4675-83D7-2E1CC2ED1A4E}" dt="2020-03-24T13:53:49.796" v="1480" actId="1036"/>
          <ac:spMkLst>
            <pc:docMk/>
            <pc:sldMk cId="364567982" sldId="2076136646"/>
            <ac:spMk id="162" creationId="{B41F5780-F70C-411E-9BAD-223B77AD4042}"/>
          </ac:spMkLst>
        </pc:spChg>
        <pc:spChg chg="add mod">
          <ac:chgData name="Renata Festa" userId="6f22df47-533b-4c2a-a3c1-7f9ad1d63e10" providerId="ADAL" clId="{7D997690-04A4-4675-83D7-2E1CC2ED1A4E}" dt="2020-03-24T13:53:49.796" v="1480" actId="1036"/>
          <ac:spMkLst>
            <pc:docMk/>
            <pc:sldMk cId="364567982" sldId="2076136646"/>
            <ac:spMk id="163" creationId="{0F056C97-B9D0-4972-A2C9-1A2E88F55C42}"/>
          </ac:spMkLst>
        </pc:spChg>
        <pc:spChg chg="add mod">
          <ac:chgData name="Renata Festa" userId="6f22df47-533b-4c2a-a3c1-7f9ad1d63e10" providerId="ADAL" clId="{7D997690-04A4-4675-83D7-2E1CC2ED1A4E}" dt="2020-03-24T13:53:49.796" v="1480" actId="1036"/>
          <ac:spMkLst>
            <pc:docMk/>
            <pc:sldMk cId="364567982" sldId="2076136646"/>
            <ac:spMk id="164" creationId="{B8833B24-B51A-4A84-84FF-E1B345FB7B37}"/>
          </ac:spMkLst>
        </pc:spChg>
        <pc:spChg chg="add mod">
          <ac:chgData name="Renata Festa" userId="6f22df47-533b-4c2a-a3c1-7f9ad1d63e10" providerId="ADAL" clId="{7D997690-04A4-4675-83D7-2E1CC2ED1A4E}" dt="2020-03-24T13:53:49.796" v="1480" actId="1036"/>
          <ac:spMkLst>
            <pc:docMk/>
            <pc:sldMk cId="364567982" sldId="2076136646"/>
            <ac:spMk id="165" creationId="{A468A9F7-C7C4-438D-8746-193F7A026AC5}"/>
          </ac:spMkLst>
        </pc:spChg>
        <pc:spChg chg="add mod">
          <ac:chgData name="Renata Festa" userId="6f22df47-533b-4c2a-a3c1-7f9ad1d63e10" providerId="ADAL" clId="{7D997690-04A4-4675-83D7-2E1CC2ED1A4E}" dt="2020-03-24T13:53:49.796" v="1480" actId="1036"/>
          <ac:spMkLst>
            <pc:docMk/>
            <pc:sldMk cId="364567982" sldId="2076136646"/>
            <ac:spMk id="166" creationId="{37761600-248D-4780-9C10-3720460F2AC9}"/>
          </ac:spMkLst>
        </pc:spChg>
        <pc:spChg chg="add mod">
          <ac:chgData name="Renata Festa" userId="6f22df47-533b-4c2a-a3c1-7f9ad1d63e10" providerId="ADAL" clId="{7D997690-04A4-4675-83D7-2E1CC2ED1A4E}" dt="2020-03-24T13:53:49.796" v="1480" actId="1036"/>
          <ac:spMkLst>
            <pc:docMk/>
            <pc:sldMk cId="364567982" sldId="2076136646"/>
            <ac:spMk id="167" creationId="{AE212668-53F9-45FB-B603-0E889517E75B}"/>
          </ac:spMkLst>
        </pc:spChg>
        <pc:spChg chg="add mod">
          <ac:chgData name="Renata Festa" userId="6f22df47-533b-4c2a-a3c1-7f9ad1d63e10" providerId="ADAL" clId="{7D997690-04A4-4675-83D7-2E1CC2ED1A4E}" dt="2020-03-24T13:53:49.796" v="1480" actId="1036"/>
          <ac:spMkLst>
            <pc:docMk/>
            <pc:sldMk cId="364567982" sldId="2076136646"/>
            <ac:spMk id="168" creationId="{44C56C4E-FA9A-4B33-AC0B-BC04BFC028AB}"/>
          </ac:spMkLst>
        </pc:spChg>
        <pc:spChg chg="add mod">
          <ac:chgData name="Renata Festa" userId="6f22df47-533b-4c2a-a3c1-7f9ad1d63e10" providerId="ADAL" clId="{7D997690-04A4-4675-83D7-2E1CC2ED1A4E}" dt="2020-03-24T13:53:49.796" v="1480" actId="1036"/>
          <ac:spMkLst>
            <pc:docMk/>
            <pc:sldMk cId="364567982" sldId="2076136646"/>
            <ac:spMk id="169" creationId="{237AFDB3-115B-4F0C-AB7D-C6BB9A98BA83}"/>
          </ac:spMkLst>
        </pc:spChg>
        <pc:spChg chg="add mod">
          <ac:chgData name="Renata Festa" userId="6f22df47-533b-4c2a-a3c1-7f9ad1d63e10" providerId="ADAL" clId="{7D997690-04A4-4675-83D7-2E1CC2ED1A4E}" dt="2020-03-24T13:53:49.796" v="1480" actId="1036"/>
          <ac:spMkLst>
            <pc:docMk/>
            <pc:sldMk cId="364567982" sldId="2076136646"/>
            <ac:spMk id="170" creationId="{8DA0DC0D-7134-4A2D-8B9F-A1467B7935FA}"/>
          </ac:spMkLst>
        </pc:spChg>
        <pc:spChg chg="add mod">
          <ac:chgData name="Renata Festa" userId="6f22df47-533b-4c2a-a3c1-7f9ad1d63e10" providerId="ADAL" clId="{7D997690-04A4-4675-83D7-2E1CC2ED1A4E}" dt="2020-03-24T13:53:49.796" v="1480" actId="1036"/>
          <ac:spMkLst>
            <pc:docMk/>
            <pc:sldMk cId="364567982" sldId="2076136646"/>
            <ac:spMk id="171" creationId="{5FC66A28-DC49-46C1-BC5B-9E14CCDB87CA}"/>
          </ac:spMkLst>
        </pc:spChg>
        <pc:spChg chg="add mod">
          <ac:chgData name="Renata Festa" userId="6f22df47-533b-4c2a-a3c1-7f9ad1d63e10" providerId="ADAL" clId="{7D997690-04A4-4675-83D7-2E1CC2ED1A4E}" dt="2020-03-24T13:53:49.796" v="1480" actId="1036"/>
          <ac:spMkLst>
            <pc:docMk/>
            <pc:sldMk cId="364567982" sldId="2076136646"/>
            <ac:spMk id="172" creationId="{0C075902-3E80-4E88-939D-009CBFC19DEF}"/>
          </ac:spMkLst>
        </pc:spChg>
        <pc:spChg chg="add mod">
          <ac:chgData name="Renata Festa" userId="6f22df47-533b-4c2a-a3c1-7f9ad1d63e10" providerId="ADAL" clId="{7D997690-04A4-4675-83D7-2E1CC2ED1A4E}" dt="2020-03-24T13:53:49.796" v="1480" actId="1036"/>
          <ac:spMkLst>
            <pc:docMk/>
            <pc:sldMk cId="364567982" sldId="2076136646"/>
            <ac:spMk id="174" creationId="{DC1F0684-8912-48CC-B03E-BFD7ED2684FE}"/>
          </ac:spMkLst>
        </pc:spChg>
        <pc:spChg chg="add mod">
          <ac:chgData name="Renata Festa" userId="6f22df47-533b-4c2a-a3c1-7f9ad1d63e10" providerId="ADAL" clId="{7D997690-04A4-4675-83D7-2E1CC2ED1A4E}" dt="2020-03-24T13:53:49.796" v="1480" actId="1036"/>
          <ac:spMkLst>
            <pc:docMk/>
            <pc:sldMk cId="364567982" sldId="2076136646"/>
            <ac:spMk id="175" creationId="{4F5FF909-5AE6-4C09-9633-5A65C248BA14}"/>
          </ac:spMkLst>
        </pc:spChg>
        <pc:spChg chg="add mod">
          <ac:chgData name="Renata Festa" userId="6f22df47-533b-4c2a-a3c1-7f9ad1d63e10" providerId="ADAL" clId="{7D997690-04A4-4675-83D7-2E1CC2ED1A4E}" dt="2020-03-24T13:53:49.796" v="1480" actId="1036"/>
          <ac:spMkLst>
            <pc:docMk/>
            <pc:sldMk cId="364567982" sldId="2076136646"/>
            <ac:spMk id="176" creationId="{BDF23CBD-ED74-490F-8A17-338E8A85EFAA}"/>
          </ac:spMkLst>
        </pc:spChg>
        <pc:spChg chg="add mod">
          <ac:chgData name="Renata Festa" userId="6f22df47-533b-4c2a-a3c1-7f9ad1d63e10" providerId="ADAL" clId="{7D997690-04A4-4675-83D7-2E1CC2ED1A4E}" dt="2020-03-24T13:53:49.796" v="1480" actId="1036"/>
          <ac:spMkLst>
            <pc:docMk/>
            <pc:sldMk cId="364567982" sldId="2076136646"/>
            <ac:spMk id="177" creationId="{57B8CB74-5690-4B17-B008-0A6FA889E2B0}"/>
          </ac:spMkLst>
        </pc:spChg>
        <pc:spChg chg="add mod">
          <ac:chgData name="Renata Festa" userId="6f22df47-533b-4c2a-a3c1-7f9ad1d63e10" providerId="ADAL" clId="{7D997690-04A4-4675-83D7-2E1CC2ED1A4E}" dt="2020-03-24T13:53:49.796" v="1480" actId="1036"/>
          <ac:spMkLst>
            <pc:docMk/>
            <pc:sldMk cId="364567982" sldId="2076136646"/>
            <ac:spMk id="179" creationId="{B47F0EA0-3C0B-4EDA-864B-9424B2C1F180}"/>
          </ac:spMkLst>
        </pc:spChg>
        <pc:spChg chg="add mod">
          <ac:chgData name="Renata Festa" userId="6f22df47-533b-4c2a-a3c1-7f9ad1d63e10" providerId="ADAL" clId="{7D997690-04A4-4675-83D7-2E1CC2ED1A4E}" dt="2020-03-24T13:53:49.796" v="1480" actId="1036"/>
          <ac:spMkLst>
            <pc:docMk/>
            <pc:sldMk cId="364567982" sldId="2076136646"/>
            <ac:spMk id="180" creationId="{72A983A6-28E4-4654-9478-7252A21BCE4C}"/>
          </ac:spMkLst>
        </pc:spChg>
        <pc:spChg chg="add mod">
          <ac:chgData name="Renata Festa" userId="6f22df47-533b-4c2a-a3c1-7f9ad1d63e10" providerId="ADAL" clId="{7D997690-04A4-4675-83D7-2E1CC2ED1A4E}" dt="2020-03-24T13:53:49.796" v="1480" actId="1036"/>
          <ac:spMkLst>
            <pc:docMk/>
            <pc:sldMk cId="364567982" sldId="2076136646"/>
            <ac:spMk id="184" creationId="{753628C1-EC0E-4636-9923-A19301B90257}"/>
          </ac:spMkLst>
        </pc:spChg>
        <pc:spChg chg="add mod">
          <ac:chgData name="Renata Festa" userId="6f22df47-533b-4c2a-a3c1-7f9ad1d63e10" providerId="ADAL" clId="{7D997690-04A4-4675-83D7-2E1CC2ED1A4E}" dt="2020-03-24T13:53:49.796" v="1480" actId="1036"/>
          <ac:spMkLst>
            <pc:docMk/>
            <pc:sldMk cId="364567982" sldId="2076136646"/>
            <ac:spMk id="186" creationId="{28CD842E-EE71-4E3D-9087-2F08FE0C5A1B}"/>
          </ac:spMkLst>
        </pc:spChg>
        <pc:spChg chg="add mod">
          <ac:chgData name="Renata Festa" userId="6f22df47-533b-4c2a-a3c1-7f9ad1d63e10" providerId="ADAL" clId="{7D997690-04A4-4675-83D7-2E1CC2ED1A4E}" dt="2020-03-24T13:53:49.796" v="1480" actId="1036"/>
          <ac:spMkLst>
            <pc:docMk/>
            <pc:sldMk cId="364567982" sldId="2076136646"/>
            <ac:spMk id="199" creationId="{2718DCEC-5104-4925-80FA-AA27F893F8D5}"/>
          </ac:spMkLst>
        </pc:spChg>
        <pc:spChg chg="add mod">
          <ac:chgData name="Renata Festa" userId="6f22df47-533b-4c2a-a3c1-7f9ad1d63e10" providerId="ADAL" clId="{7D997690-04A4-4675-83D7-2E1CC2ED1A4E}" dt="2020-03-24T13:53:49.796" v="1480" actId="1036"/>
          <ac:spMkLst>
            <pc:docMk/>
            <pc:sldMk cId="364567982" sldId="2076136646"/>
            <ac:spMk id="200" creationId="{62DF2CA9-8318-4D23-842B-20AC2F97981B}"/>
          </ac:spMkLst>
        </pc:spChg>
        <pc:spChg chg="add mod">
          <ac:chgData name="Renata Festa" userId="6f22df47-533b-4c2a-a3c1-7f9ad1d63e10" providerId="ADAL" clId="{7D997690-04A4-4675-83D7-2E1CC2ED1A4E}" dt="2020-03-24T13:53:49.796" v="1480" actId="1036"/>
          <ac:spMkLst>
            <pc:docMk/>
            <pc:sldMk cId="364567982" sldId="2076136646"/>
            <ac:spMk id="232" creationId="{349E7AAE-6A78-4E63-8892-598E45EB5C89}"/>
          </ac:spMkLst>
        </pc:spChg>
        <pc:spChg chg="add mod">
          <ac:chgData name="Renata Festa" userId="6f22df47-533b-4c2a-a3c1-7f9ad1d63e10" providerId="ADAL" clId="{7D997690-04A4-4675-83D7-2E1CC2ED1A4E}" dt="2020-03-24T13:53:49.796" v="1480" actId="1036"/>
          <ac:spMkLst>
            <pc:docMk/>
            <pc:sldMk cId="364567982" sldId="2076136646"/>
            <ac:spMk id="233" creationId="{5483209F-9104-41DD-8A54-C0941CBE6B1A}"/>
          </ac:spMkLst>
        </pc:spChg>
        <pc:spChg chg="add mod">
          <ac:chgData name="Renata Festa" userId="6f22df47-533b-4c2a-a3c1-7f9ad1d63e10" providerId="ADAL" clId="{7D997690-04A4-4675-83D7-2E1CC2ED1A4E}" dt="2020-03-24T13:53:49.796" v="1480" actId="1036"/>
          <ac:spMkLst>
            <pc:docMk/>
            <pc:sldMk cId="364567982" sldId="2076136646"/>
            <ac:spMk id="246" creationId="{8034E863-D650-4C64-A919-94269F8FFCF4}"/>
          </ac:spMkLst>
        </pc:spChg>
        <pc:spChg chg="add mod">
          <ac:chgData name="Renata Festa" userId="6f22df47-533b-4c2a-a3c1-7f9ad1d63e10" providerId="ADAL" clId="{7D997690-04A4-4675-83D7-2E1CC2ED1A4E}" dt="2020-03-24T13:53:49.796" v="1480" actId="1036"/>
          <ac:spMkLst>
            <pc:docMk/>
            <pc:sldMk cId="364567982" sldId="2076136646"/>
            <ac:spMk id="247" creationId="{1B25BA46-26CB-4220-87A8-8678036A8A3E}"/>
          </ac:spMkLst>
        </pc:spChg>
        <pc:spChg chg="add mod">
          <ac:chgData name="Renata Festa" userId="6f22df47-533b-4c2a-a3c1-7f9ad1d63e10" providerId="ADAL" clId="{7D997690-04A4-4675-83D7-2E1CC2ED1A4E}" dt="2020-03-24T13:53:49.796" v="1480" actId="1036"/>
          <ac:spMkLst>
            <pc:docMk/>
            <pc:sldMk cId="364567982" sldId="2076136646"/>
            <ac:spMk id="248" creationId="{7D9474C4-3C27-40E6-82B7-7A8E38CC1019}"/>
          </ac:spMkLst>
        </pc:spChg>
        <pc:spChg chg="add mod">
          <ac:chgData name="Renata Festa" userId="6f22df47-533b-4c2a-a3c1-7f9ad1d63e10" providerId="ADAL" clId="{7D997690-04A4-4675-83D7-2E1CC2ED1A4E}" dt="2020-03-24T13:53:49.796" v="1480" actId="1036"/>
          <ac:spMkLst>
            <pc:docMk/>
            <pc:sldMk cId="364567982" sldId="2076136646"/>
            <ac:spMk id="249" creationId="{97F8EAA4-5983-43B0-8516-3356EE650A6A}"/>
          </ac:spMkLst>
        </pc:spChg>
        <pc:spChg chg="add mod">
          <ac:chgData name="Renata Festa" userId="6f22df47-533b-4c2a-a3c1-7f9ad1d63e10" providerId="ADAL" clId="{7D997690-04A4-4675-83D7-2E1CC2ED1A4E}" dt="2020-03-24T13:53:49.796" v="1480" actId="1036"/>
          <ac:spMkLst>
            <pc:docMk/>
            <pc:sldMk cId="364567982" sldId="2076136646"/>
            <ac:spMk id="250" creationId="{2A132641-0ECB-4886-9BE1-3D34B54D9329}"/>
          </ac:spMkLst>
        </pc:spChg>
        <pc:spChg chg="add mod">
          <ac:chgData name="Renata Festa" userId="6f22df47-533b-4c2a-a3c1-7f9ad1d63e10" providerId="ADAL" clId="{7D997690-04A4-4675-83D7-2E1CC2ED1A4E}" dt="2020-03-24T13:53:49.796" v="1480" actId="1036"/>
          <ac:spMkLst>
            <pc:docMk/>
            <pc:sldMk cId="364567982" sldId="2076136646"/>
            <ac:spMk id="251" creationId="{E288E601-FFBD-4209-A8C7-642BA30C5D2F}"/>
          </ac:spMkLst>
        </pc:spChg>
        <pc:spChg chg="add mod">
          <ac:chgData name="Renata Festa" userId="6f22df47-533b-4c2a-a3c1-7f9ad1d63e10" providerId="ADAL" clId="{7D997690-04A4-4675-83D7-2E1CC2ED1A4E}" dt="2020-03-24T13:53:49.796" v="1480" actId="1036"/>
          <ac:spMkLst>
            <pc:docMk/>
            <pc:sldMk cId="364567982" sldId="2076136646"/>
            <ac:spMk id="252" creationId="{BE4DED54-D6F0-42EA-8CC7-BD69B74F4F2A}"/>
          </ac:spMkLst>
        </pc:spChg>
        <pc:spChg chg="add mod">
          <ac:chgData name="Renata Festa" userId="6f22df47-533b-4c2a-a3c1-7f9ad1d63e10" providerId="ADAL" clId="{7D997690-04A4-4675-83D7-2E1CC2ED1A4E}" dt="2020-03-24T13:53:49.796" v="1480" actId="1036"/>
          <ac:spMkLst>
            <pc:docMk/>
            <pc:sldMk cId="364567982" sldId="2076136646"/>
            <ac:spMk id="253" creationId="{09791323-0891-41FE-8AE2-C9F25AA63521}"/>
          </ac:spMkLst>
        </pc:spChg>
        <pc:spChg chg="add mod">
          <ac:chgData name="Renata Festa" userId="6f22df47-533b-4c2a-a3c1-7f9ad1d63e10" providerId="ADAL" clId="{7D997690-04A4-4675-83D7-2E1CC2ED1A4E}" dt="2020-03-24T13:53:49.796" v="1480" actId="1036"/>
          <ac:spMkLst>
            <pc:docMk/>
            <pc:sldMk cId="364567982" sldId="2076136646"/>
            <ac:spMk id="254" creationId="{8FCD5A44-D305-4994-9E31-89E42CA4B238}"/>
          </ac:spMkLst>
        </pc:spChg>
        <pc:spChg chg="add mod">
          <ac:chgData name="Renata Festa" userId="6f22df47-533b-4c2a-a3c1-7f9ad1d63e10" providerId="ADAL" clId="{7D997690-04A4-4675-83D7-2E1CC2ED1A4E}" dt="2020-03-24T13:53:49.796" v="1480" actId="1036"/>
          <ac:spMkLst>
            <pc:docMk/>
            <pc:sldMk cId="364567982" sldId="2076136646"/>
            <ac:spMk id="255" creationId="{867EA6CC-F216-48A0-9233-D89D752A9652}"/>
          </ac:spMkLst>
        </pc:spChg>
        <pc:spChg chg="add mod">
          <ac:chgData name="Renata Festa" userId="6f22df47-533b-4c2a-a3c1-7f9ad1d63e10" providerId="ADAL" clId="{7D997690-04A4-4675-83D7-2E1CC2ED1A4E}" dt="2020-03-24T13:53:49.796" v="1480" actId="1036"/>
          <ac:spMkLst>
            <pc:docMk/>
            <pc:sldMk cId="364567982" sldId="2076136646"/>
            <ac:spMk id="256" creationId="{20208657-16CF-4BF5-9882-CECC4F8681D2}"/>
          </ac:spMkLst>
        </pc:spChg>
        <pc:spChg chg="add mod">
          <ac:chgData name="Renata Festa" userId="6f22df47-533b-4c2a-a3c1-7f9ad1d63e10" providerId="ADAL" clId="{7D997690-04A4-4675-83D7-2E1CC2ED1A4E}" dt="2020-03-24T13:53:49.796" v="1480" actId="1036"/>
          <ac:spMkLst>
            <pc:docMk/>
            <pc:sldMk cId="364567982" sldId="2076136646"/>
            <ac:spMk id="257" creationId="{9D96BA24-203A-42D4-993D-2EB41AD4E303}"/>
          </ac:spMkLst>
        </pc:spChg>
        <pc:spChg chg="add mod">
          <ac:chgData name="Renata Festa" userId="6f22df47-533b-4c2a-a3c1-7f9ad1d63e10" providerId="ADAL" clId="{7D997690-04A4-4675-83D7-2E1CC2ED1A4E}" dt="2020-03-24T13:53:49.796" v="1480" actId="1036"/>
          <ac:spMkLst>
            <pc:docMk/>
            <pc:sldMk cId="364567982" sldId="2076136646"/>
            <ac:spMk id="259" creationId="{D32CF83C-BE0C-4636-A086-E2C261AB3D9A}"/>
          </ac:spMkLst>
        </pc:spChg>
        <pc:spChg chg="add mod">
          <ac:chgData name="Renata Festa" userId="6f22df47-533b-4c2a-a3c1-7f9ad1d63e10" providerId="ADAL" clId="{7D997690-04A4-4675-83D7-2E1CC2ED1A4E}" dt="2020-03-24T13:53:49.796" v="1480" actId="1036"/>
          <ac:spMkLst>
            <pc:docMk/>
            <pc:sldMk cId="364567982" sldId="2076136646"/>
            <ac:spMk id="260" creationId="{464FEA92-AEA7-46E8-AD4A-9C69638AD367}"/>
          </ac:spMkLst>
        </pc:spChg>
        <pc:spChg chg="add mod">
          <ac:chgData name="Renata Festa" userId="6f22df47-533b-4c2a-a3c1-7f9ad1d63e10" providerId="ADAL" clId="{7D997690-04A4-4675-83D7-2E1CC2ED1A4E}" dt="2020-03-24T13:53:49.796" v="1480" actId="1036"/>
          <ac:spMkLst>
            <pc:docMk/>
            <pc:sldMk cId="364567982" sldId="2076136646"/>
            <ac:spMk id="262" creationId="{8C38B17A-12E7-44B0-8639-29BB48C5DFA1}"/>
          </ac:spMkLst>
        </pc:spChg>
        <pc:spChg chg="add del mod">
          <ac:chgData name="Renata Festa" userId="6f22df47-533b-4c2a-a3c1-7f9ad1d63e10" providerId="ADAL" clId="{7D997690-04A4-4675-83D7-2E1CC2ED1A4E}" dt="2020-03-24T13:59:14.111" v="1613" actId="478"/>
          <ac:spMkLst>
            <pc:docMk/>
            <pc:sldMk cId="364567982" sldId="2076136646"/>
            <ac:spMk id="264" creationId="{67E42E6F-1831-457E-B61C-BAE113CF2B9E}"/>
          </ac:spMkLst>
        </pc:spChg>
        <pc:grpChg chg="add del">
          <ac:chgData name="Renata Festa" userId="6f22df47-533b-4c2a-a3c1-7f9ad1d63e10" providerId="ADAL" clId="{7D997690-04A4-4675-83D7-2E1CC2ED1A4E}" dt="2020-03-24T13:10:47.461" v="1470"/>
          <ac:grpSpMkLst>
            <pc:docMk/>
            <pc:sldMk cId="364567982" sldId="2076136646"/>
            <ac:grpSpMk id="6" creationId="{410B9E63-5E4F-4237-A844-7384483B6DB0}"/>
          </ac:grpSpMkLst>
        </pc:grpChg>
        <pc:grpChg chg="add del">
          <ac:chgData name="Renata Festa" userId="6f22df47-533b-4c2a-a3c1-7f9ad1d63e10" providerId="ADAL" clId="{7D997690-04A4-4675-83D7-2E1CC2ED1A4E}" dt="2020-03-24T13:10:47.461" v="1470"/>
          <ac:grpSpMkLst>
            <pc:docMk/>
            <pc:sldMk cId="364567982" sldId="2076136646"/>
            <ac:grpSpMk id="12" creationId="{C0EDC937-38D3-491E-825D-29E8548F5A2D}"/>
          </ac:grpSpMkLst>
        </pc:grpChg>
        <pc:grpChg chg="add del">
          <ac:chgData name="Renata Festa" userId="6f22df47-533b-4c2a-a3c1-7f9ad1d63e10" providerId="ADAL" clId="{7D997690-04A4-4675-83D7-2E1CC2ED1A4E}" dt="2020-03-24T13:10:47.461" v="1470"/>
          <ac:grpSpMkLst>
            <pc:docMk/>
            <pc:sldMk cId="364567982" sldId="2076136646"/>
            <ac:grpSpMk id="18" creationId="{2351F35F-2A20-442C-BB9A-E7C28BDA1B81}"/>
          </ac:grpSpMkLst>
        </pc:grpChg>
        <pc:grpChg chg="add del">
          <ac:chgData name="Renata Festa" userId="6f22df47-533b-4c2a-a3c1-7f9ad1d63e10" providerId="ADAL" clId="{7D997690-04A4-4675-83D7-2E1CC2ED1A4E}" dt="2020-03-24T13:10:47.461" v="1470"/>
          <ac:grpSpMkLst>
            <pc:docMk/>
            <pc:sldMk cId="364567982" sldId="2076136646"/>
            <ac:grpSpMk id="58" creationId="{E5671810-5340-429D-826F-EE0AD5A23012}"/>
          </ac:grpSpMkLst>
        </pc:grpChg>
        <pc:grpChg chg="add del">
          <ac:chgData name="Renata Festa" userId="6f22df47-533b-4c2a-a3c1-7f9ad1d63e10" providerId="ADAL" clId="{7D997690-04A4-4675-83D7-2E1CC2ED1A4E}" dt="2020-03-24T13:10:47.461" v="1470"/>
          <ac:grpSpMkLst>
            <pc:docMk/>
            <pc:sldMk cId="364567982" sldId="2076136646"/>
            <ac:grpSpMk id="72" creationId="{E0C1786B-F5AA-4A71-9D4B-D4A93EB0FAC3}"/>
          </ac:grpSpMkLst>
        </pc:grpChg>
        <pc:grpChg chg="add del">
          <ac:chgData name="Renata Festa" userId="6f22df47-533b-4c2a-a3c1-7f9ad1d63e10" providerId="ADAL" clId="{7D997690-04A4-4675-83D7-2E1CC2ED1A4E}" dt="2020-03-24T13:10:47.461" v="1470"/>
          <ac:grpSpMkLst>
            <pc:docMk/>
            <pc:sldMk cId="364567982" sldId="2076136646"/>
            <ac:grpSpMk id="87" creationId="{F31BD5E8-B5DA-46DE-A489-26E1FF7B9E0B}"/>
          </ac:grpSpMkLst>
        </pc:grpChg>
        <pc:grpChg chg="add del">
          <ac:chgData name="Renata Festa" userId="6f22df47-533b-4c2a-a3c1-7f9ad1d63e10" providerId="ADAL" clId="{7D997690-04A4-4675-83D7-2E1CC2ED1A4E}" dt="2020-03-24T13:10:47.461" v="1470"/>
          <ac:grpSpMkLst>
            <pc:docMk/>
            <pc:sldMk cId="364567982" sldId="2076136646"/>
            <ac:grpSpMk id="105" creationId="{96A010BF-338C-462A-894D-29FC53DAAC16}"/>
          </ac:grpSpMkLst>
        </pc:grpChg>
        <pc:grpChg chg="add del">
          <ac:chgData name="Renata Festa" userId="6f22df47-533b-4c2a-a3c1-7f9ad1d63e10" providerId="ADAL" clId="{7D997690-04A4-4675-83D7-2E1CC2ED1A4E}" dt="2020-03-24T13:10:47.461" v="1470"/>
          <ac:grpSpMkLst>
            <pc:docMk/>
            <pc:sldMk cId="364567982" sldId="2076136646"/>
            <ac:grpSpMk id="111" creationId="{5EC9F315-EC25-404A-8BCC-A56784C2D85A}"/>
          </ac:grpSpMkLst>
        </pc:grpChg>
        <pc:grpChg chg="add mod">
          <ac:chgData name="Renata Festa" userId="6f22df47-533b-4c2a-a3c1-7f9ad1d63e10" providerId="ADAL" clId="{7D997690-04A4-4675-83D7-2E1CC2ED1A4E}" dt="2020-03-24T13:53:49.796" v="1480" actId="1036"/>
          <ac:grpSpMkLst>
            <pc:docMk/>
            <pc:sldMk cId="364567982" sldId="2076136646"/>
            <ac:grpSpMk id="135" creationId="{F1D4211E-98ED-4558-9F5F-528E8C284720}"/>
          </ac:grpSpMkLst>
        </pc:grpChg>
        <pc:grpChg chg="mod">
          <ac:chgData name="Renata Festa" userId="6f22df47-533b-4c2a-a3c1-7f9ad1d63e10" providerId="ADAL" clId="{7D997690-04A4-4675-83D7-2E1CC2ED1A4E}" dt="2020-03-24T13:53:49.796" v="1480" actId="1036"/>
          <ac:grpSpMkLst>
            <pc:docMk/>
            <pc:sldMk cId="364567982" sldId="2076136646"/>
            <ac:grpSpMk id="136" creationId="{5CFCAC45-9EBE-4AE3-8CD1-D6F0976543E9}"/>
          </ac:grpSpMkLst>
        </pc:grpChg>
        <pc:grpChg chg="add mod">
          <ac:chgData name="Renata Festa" userId="6f22df47-533b-4c2a-a3c1-7f9ad1d63e10" providerId="ADAL" clId="{7D997690-04A4-4675-83D7-2E1CC2ED1A4E}" dt="2020-03-24T13:53:49.796" v="1480" actId="1036"/>
          <ac:grpSpMkLst>
            <pc:docMk/>
            <pc:sldMk cId="364567982" sldId="2076136646"/>
            <ac:grpSpMk id="141" creationId="{8FF8424F-EA6A-4C41-8143-C719185B233D}"/>
          </ac:grpSpMkLst>
        </pc:grpChg>
        <pc:grpChg chg="mod">
          <ac:chgData name="Renata Festa" userId="6f22df47-533b-4c2a-a3c1-7f9ad1d63e10" providerId="ADAL" clId="{7D997690-04A4-4675-83D7-2E1CC2ED1A4E}" dt="2020-03-24T13:53:49.796" v="1480" actId="1036"/>
          <ac:grpSpMkLst>
            <pc:docMk/>
            <pc:sldMk cId="364567982" sldId="2076136646"/>
            <ac:grpSpMk id="142" creationId="{CD6D115D-12BF-4C0F-ADC5-0B4E412854F9}"/>
          </ac:grpSpMkLst>
        </pc:grpChg>
        <pc:grpChg chg="add mod">
          <ac:chgData name="Renata Festa" userId="6f22df47-533b-4c2a-a3c1-7f9ad1d63e10" providerId="ADAL" clId="{7D997690-04A4-4675-83D7-2E1CC2ED1A4E}" dt="2020-03-24T13:53:49.796" v="1480" actId="1036"/>
          <ac:grpSpMkLst>
            <pc:docMk/>
            <pc:sldMk cId="364567982" sldId="2076136646"/>
            <ac:grpSpMk id="147" creationId="{AA37F63C-9ACA-4782-90B6-815E154C5D36}"/>
          </ac:grpSpMkLst>
        </pc:grpChg>
        <pc:grpChg chg="mod">
          <ac:chgData name="Renata Festa" userId="6f22df47-533b-4c2a-a3c1-7f9ad1d63e10" providerId="ADAL" clId="{7D997690-04A4-4675-83D7-2E1CC2ED1A4E}" dt="2020-03-24T13:53:49.796" v="1480" actId="1036"/>
          <ac:grpSpMkLst>
            <pc:docMk/>
            <pc:sldMk cId="364567982" sldId="2076136646"/>
            <ac:grpSpMk id="148" creationId="{4B3EBBB4-903E-49B2-A2D4-12FF5EE10061}"/>
          </ac:grpSpMkLst>
        </pc:grpChg>
        <pc:grpChg chg="add mod">
          <ac:chgData name="Renata Festa" userId="6f22df47-533b-4c2a-a3c1-7f9ad1d63e10" providerId="ADAL" clId="{7D997690-04A4-4675-83D7-2E1CC2ED1A4E}" dt="2020-03-24T13:53:49.796" v="1480" actId="1036"/>
          <ac:grpSpMkLst>
            <pc:docMk/>
            <pc:sldMk cId="364567982" sldId="2076136646"/>
            <ac:grpSpMk id="187" creationId="{17A9EFBD-0211-4550-9F9C-A6F84E213969}"/>
          </ac:grpSpMkLst>
        </pc:grpChg>
        <pc:grpChg chg="mod">
          <ac:chgData name="Renata Festa" userId="6f22df47-533b-4c2a-a3c1-7f9ad1d63e10" providerId="ADAL" clId="{7D997690-04A4-4675-83D7-2E1CC2ED1A4E}" dt="2020-03-24T13:53:49.796" v="1480" actId="1036"/>
          <ac:grpSpMkLst>
            <pc:docMk/>
            <pc:sldMk cId="364567982" sldId="2076136646"/>
            <ac:grpSpMk id="188" creationId="{9F92B1A4-FA1D-427B-B243-8DA844073B2E}"/>
          </ac:grpSpMkLst>
        </pc:grpChg>
        <pc:grpChg chg="mod">
          <ac:chgData name="Renata Festa" userId="6f22df47-533b-4c2a-a3c1-7f9ad1d63e10" providerId="ADAL" clId="{7D997690-04A4-4675-83D7-2E1CC2ED1A4E}" dt="2020-03-24T13:53:49.796" v="1480" actId="1036"/>
          <ac:grpSpMkLst>
            <pc:docMk/>
            <pc:sldMk cId="364567982" sldId="2076136646"/>
            <ac:grpSpMk id="191" creationId="{67355761-0B01-4142-BAED-591AC95A46F8}"/>
          </ac:grpSpMkLst>
        </pc:grpChg>
        <pc:grpChg chg="mod">
          <ac:chgData name="Renata Festa" userId="6f22df47-533b-4c2a-a3c1-7f9ad1d63e10" providerId="ADAL" clId="{7D997690-04A4-4675-83D7-2E1CC2ED1A4E}" dt="2020-03-24T13:53:49.796" v="1480" actId="1036"/>
          <ac:grpSpMkLst>
            <pc:docMk/>
            <pc:sldMk cId="364567982" sldId="2076136646"/>
            <ac:grpSpMk id="192" creationId="{AD5C497B-66B3-469A-870F-D14D16E9B97D}"/>
          </ac:grpSpMkLst>
        </pc:grpChg>
        <pc:grpChg chg="add mod">
          <ac:chgData name="Renata Festa" userId="6f22df47-533b-4c2a-a3c1-7f9ad1d63e10" providerId="ADAL" clId="{7D997690-04A4-4675-83D7-2E1CC2ED1A4E}" dt="2020-03-24T13:53:49.796" v="1480" actId="1036"/>
          <ac:grpSpMkLst>
            <pc:docMk/>
            <pc:sldMk cId="364567982" sldId="2076136646"/>
            <ac:grpSpMk id="201" creationId="{29926072-F245-456F-89B3-E41783A533C9}"/>
          </ac:grpSpMkLst>
        </pc:grpChg>
        <pc:grpChg chg="mod">
          <ac:chgData name="Renata Festa" userId="6f22df47-533b-4c2a-a3c1-7f9ad1d63e10" providerId="ADAL" clId="{7D997690-04A4-4675-83D7-2E1CC2ED1A4E}" dt="2020-03-24T13:53:49.796" v="1480" actId="1036"/>
          <ac:grpSpMkLst>
            <pc:docMk/>
            <pc:sldMk cId="364567982" sldId="2076136646"/>
            <ac:grpSpMk id="204" creationId="{9147FF56-1F89-4713-A779-F8C763C87098}"/>
          </ac:grpSpMkLst>
        </pc:grpChg>
        <pc:grpChg chg="mod">
          <ac:chgData name="Renata Festa" userId="6f22df47-533b-4c2a-a3c1-7f9ad1d63e10" providerId="ADAL" clId="{7D997690-04A4-4675-83D7-2E1CC2ED1A4E}" dt="2020-03-24T13:53:49.796" v="1480" actId="1036"/>
          <ac:grpSpMkLst>
            <pc:docMk/>
            <pc:sldMk cId="364567982" sldId="2076136646"/>
            <ac:grpSpMk id="208" creationId="{8B4579A4-6209-44CB-847E-FFC04E95E851}"/>
          </ac:grpSpMkLst>
        </pc:grpChg>
        <pc:grpChg chg="mod">
          <ac:chgData name="Renata Festa" userId="6f22df47-533b-4c2a-a3c1-7f9ad1d63e10" providerId="ADAL" clId="{7D997690-04A4-4675-83D7-2E1CC2ED1A4E}" dt="2020-03-24T13:53:49.796" v="1480" actId="1036"/>
          <ac:grpSpMkLst>
            <pc:docMk/>
            <pc:sldMk cId="364567982" sldId="2076136646"/>
            <ac:grpSpMk id="209" creationId="{8B28A560-753D-4E79-B0A8-D8B9D163BD9C}"/>
          </ac:grpSpMkLst>
        </pc:grpChg>
        <pc:grpChg chg="add mod">
          <ac:chgData name="Renata Festa" userId="6f22df47-533b-4c2a-a3c1-7f9ad1d63e10" providerId="ADAL" clId="{7D997690-04A4-4675-83D7-2E1CC2ED1A4E}" dt="2020-03-24T13:53:49.796" v="1480" actId="1036"/>
          <ac:grpSpMkLst>
            <pc:docMk/>
            <pc:sldMk cId="364567982" sldId="2076136646"/>
            <ac:grpSpMk id="216" creationId="{1755A931-D1A9-4E2E-AE50-219E9143A268}"/>
          </ac:grpSpMkLst>
        </pc:grpChg>
        <pc:grpChg chg="mod">
          <ac:chgData name="Renata Festa" userId="6f22df47-533b-4c2a-a3c1-7f9ad1d63e10" providerId="ADAL" clId="{7D997690-04A4-4675-83D7-2E1CC2ED1A4E}" dt="2020-03-24T13:53:49.796" v="1480" actId="1036"/>
          <ac:grpSpMkLst>
            <pc:docMk/>
            <pc:sldMk cId="364567982" sldId="2076136646"/>
            <ac:grpSpMk id="219" creationId="{70F5FF37-4BF5-45CC-9143-E55023568A19}"/>
          </ac:grpSpMkLst>
        </pc:grpChg>
        <pc:grpChg chg="mod">
          <ac:chgData name="Renata Festa" userId="6f22df47-533b-4c2a-a3c1-7f9ad1d63e10" providerId="ADAL" clId="{7D997690-04A4-4675-83D7-2E1CC2ED1A4E}" dt="2020-03-24T13:53:49.796" v="1480" actId="1036"/>
          <ac:grpSpMkLst>
            <pc:docMk/>
            <pc:sldMk cId="364567982" sldId="2076136646"/>
            <ac:grpSpMk id="223" creationId="{0855C8DA-CFF0-4550-A063-C4C32A3B3FE3}"/>
          </ac:grpSpMkLst>
        </pc:grpChg>
        <pc:grpChg chg="mod">
          <ac:chgData name="Renata Festa" userId="6f22df47-533b-4c2a-a3c1-7f9ad1d63e10" providerId="ADAL" clId="{7D997690-04A4-4675-83D7-2E1CC2ED1A4E}" dt="2020-03-24T13:53:49.796" v="1480" actId="1036"/>
          <ac:grpSpMkLst>
            <pc:docMk/>
            <pc:sldMk cId="364567982" sldId="2076136646"/>
            <ac:grpSpMk id="224" creationId="{2B45FF54-A3E7-4D8E-84EC-B4D82E915ED9}"/>
          </ac:grpSpMkLst>
        </pc:grpChg>
        <pc:grpChg chg="add mod">
          <ac:chgData name="Renata Festa" userId="6f22df47-533b-4c2a-a3c1-7f9ad1d63e10" providerId="ADAL" clId="{7D997690-04A4-4675-83D7-2E1CC2ED1A4E}" dt="2020-03-24T13:53:49.796" v="1480" actId="1036"/>
          <ac:grpSpMkLst>
            <pc:docMk/>
            <pc:sldMk cId="364567982" sldId="2076136646"/>
            <ac:grpSpMk id="234" creationId="{0C234FFC-D4DD-4511-8BA4-8D6AB3BF992B}"/>
          </ac:grpSpMkLst>
        </pc:grpChg>
        <pc:grpChg chg="mod">
          <ac:chgData name="Renata Festa" userId="6f22df47-533b-4c2a-a3c1-7f9ad1d63e10" providerId="ADAL" clId="{7D997690-04A4-4675-83D7-2E1CC2ED1A4E}" dt="2020-03-24T13:53:49.796" v="1480" actId="1036"/>
          <ac:grpSpMkLst>
            <pc:docMk/>
            <pc:sldMk cId="364567982" sldId="2076136646"/>
            <ac:grpSpMk id="237" creationId="{9889F8A4-3E53-4A35-99CD-6BDDDAAE1886}"/>
          </ac:grpSpMkLst>
        </pc:grpChg>
        <pc:grpChg chg="add del mod">
          <ac:chgData name="Renata Festa" userId="6f22df47-533b-4c2a-a3c1-7f9ad1d63e10" providerId="ADAL" clId="{7D997690-04A4-4675-83D7-2E1CC2ED1A4E}" dt="2020-03-24T13:59:05.859" v="1609" actId="478"/>
          <ac:grpSpMkLst>
            <pc:docMk/>
            <pc:sldMk cId="364567982" sldId="2076136646"/>
            <ac:grpSpMk id="240" creationId="{7FB7BEA9-103D-41BF-B9D1-8E2494C09541}"/>
          </ac:grpSpMkLst>
        </pc:grpChg>
        <pc:grpChg chg="mod">
          <ac:chgData name="Renata Festa" userId="6f22df47-533b-4c2a-a3c1-7f9ad1d63e10" providerId="ADAL" clId="{7D997690-04A4-4675-83D7-2E1CC2ED1A4E}" dt="2020-03-24T13:53:49.796" v="1480" actId="1036"/>
          <ac:grpSpMkLst>
            <pc:docMk/>
            <pc:sldMk cId="364567982" sldId="2076136646"/>
            <ac:grpSpMk id="242" creationId="{8CB0B748-ADDC-4A65-B2D3-AF3D58C76749}"/>
          </ac:grpSpMkLst>
        </pc:grpChg>
        <pc:cxnChg chg="add del">
          <ac:chgData name="Renata Festa" userId="6f22df47-533b-4c2a-a3c1-7f9ad1d63e10" providerId="ADAL" clId="{7D997690-04A4-4675-83D7-2E1CC2ED1A4E}" dt="2020-03-24T13:10:47.461" v="1470"/>
          <ac:cxnSpMkLst>
            <pc:docMk/>
            <pc:sldMk cId="364567982" sldId="2076136646"/>
            <ac:cxnSpMk id="27" creationId="{50E00CCF-AB18-4A48-8512-4D4043146EB3}"/>
          </ac:cxnSpMkLst>
        </pc:cxnChg>
        <pc:cxnChg chg="add del">
          <ac:chgData name="Renata Festa" userId="6f22df47-533b-4c2a-a3c1-7f9ad1d63e10" providerId="ADAL" clId="{7D997690-04A4-4675-83D7-2E1CC2ED1A4E}" dt="2020-03-24T13:10:47.461" v="1470"/>
          <ac:cxnSpMkLst>
            <pc:docMk/>
            <pc:sldMk cId="364567982" sldId="2076136646"/>
            <ac:cxnSpMk id="28" creationId="{EF0C9323-C7E1-41FD-8B92-F9D7EF9D23F3}"/>
          </ac:cxnSpMkLst>
        </pc:cxnChg>
        <pc:cxnChg chg="add del">
          <ac:chgData name="Renata Festa" userId="6f22df47-533b-4c2a-a3c1-7f9ad1d63e10" providerId="ADAL" clId="{7D997690-04A4-4675-83D7-2E1CC2ED1A4E}" dt="2020-03-24T13:10:47.461" v="1470"/>
          <ac:cxnSpMkLst>
            <pc:docMk/>
            <pc:sldMk cId="364567982" sldId="2076136646"/>
            <ac:cxnSpMk id="44" creationId="{7AE7141F-B499-471D-80F7-33C310FFD13E}"/>
          </ac:cxnSpMkLst>
        </pc:cxnChg>
        <pc:cxnChg chg="add del">
          <ac:chgData name="Renata Festa" userId="6f22df47-533b-4c2a-a3c1-7f9ad1d63e10" providerId="ADAL" clId="{7D997690-04A4-4675-83D7-2E1CC2ED1A4E}" dt="2020-03-24T13:10:47.461" v="1470"/>
          <ac:cxnSpMkLst>
            <pc:docMk/>
            <pc:sldMk cId="364567982" sldId="2076136646"/>
            <ac:cxnSpMk id="49" creationId="{8352F65D-9B61-430A-97CE-60A098C91D67}"/>
          </ac:cxnSpMkLst>
        </pc:cxnChg>
        <pc:cxnChg chg="add del">
          <ac:chgData name="Renata Festa" userId="6f22df47-533b-4c2a-a3c1-7f9ad1d63e10" providerId="ADAL" clId="{7D997690-04A4-4675-83D7-2E1CC2ED1A4E}" dt="2020-03-24T13:10:47.461" v="1470"/>
          <ac:cxnSpMkLst>
            <pc:docMk/>
            <pc:sldMk cId="364567982" sldId="2076136646"/>
            <ac:cxnSpMk id="52" creationId="{AAC76EA7-C5C0-42D7-9EA8-EFA0E5130133}"/>
          </ac:cxnSpMkLst>
        </pc:cxnChg>
        <pc:cxnChg chg="add del">
          <ac:chgData name="Renata Festa" userId="6f22df47-533b-4c2a-a3c1-7f9ad1d63e10" providerId="ADAL" clId="{7D997690-04A4-4675-83D7-2E1CC2ED1A4E}" dt="2020-03-24T13:10:47.461" v="1470"/>
          <ac:cxnSpMkLst>
            <pc:docMk/>
            <pc:sldMk cId="364567982" sldId="2076136646"/>
            <ac:cxnSpMk id="53" creationId="{FB11D515-C1E0-4D69-AE7E-32442B991B9C}"/>
          </ac:cxnSpMkLst>
        </pc:cxnChg>
        <pc:cxnChg chg="add del">
          <ac:chgData name="Renata Festa" userId="6f22df47-533b-4c2a-a3c1-7f9ad1d63e10" providerId="ADAL" clId="{7D997690-04A4-4675-83D7-2E1CC2ED1A4E}" dt="2020-03-24T13:10:47.461" v="1470"/>
          <ac:cxnSpMkLst>
            <pc:docMk/>
            <pc:sldMk cId="364567982" sldId="2076136646"/>
            <ac:cxnSpMk id="54" creationId="{761991A6-94D5-4878-97D9-E4DCE865B676}"/>
          </ac:cxnSpMkLst>
        </pc:cxnChg>
        <pc:cxnChg chg="add del">
          <ac:chgData name="Renata Festa" userId="6f22df47-533b-4c2a-a3c1-7f9ad1d63e10" providerId="ADAL" clId="{7D997690-04A4-4675-83D7-2E1CC2ED1A4E}" dt="2020-03-24T13:10:47.461" v="1470"/>
          <ac:cxnSpMkLst>
            <pc:docMk/>
            <pc:sldMk cId="364567982" sldId="2076136646"/>
            <ac:cxnSpMk id="56" creationId="{7484F407-9117-475D-8EB6-F96442D4FD95}"/>
          </ac:cxnSpMkLst>
        </pc:cxnChg>
        <pc:cxnChg chg="add del">
          <ac:chgData name="Renata Festa" userId="6f22df47-533b-4c2a-a3c1-7f9ad1d63e10" providerId="ADAL" clId="{7D997690-04A4-4675-83D7-2E1CC2ED1A4E}" dt="2020-03-24T13:10:47.461" v="1470"/>
          <ac:cxnSpMkLst>
            <pc:docMk/>
            <pc:sldMk cId="364567982" sldId="2076136646"/>
            <ac:cxnSpMk id="102" creationId="{72B5140D-6F73-4A6F-AAE5-9A31A22FFB62}"/>
          </ac:cxnSpMkLst>
        </pc:cxnChg>
        <pc:cxnChg chg="add del">
          <ac:chgData name="Renata Festa" userId="6f22df47-533b-4c2a-a3c1-7f9ad1d63e10" providerId="ADAL" clId="{7D997690-04A4-4675-83D7-2E1CC2ED1A4E}" dt="2020-03-24T13:10:47.461" v="1470"/>
          <ac:cxnSpMkLst>
            <pc:docMk/>
            <pc:sldMk cId="364567982" sldId="2076136646"/>
            <ac:cxnSpMk id="129" creationId="{6D7830C4-8FB7-4373-8358-5A4EEC655D8E}"/>
          </ac:cxnSpMkLst>
        </pc:cxnChg>
        <pc:cxnChg chg="add del">
          <ac:chgData name="Renata Festa" userId="6f22df47-533b-4c2a-a3c1-7f9ad1d63e10" providerId="ADAL" clId="{7D997690-04A4-4675-83D7-2E1CC2ED1A4E}" dt="2020-03-24T13:10:47.461" v="1470"/>
          <ac:cxnSpMkLst>
            <pc:docMk/>
            <pc:sldMk cId="364567982" sldId="2076136646"/>
            <ac:cxnSpMk id="132" creationId="{EDE6F626-A7CC-447A-B28A-485CA46C2F86}"/>
          </ac:cxnSpMkLst>
        </pc:cxnChg>
        <pc:cxnChg chg="add mod">
          <ac:chgData name="Renata Festa" userId="6f22df47-533b-4c2a-a3c1-7f9ad1d63e10" providerId="ADAL" clId="{7D997690-04A4-4675-83D7-2E1CC2ED1A4E}" dt="2020-03-24T13:53:49.796" v="1480" actId="1036"/>
          <ac:cxnSpMkLst>
            <pc:docMk/>
            <pc:sldMk cId="364567982" sldId="2076136646"/>
            <ac:cxnSpMk id="156" creationId="{4204C568-C789-40AE-BE9F-14045BF3EDA2}"/>
          </ac:cxnSpMkLst>
        </pc:cxnChg>
        <pc:cxnChg chg="add mod">
          <ac:chgData name="Renata Festa" userId="6f22df47-533b-4c2a-a3c1-7f9ad1d63e10" providerId="ADAL" clId="{7D997690-04A4-4675-83D7-2E1CC2ED1A4E}" dt="2020-03-24T13:53:49.796" v="1480" actId="1036"/>
          <ac:cxnSpMkLst>
            <pc:docMk/>
            <pc:sldMk cId="364567982" sldId="2076136646"/>
            <ac:cxnSpMk id="157" creationId="{665EE38E-A326-4E7B-9A70-ADD5A9EA61FD}"/>
          </ac:cxnSpMkLst>
        </pc:cxnChg>
        <pc:cxnChg chg="add mod">
          <ac:chgData name="Renata Festa" userId="6f22df47-533b-4c2a-a3c1-7f9ad1d63e10" providerId="ADAL" clId="{7D997690-04A4-4675-83D7-2E1CC2ED1A4E}" dt="2020-03-24T13:53:49.796" v="1480" actId="1036"/>
          <ac:cxnSpMkLst>
            <pc:docMk/>
            <pc:sldMk cId="364567982" sldId="2076136646"/>
            <ac:cxnSpMk id="173" creationId="{23A445B2-841C-4529-996E-550C3A082F2B}"/>
          </ac:cxnSpMkLst>
        </pc:cxnChg>
        <pc:cxnChg chg="add mod">
          <ac:chgData name="Renata Festa" userId="6f22df47-533b-4c2a-a3c1-7f9ad1d63e10" providerId="ADAL" clId="{7D997690-04A4-4675-83D7-2E1CC2ED1A4E}" dt="2020-03-24T13:53:49.796" v="1480" actId="1036"/>
          <ac:cxnSpMkLst>
            <pc:docMk/>
            <pc:sldMk cId="364567982" sldId="2076136646"/>
            <ac:cxnSpMk id="178" creationId="{74E874BF-0664-4A0C-A964-AA0FCD9DBC21}"/>
          </ac:cxnSpMkLst>
        </pc:cxnChg>
        <pc:cxnChg chg="add mod">
          <ac:chgData name="Renata Festa" userId="6f22df47-533b-4c2a-a3c1-7f9ad1d63e10" providerId="ADAL" clId="{7D997690-04A4-4675-83D7-2E1CC2ED1A4E}" dt="2020-03-24T13:53:49.796" v="1480" actId="1036"/>
          <ac:cxnSpMkLst>
            <pc:docMk/>
            <pc:sldMk cId="364567982" sldId="2076136646"/>
            <ac:cxnSpMk id="181" creationId="{B3B4B144-38BE-4C0D-A2EE-500B9B5400BC}"/>
          </ac:cxnSpMkLst>
        </pc:cxnChg>
        <pc:cxnChg chg="add mod">
          <ac:chgData name="Renata Festa" userId="6f22df47-533b-4c2a-a3c1-7f9ad1d63e10" providerId="ADAL" clId="{7D997690-04A4-4675-83D7-2E1CC2ED1A4E}" dt="2020-03-24T13:53:49.796" v="1480" actId="1036"/>
          <ac:cxnSpMkLst>
            <pc:docMk/>
            <pc:sldMk cId="364567982" sldId="2076136646"/>
            <ac:cxnSpMk id="182" creationId="{1F2A4720-12DC-4CF6-BF04-29ED13E9B1AF}"/>
          </ac:cxnSpMkLst>
        </pc:cxnChg>
        <pc:cxnChg chg="add mod">
          <ac:chgData name="Renata Festa" userId="6f22df47-533b-4c2a-a3c1-7f9ad1d63e10" providerId="ADAL" clId="{7D997690-04A4-4675-83D7-2E1CC2ED1A4E}" dt="2020-03-24T13:53:49.796" v="1480" actId="1036"/>
          <ac:cxnSpMkLst>
            <pc:docMk/>
            <pc:sldMk cId="364567982" sldId="2076136646"/>
            <ac:cxnSpMk id="183" creationId="{63C0EBC9-BD72-412A-AFAB-C1C080E5DCE0}"/>
          </ac:cxnSpMkLst>
        </pc:cxnChg>
        <pc:cxnChg chg="add mod">
          <ac:chgData name="Renata Festa" userId="6f22df47-533b-4c2a-a3c1-7f9ad1d63e10" providerId="ADAL" clId="{7D997690-04A4-4675-83D7-2E1CC2ED1A4E}" dt="2020-03-24T13:53:49.796" v="1480" actId="1036"/>
          <ac:cxnSpMkLst>
            <pc:docMk/>
            <pc:sldMk cId="364567982" sldId="2076136646"/>
            <ac:cxnSpMk id="185" creationId="{849FB052-AC6F-42D3-A281-B14487C43055}"/>
          </ac:cxnSpMkLst>
        </pc:cxnChg>
        <pc:cxnChg chg="add mod">
          <ac:chgData name="Renata Festa" userId="6f22df47-533b-4c2a-a3c1-7f9ad1d63e10" providerId="ADAL" clId="{7D997690-04A4-4675-83D7-2E1CC2ED1A4E}" dt="2020-03-24T13:53:49.796" v="1480" actId="1036"/>
          <ac:cxnSpMkLst>
            <pc:docMk/>
            <pc:sldMk cId="364567982" sldId="2076136646"/>
            <ac:cxnSpMk id="231" creationId="{04C2A8D6-1EE4-419B-AC7F-F4BD80158798}"/>
          </ac:cxnSpMkLst>
        </pc:cxnChg>
        <pc:cxnChg chg="add mod">
          <ac:chgData name="Renata Festa" userId="6f22df47-533b-4c2a-a3c1-7f9ad1d63e10" providerId="ADAL" clId="{7D997690-04A4-4675-83D7-2E1CC2ED1A4E}" dt="2020-03-24T13:53:49.796" v="1480" actId="1036"/>
          <ac:cxnSpMkLst>
            <pc:docMk/>
            <pc:sldMk cId="364567982" sldId="2076136646"/>
            <ac:cxnSpMk id="258" creationId="{2273D96D-522A-491F-AC80-41FBBA6F573F}"/>
          </ac:cxnSpMkLst>
        </pc:cxnChg>
        <pc:cxnChg chg="add mod">
          <ac:chgData name="Renata Festa" userId="6f22df47-533b-4c2a-a3c1-7f9ad1d63e10" providerId="ADAL" clId="{7D997690-04A4-4675-83D7-2E1CC2ED1A4E}" dt="2020-03-24T13:53:49.796" v="1480" actId="1036"/>
          <ac:cxnSpMkLst>
            <pc:docMk/>
            <pc:sldMk cId="364567982" sldId="2076136646"/>
            <ac:cxnSpMk id="261" creationId="{762E45D9-E40E-442B-B240-DE35A5CCA94B}"/>
          </ac:cxnSpMkLst>
        </pc:cxnChg>
      </pc:sldChg>
      <pc:sldChg chg="addSp delSp modSp add mod modShow">
        <pc:chgData name="Renata Festa" userId="6f22df47-533b-4c2a-a3c1-7f9ad1d63e10" providerId="ADAL" clId="{7D997690-04A4-4675-83D7-2E1CC2ED1A4E}" dt="2020-03-24T13:59:01.261" v="1607" actId="478"/>
        <pc:sldMkLst>
          <pc:docMk/>
          <pc:sldMk cId="4117970720" sldId="2076136647"/>
        </pc:sldMkLst>
        <pc:spChg chg="mod">
          <ac:chgData name="Renata Festa" userId="6f22df47-533b-4c2a-a3c1-7f9ad1d63e10" providerId="ADAL" clId="{7D997690-04A4-4675-83D7-2E1CC2ED1A4E}" dt="2020-03-24T13:55:13.663" v="1482"/>
          <ac:spMkLst>
            <pc:docMk/>
            <pc:sldMk cId="4117970720" sldId="2076136647"/>
            <ac:spMk id="2" creationId="{EB67312A-9819-43C6-8D84-D9136E6CFFCC}"/>
          </ac:spMkLst>
        </pc:spChg>
        <pc:spChg chg="del">
          <ac:chgData name="Renata Festa" userId="6f22df47-533b-4c2a-a3c1-7f9ad1d63e10" providerId="ADAL" clId="{7D997690-04A4-4675-83D7-2E1CC2ED1A4E}" dt="2020-03-24T13:59:01.261" v="1607" actId="478"/>
          <ac:spMkLst>
            <pc:docMk/>
            <pc:sldMk cId="4117970720" sldId="2076136647"/>
            <ac:spMk id="3" creationId="{F35E8CBB-5A7D-4DEF-BAF7-8DD5D042F9E0}"/>
          </ac:spMkLst>
        </pc:spChg>
        <pc:spChg chg="del">
          <ac:chgData name="Renata Festa" userId="6f22df47-533b-4c2a-a3c1-7f9ad1d63e10" providerId="ADAL" clId="{7D997690-04A4-4675-83D7-2E1CC2ED1A4E}" dt="2020-03-24T13:58:59.790" v="1606" actId="478"/>
          <ac:spMkLst>
            <pc:docMk/>
            <pc:sldMk cId="4117970720" sldId="2076136647"/>
            <ac:spMk id="4" creationId="{F3616A99-090F-45E1-9334-58D58B148205}"/>
          </ac:spMkLst>
        </pc:spChg>
        <pc:spChg chg="add del">
          <ac:chgData name="Renata Festa" userId="6f22df47-533b-4c2a-a3c1-7f9ad1d63e10" providerId="ADAL" clId="{7D997690-04A4-4675-83D7-2E1CC2ED1A4E}" dt="2020-03-24T13:55:20.944" v="1484"/>
          <ac:spMkLst>
            <pc:docMk/>
            <pc:sldMk cId="4117970720" sldId="2076136647"/>
            <ac:spMk id="5" creationId="{53C70395-7056-448B-8AD3-FF4B4EF83900}"/>
          </ac:spMkLst>
        </pc:spChg>
        <pc:spChg chg="add del">
          <ac:chgData name="Renata Festa" userId="6f22df47-533b-4c2a-a3c1-7f9ad1d63e10" providerId="ADAL" clId="{7D997690-04A4-4675-83D7-2E1CC2ED1A4E}" dt="2020-03-24T13:55:20.944" v="1484"/>
          <ac:spMkLst>
            <pc:docMk/>
            <pc:sldMk cId="4117970720" sldId="2076136647"/>
            <ac:spMk id="19" creationId="{2B24A59F-F340-4ADB-A2E4-927914E5D3B1}"/>
          </ac:spMkLst>
        </pc:spChg>
        <pc:spChg chg="add del">
          <ac:chgData name="Renata Festa" userId="6f22df47-533b-4c2a-a3c1-7f9ad1d63e10" providerId="ADAL" clId="{7D997690-04A4-4675-83D7-2E1CC2ED1A4E}" dt="2020-03-24T13:55:20.944" v="1484"/>
          <ac:spMkLst>
            <pc:docMk/>
            <pc:sldMk cId="4117970720" sldId="2076136647"/>
            <ac:spMk id="20" creationId="{0A989AFF-5948-46C4-B42B-A7AFCA728A00}"/>
          </ac:spMkLst>
        </pc:spChg>
        <pc:spChg chg="add del">
          <ac:chgData name="Renata Festa" userId="6f22df47-533b-4c2a-a3c1-7f9ad1d63e10" providerId="ADAL" clId="{7D997690-04A4-4675-83D7-2E1CC2ED1A4E}" dt="2020-03-24T13:55:20.944" v="1484"/>
          <ac:spMkLst>
            <pc:docMk/>
            <pc:sldMk cId="4117970720" sldId="2076136647"/>
            <ac:spMk id="21" creationId="{BA652BB7-B289-423F-9F9C-0446311B4328}"/>
          </ac:spMkLst>
        </pc:spChg>
        <pc:spChg chg="add del">
          <ac:chgData name="Renata Festa" userId="6f22df47-533b-4c2a-a3c1-7f9ad1d63e10" providerId="ADAL" clId="{7D997690-04A4-4675-83D7-2E1CC2ED1A4E}" dt="2020-03-24T13:55:20.944" v="1484"/>
          <ac:spMkLst>
            <pc:docMk/>
            <pc:sldMk cId="4117970720" sldId="2076136647"/>
            <ac:spMk id="24" creationId="{ABC2B023-B0BC-4918-B9C1-1ADC8AA67A76}"/>
          </ac:spMkLst>
        </pc:spChg>
        <pc:spChg chg="add del">
          <ac:chgData name="Renata Festa" userId="6f22df47-533b-4c2a-a3c1-7f9ad1d63e10" providerId="ADAL" clId="{7D997690-04A4-4675-83D7-2E1CC2ED1A4E}" dt="2020-03-24T13:55:20.944" v="1484"/>
          <ac:spMkLst>
            <pc:docMk/>
            <pc:sldMk cId="4117970720" sldId="2076136647"/>
            <ac:spMk id="25" creationId="{5219CF40-1785-4F22-AD11-5BD818164B45}"/>
          </ac:spMkLst>
        </pc:spChg>
        <pc:spChg chg="add del">
          <ac:chgData name="Renata Festa" userId="6f22df47-533b-4c2a-a3c1-7f9ad1d63e10" providerId="ADAL" clId="{7D997690-04A4-4675-83D7-2E1CC2ED1A4E}" dt="2020-03-24T13:55:20.944" v="1484"/>
          <ac:spMkLst>
            <pc:docMk/>
            <pc:sldMk cId="4117970720" sldId="2076136647"/>
            <ac:spMk id="26" creationId="{CD8FE0F3-5349-40A3-8154-1832376E5F6C}"/>
          </ac:spMkLst>
        </pc:spChg>
        <pc:spChg chg="add del">
          <ac:chgData name="Renata Festa" userId="6f22df47-533b-4c2a-a3c1-7f9ad1d63e10" providerId="ADAL" clId="{7D997690-04A4-4675-83D7-2E1CC2ED1A4E}" dt="2020-03-24T13:55:20.944" v="1484"/>
          <ac:spMkLst>
            <pc:docMk/>
            <pc:sldMk cId="4117970720" sldId="2076136647"/>
            <ac:spMk id="27" creationId="{22EB41FF-8476-4BF2-86CE-756ED78401DB}"/>
          </ac:spMkLst>
        </pc:spChg>
        <pc:spChg chg="add del">
          <ac:chgData name="Renata Festa" userId="6f22df47-533b-4c2a-a3c1-7f9ad1d63e10" providerId="ADAL" clId="{7D997690-04A4-4675-83D7-2E1CC2ED1A4E}" dt="2020-03-24T13:55:20.944" v="1484"/>
          <ac:spMkLst>
            <pc:docMk/>
            <pc:sldMk cId="4117970720" sldId="2076136647"/>
            <ac:spMk id="28" creationId="{67CDFCB8-F8A3-43E7-A134-9B23A1EE465C}"/>
          </ac:spMkLst>
        </pc:spChg>
        <pc:spChg chg="add del">
          <ac:chgData name="Renata Festa" userId="6f22df47-533b-4c2a-a3c1-7f9ad1d63e10" providerId="ADAL" clId="{7D997690-04A4-4675-83D7-2E1CC2ED1A4E}" dt="2020-03-24T13:55:20.944" v="1484"/>
          <ac:spMkLst>
            <pc:docMk/>
            <pc:sldMk cId="4117970720" sldId="2076136647"/>
            <ac:spMk id="29" creationId="{56BCA80C-D6E0-480F-805B-80D7E6B97D04}"/>
          </ac:spMkLst>
        </pc:spChg>
        <pc:spChg chg="add del">
          <ac:chgData name="Renata Festa" userId="6f22df47-533b-4c2a-a3c1-7f9ad1d63e10" providerId="ADAL" clId="{7D997690-04A4-4675-83D7-2E1CC2ED1A4E}" dt="2020-03-24T13:55:20.944" v="1484"/>
          <ac:spMkLst>
            <pc:docMk/>
            <pc:sldMk cId="4117970720" sldId="2076136647"/>
            <ac:spMk id="30" creationId="{10307258-141F-4EEA-90F3-57E63C736D57}"/>
          </ac:spMkLst>
        </pc:spChg>
        <pc:spChg chg="add del">
          <ac:chgData name="Renata Festa" userId="6f22df47-533b-4c2a-a3c1-7f9ad1d63e10" providerId="ADAL" clId="{7D997690-04A4-4675-83D7-2E1CC2ED1A4E}" dt="2020-03-24T13:55:20.944" v="1484"/>
          <ac:spMkLst>
            <pc:docMk/>
            <pc:sldMk cId="4117970720" sldId="2076136647"/>
            <ac:spMk id="31" creationId="{6303B02D-4DC0-46B3-A259-FD1F2E447D07}"/>
          </ac:spMkLst>
        </pc:spChg>
        <pc:spChg chg="add del">
          <ac:chgData name="Renata Festa" userId="6f22df47-533b-4c2a-a3c1-7f9ad1d63e10" providerId="ADAL" clId="{7D997690-04A4-4675-83D7-2E1CC2ED1A4E}" dt="2020-03-24T13:55:20.944" v="1484"/>
          <ac:spMkLst>
            <pc:docMk/>
            <pc:sldMk cId="4117970720" sldId="2076136647"/>
            <ac:spMk id="32" creationId="{42282797-96B0-4656-A1C1-E6C9D3BF619B}"/>
          </ac:spMkLst>
        </pc:spChg>
        <pc:spChg chg="add del">
          <ac:chgData name="Renata Festa" userId="6f22df47-533b-4c2a-a3c1-7f9ad1d63e10" providerId="ADAL" clId="{7D997690-04A4-4675-83D7-2E1CC2ED1A4E}" dt="2020-03-24T13:55:20.944" v="1484"/>
          <ac:spMkLst>
            <pc:docMk/>
            <pc:sldMk cId="4117970720" sldId="2076136647"/>
            <ac:spMk id="33" creationId="{1CBDF0A7-A741-426B-BFD8-8CCFA4D74EA3}"/>
          </ac:spMkLst>
        </pc:spChg>
        <pc:spChg chg="add del">
          <ac:chgData name="Renata Festa" userId="6f22df47-533b-4c2a-a3c1-7f9ad1d63e10" providerId="ADAL" clId="{7D997690-04A4-4675-83D7-2E1CC2ED1A4E}" dt="2020-03-24T13:55:20.944" v="1484"/>
          <ac:spMkLst>
            <pc:docMk/>
            <pc:sldMk cId="4117970720" sldId="2076136647"/>
            <ac:spMk id="34" creationId="{4F1996A3-2EF3-4B8B-85AB-4112188E8E0E}"/>
          </ac:spMkLst>
        </pc:spChg>
        <pc:spChg chg="add del">
          <ac:chgData name="Renata Festa" userId="6f22df47-533b-4c2a-a3c1-7f9ad1d63e10" providerId="ADAL" clId="{7D997690-04A4-4675-83D7-2E1CC2ED1A4E}" dt="2020-03-24T13:55:20.944" v="1484"/>
          <ac:spMkLst>
            <pc:docMk/>
            <pc:sldMk cId="4117970720" sldId="2076136647"/>
            <ac:spMk id="35" creationId="{0A143C63-5B84-4163-AF8F-70EEDB2D353E}"/>
          </ac:spMkLst>
        </pc:spChg>
        <pc:spChg chg="add del">
          <ac:chgData name="Renata Festa" userId="6f22df47-533b-4c2a-a3c1-7f9ad1d63e10" providerId="ADAL" clId="{7D997690-04A4-4675-83D7-2E1CC2ED1A4E}" dt="2020-03-24T13:55:20.944" v="1484"/>
          <ac:spMkLst>
            <pc:docMk/>
            <pc:sldMk cId="4117970720" sldId="2076136647"/>
            <ac:spMk id="36" creationId="{8C0FC507-B688-4401-B268-9F791CECEFA2}"/>
          </ac:spMkLst>
        </pc:spChg>
        <pc:spChg chg="add del">
          <ac:chgData name="Renata Festa" userId="6f22df47-533b-4c2a-a3c1-7f9ad1d63e10" providerId="ADAL" clId="{7D997690-04A4-4675-83D7-2E1CC2ED1A4E}" dt="2020-03-24T13:55:20.944" v="1484"/>
          <ac:spMkLst>
            <pc:docMk/>
            <pc:sldMk cId="4117970720" sldId="2076136647"/>
            <ac:spMk id="37" creationId="{1BFEFA4E-BEEC-4E54-B436-D3FD623AA713}"/>
          </ac:spMkLst>
        </pc:spChg>
        <pc:spChg chg="add del">
          <ac:chgData name="Renata Festa" userId="6f22df47-533b-4c2a-a3c1-7f9ad1d63e10" providerId="ADAL" clId="{7D997690-04A4-4675-83D7-2E1CC2ED1A4E}" dt="2020-03-24T13:55:20.944" v="1484"/>
          <ac:spMkLst>
            <pc:docMk/>
            <pc:sldMk cId="4117970720" sldId="2076136647"/>
            <ac:spMk id="38" creationId="{AFA11901-DC54-41C7-AA50-B39C4A57A599}"/>
          </ac:spMkLst>
        </pc:spChg>
        <pc:spChg chg="add del">
          <ac:chgData name="Renata Festa" userId="6f22df47-533b-4c2a-a3c1-7f9ad1d63e10" providerId="ADAL" clId="{7D997690-04A4-4675-83D7-2E1CC2ED1A4E}" dt="2020-03-24T13:55:20.944" v="1484"/>
          <ac:spMkLst>
            <pc:docMk/>
            <pc:sldMk cId="4117970720" sldId="2076136647"/>
            <ac:spMk id="39" creationId="{7E6A8EA6-A32D-4429-AE73-28549AE5B7B6}"/>
          </ac:spMkLst>
        </pc:spChg>
        <pc:spChg chg="add del">
          <ac:chgData name="Renata Festa" userId="6f22df47-533b-4c2a-a3c1-7f9ad1d63e10" providerId="ADAL" clId="{7D997690-04A4-4675-83D7-2E1CC2ED1A4E}" dt="2020-03-24T13:55:20.944" v="1484"/>
          <ac:spMkLst>
            <pc:docMk/>
            <pc:sldMk cId="4117970720" sldId="2076136647"/>
            <ac:spMk id="40" creationId="{C23BA887-BA55-4316-B408-CDE8FE9A1B56}"/>
          </ac:spMkLst>
        </pc:spChg>
        <pc:spChg chg="add del">
          <ac:chgData name="Renata Festa" userId="6f22df47-533b-4c2a-a3c1-7f9ad1d63e10" providerId="ADAL" clId="{7D997690-04A4-4675-83D7-2E1CC2ED1A4E}" dt="2020-03-24T13:55:20.944" v="1484"/>
          <ac:spMkLst>
            <pc:docMk/>
            <pc:sldMk cId="4117970720" sldId="2076136647"/>
            <ac:spMk id="41" creationId="{A32C7DD8-9CA4-48F9-9E7A-877E86309E6A}"/>
          </ac:spMkLst>
        </pc:spChg>
        <pc:spChg chg="add del">
          <ac:chgData name="Renata Festa" userId="6f22df47-533b-4c2a-a3c1-7f9ad1d63e10" providerId="ADAL" clId="{7D997690-04A4-4675-83D7-2E1CC2ED1A4E}" dt="2020-03-24T13:55:20.944" v="1484"/>
          <ac:spMkLst>
            <pc:docMk/>
            <pc:sldMk cId="4117970720" sldId="2076136647"/>
            <ac:spMk id="42" creationId="{A8C31F14-BDFF-4F5D-B842-FA7D77E2CBA0}"/>
          </ac:spMkLst>
        </pc:spChg>
        <pc:spChg chg="add del">
          <ac:chgData name="Renata Festa" userId="6f22df47-533b-4c2a-a3c1-7f9ad1d63e10" providerId="ADAL" clId="{7D997690-04A4-4675-83D7-2E1CC2ED1A4E}" dt="2020-03-24T13:55:20.944" v="1484"/>
          <ac:spMkLst>
            <pc:docMk/>
            <pc:sldMk cId="4117970720" sldId="2076136647"/>
            <ac:spMk id="44" creationId="{E42173A7-C584-46A9-A191-EBD3E8CD0BCC}"/>
          </ac:spMkLst>
        </pc:spChg>
        <pc:spChg chg="add del">
          <ac:chgData name="Renata Festa" userId="6f22df47-533b-4c2a-a3c1-7f9ad1d63e10" providerId="ADAL" clId="{7D997690-04A4-4675-83D7-2E1CC2ED1A4E}" dt="2020-03-24T13:55:20.944" v="1484"/>
          <ac:spMkLst>
            <pc:docMk/>
            <pc:sldMk cId="4117970720" sldId="2076136647"/>
            <ac:spMk id="45" creationId="{0E9F419E-817C-4340-89C5-B93C2048BD89}"/>
          </ac:spMkLst>
        </pc:spChg>
        <pc:spChg chg="add del">
          <ac:chgData name="Renata Festa" userId="6f22df47-533b-4c2a-a3c1-7f9ad1d63e10" providerId="ADAL" clId="{7D997690-04A4-4675-83D7-2E1CC2ED1A4E}" dt="2020-03-24T13:55:20.944" v="1484"/>
          <ac:spMkLst>
            <pc:docMk/>
            <pc:sldMk cId="4117970720" sldId="2076136647"/>
            <ac:spMk id="46" creationId="{958A5ED5-7FFE-4F53-B266-5F47F9A7C038}"/>
          </ac:spMkLst>
        </pc:spChg>
        <pc:spChg chg="add del">
          <ac:chgData name="Renata Festa" userId="6f22df47-533b-4c2a-a3c1-7f9ad1d63e10" providerId="ADAL" clId="{7D997690-04A4-4675-83D7-2E1CC2ED1A4E}" dt="2020-03-24T13:55:20.944" v="1484"/>
          <ac:spMkLst>
            <pc:docMk/>
            <pc:sldMk cId="4117970720" sldId="2076136647"/>
            <ac:spMk id="47" creationId="{E83B168F-624F-4323-9F90-F88A0A4B9BBB}"/>
          </ac:spMkLst>
        </pc:spChg>
        <pc:spChg chg="add del">
          <ac:chgData name="Renata Festa" userId="6f22df47-533b-4c2a-a3c1-7f9ad1d63e10" providerId="ADAL" clId="{7D997690-04A4-4675-83D7-2E1CC2ED1A4E}" dt="2020-03-24T13:55:20.944" v="1484"/>
          <ac:spMkLst>
            <pc:docMk/>
            <pc:sldMk cId="4117970720" sldId="2076136647"/>
            <ac:spMk id="49" creationId="{06EF43C2-0CF0-4D10-B2FD-0505C7116A4E}"/>
          </ac:spMkLst>
        </pc:spChg>
        <pc:spChg chg="add del">
          <ac:chgData name="Renata Festa" userId="6f22df47-533b-4c2a-a3c1-7f9ad1d63e10" providerId="ADAL" clId="{7D997690-04A4-4675-83D7-2E1CC2ED1A4E}" dt="2020-03-24T13:55:20.944" v="1484"/>
          <ac:spMkLst>
            <pc:docMk/>
            <pc:sldMk cId="4117970720" sldId="2076136647"/>
            <ac:spMk id="50" creationId="{D23EAB29-D422-41BD-9EFD-CC1FFEA8EF2A}"/>
          </ac:spMkLst>
        </pc:spChg>
        <pc:spChg chg="add del">
          <ac:chgData name="Renata Festa" userId="6f22df47-533b-4c2a-a3c1-7f9ad1d63e10" providerId="ADAL" clId="{7D997690-04A4-4675-83D7-2E1CC2ED1A4E}" dt="2020-03-24T13:55:20.944" v="1484"/>
          <ac:spMkLst>
            <pc:docMk/>
            <pc:sldMk cId="4117970720" sldId="2076136647"/>
            <ac:spMk id="54" creationId="{2C5AD530-E52B-435A-8835-3C73568EFA09}"/>
          </ac:spMkLst>
        </pc:spChg>
        <pc:spChg chg="add del">
          <ac:chgData name="Renata Festa" userId="6f22df47-533b-4c2a-a3c1-7f9ad1d63e10" providerId="ADAL" clId="{7D997690-04A4-4675-83D7-2E1CC2ED1A4E}" dt="2020-03-24T13:55:20.944" v="1484"/>
          <ac:spMkLst>
            <pc:docMk/>
            <pc:sldMk cId="4117970720" sldId="2076136647"/>
            <ac:spMk id="55" creationId="{68BAC84D-B5AE-42F6-9E86-153FA4A227A3}"/>
          </ac:spMkLst>
        </pc:spChg>
        <pc:spChg chg="add del">
          <ac:chgData name="Renata Festa" userId="6f22df47-533b-4c2a-a3c1-7f9ad1d63e10" providerId="ADAL" clId="{7D997690-04A4-4675-83D7-2E1CC2ED1A4E}" dt="2020-03-24T13:55:20.944" v="1484"/>
          <ac:spMkLst>
            <pc:docMk/>
            <pc:sldMk cId="4117970720" sldId="2076136647"/>
            <ac:spMk id="56" creationId="{53A45025-C6B2-4E64-B0F8-D36E71562DE3}"/>
          </ac:spMkLst>
        </pc:spChg>
        <pc:spChg chg="add del">
          <ac:chgData name="Renata Festa" userId="6f22df47-533b-4c2a-a3c1-7f9ad1d63e10" providerId="ADAL" clId="{7D997690-04A4-4675-83D7-2E1CC2ED1A4E}" dt="2020-03-24T13:55:20.944" v="1484"/>
          <ac:spMkLst>
            <pc:docMk/>
            <pc:sldMk cId="4117970720" sldId="2076136647"/>
            <ac:spMk id="57" creationId="{320671FA-0549-4CAC-88DD-81217EAD5870}"/>
          </ac:spMkLst>
        </pc:spChg>
        <pc:spChg chg="add del">
          <ac:chgData name="Renata Festa" userId="6f22df47-533b-4c2a-a3c1-7f9ad1d63e10" providerId="ADAL" clId="{7D997690-04A4-4675-83D7-2E1CC2ED1A4E}" dt="2020-03-24T13:55:20.944" v="1484"/>
          <ac:spMkLst>
            <pc:docMk/>
            <pc:sldMk cId="4117970720" sldId="2076136647"/>
            <ac:spMk id="58" creationId="{314AC31B-990F-4453-AF75-C0A38821E0E8}"/>
          </ac:spMkLst>
        </pc:spChg>
        <pc:spChg chg="add del">
          <ac:chgData name="Renata Festa" userId="6f22df47-533b-4c2a-a3c1-7f9ad1d63e10" providerId="ADAL" clId="{7D997690-04A4-4675-83D7-2E1CC2ED1A4E}" dt="2020-03-24T13:55:20.944" v="1484"/>
          <ac:spMkLst>
            <pc:docMk/>
            <pc:sldMk cId="4117970720" sldId="2076136647"/>
            <ac:spMk id="59" creationId="{44E3E420-3E05-47A9-B18C-C855F81C47F9}"/>
          </ac:spMkLst>
        </pc:spChg>
        <pc:spChg chg="add del">
          <ac:chgData name="Renata Festa" userId="6f22df47-533b-4c2a-a3c1-7f9ad1d63e10" providerId="ADAL" clId="{7D997690-04A4-4675-83D7-2E1CC2ED1A4E}" dt="2020-03-24T13:55:20.944" v="1484"/>
          <ac:spMkLst>
            <pc:docMk/>
            <pc:sldMk cId="4117970720" sldId="2076136647"/>
            <ac:spMk id="61" creationId="{90C41F82-71A9-4DC2-A97E-806F0BCF0016}"/>
          </ac:spMkLst>
        </pc:spChg>
        <pc:spChg chg="add del">
          <ac:chgData name="Renata Festa" userId="6f22df47-533b-4c2a-a3c1-7f9ad1d63e10" providerId="ADAL" clId="{7D997690-04A4-4675-83D7-2E1CC2ED1A4E}" dt="2020-03-24T13:55:20.944" v="1484"/>
          <ac:spMkLst>
            <pc:docMk/>
            <pc:sldMk cId="4117970720" sldId="2076136647"/>
            <ac:spMk id="62" creationId="{0924763A-D8E7-4A26-B832-BE6C9CC3188C}"/>
          </ac:spMkLst>
        </pc:spChg>
        <pc:spChg chg="add del">
          <ac:chgData name="Renata Festa" userId="6f22df47-533b-4c2a-a3c1-7f9ad1d63e10" providerId="ADAL" clId="{7D997690-04A4-4675-83D7-2E1CC2ED1A4E}" dt="2020-03-24T13:55:20.944" v="1484"/>
          <ac:spMkLst>
            <pc:docMk/>
            <pc:sldMk cId="4117970720" sldId="2076136647"/>
            <ac:spMk id="64" creationId="{9632FCDE-6522-44FB-878A-47EE50F11C18}"/>
          </ac:spMkLst>
        </pc:spChg>
        <pc:spChg chg="add del">
          <ac:chgData name="Renata Festa" userId="6f22df47-533b-4c2a-a3c1-7f9ad1d63e10" providerId="ADAL" clId="{7D997690-04A4-4675-83D7-2E1CC2ED1A4E}" dt="2020-03-24T13:55:20.944" v="1484"/>
          <ac:spMkLst>
            <pc:docMk/>
            <pc:sldMk cId="4117970720" sldId="2076136647"/>
            <ac:spMk id="66" creationId="{35D239C5-90C9-4A6A-A5AD-B792146B9113}"/>
          </ac:spMkLst>
        </pc:spChg>
        <pc:spChg chg="add del">
          <ac:chgData name="Renata Festa" userId="6f22df47-533b-4c2a-a3c1-7f9ad1d63e10" providerId="ADAL" clId="{7D997690-04A4-4675-83D7-2E1CC2ED1A4E}" dt="2020-03-24T13:55:20.944" v="1484"/>
          <ac:spMkLst>
            <pc:docMk/>
            <pc:sldMk cId="4117970720" sldId="2076136647"/>
            <ac:spMk id="76" creationId="{1AFC215A-BE67-41D1-9C9E-847441D9F88E}"/>
          </ac:spMkLst>
        </pc:spChg>
        <pc:spChg chg="add del">
          <ac:chgData name="Renata Festa" userId="6f22df47-533b-4c2a-a3c1-7f9ad1d63e10" providerId="ADAL" clId="{7D997690-04A4-4675-83D7-2E1CC2ED1A4E}" dt="2020-03-24T13:55:20.944" v="1484"/>
          <ac:spMkLst>
            <pc:docMk/>
            <pc:sldMk cId="4117970720" sldId="2076136647"/>
            <ac:spMk id="77" creationId="{3987AE69-3067-4290-9726-00439CC24B63}"/>
          </ac:spMkLst>
        </pc:spChg>
        <pc:spChg chg="add del">
          <ac:chgData name="Renata Festa" userId="6f22df47-533b-4c2a-a3c1-7f9ad1d63e10" providerId="ADAL" clId="{7D997690-04A4-4675-83D7-2E1CC2ED1A4E}" dt="2020-03-24T13:55:20.944" v="1484"/>
          <ac:spMkLst>
            <pc:docMk/>
            <pc:sldMk cId="4117970720" sldId="2076136647"/>
            <ac:spMk id="87" creationId="{0E8BDDA7-63D9-431D-9614-16647EADAE0E}"/>
          </ac:spMkLst>
        </pc:spChg>
        <pc:spChg chg="add del">
          <ac:chgData name="Renata Festa" userId="6f22df47-533b-4c2a-a3c1-7f9ad1d63e10" providerId="ADAL" clId="{7D997690-04A4-4675-83D7-2E1CC2ED1A4E}" dt="2020-03-24T13:55:20.944" v="1484"/>
          <ac:spMkLst>
            <pc:docMk/>
            <pc:sldMk cId="4117970720" sldId="2076136647"/>
            <ac:spMk id="88" creationId="{83412365-349D-4B97-9701-A8B485FA9313}"/>
          </ac:spMkLst>
        </pc:spChg>
        <pc:spChg chg="add del">
          <ac:chgData name="Renata Festa" userId="6f22df47-533b-4c2a-a3c1-7f9ad1d63e10" providerId="ADAL" clId="{7D997690-04A4-4675-83D7-2E1CC2ED1A4E}" dt="2020-03-24T13:55:20.944" v="1484"/>
          <ac:spMkLst>
            <pc:docMk/>
            <pc:sldMk cId="4117970720" sldId="2076136647"/>
            <ac:spMk id="98" creationId="{4860E407-CDF5-4B4B-8685-9CDF07BF650C}"/>
          </ac:spMkLst>
        </pc:spChg>
        <pc:spChg chg="add del">
          <ac:chgData name="Renata Festa" userId="6f22df47-533b-4c2a-a3c1-7f9ad1d63e10" providerId="ADAL" clId="{7D997690-04A4-4675-83D7-2E1CC2ED1A4E}" dt="2020-03-24T13:55:20.944" v="1484"/>
          <ac:spMkLst>
            <pc:docMk/>
            <pc:sldMk cId="4117970720" sldId="2076136647"/>
            <ac:spMk id="99" creationId="{F8FF9F14-13DA-4425-A083-65BA0877A4D5}"/>
          </ac:spMkLst>
        </pc:spChg>
        <pc:spChg chg="add del">
          <ac:chgData name="Renata Festa" userId="6f22df47-533b-4c2a-a3c1-7f9ad1d63e10" providerId="ADAL" clId="{7D997690-04A4-4675-83D7-2E1CC2ED1A4E}" dt="2020-03-24T13:55:20.944" v="1484"/>
          <ac:spMkLst>
            <pc:docMk/>
            <pc:sldMk cId="4117970720" sldId="2076136647"/>
            <ac:spMk id="100" creationId="{82B1B351-53EE-4889-9558-AF5482B5A411}"/>
          </ac:spMkLst>
        </pc:spChg>
        <pc:spChg chg="add del">
          <ac:chgData name="Renata Festa" userId="6f22df47-533b-4c2a-a3c1-7f9ad1d63e10" providerId="ADAL" clId="{7D997690-04A4-4675-83D7-2E1CC2ED1A4E}" dt="2020-03-24T13:55:20.944" v="1484"/>
          <ac:spMkLst>
            <pc:docMk/>
            <pc:sldMk cId="4117970720" sldId="2076136647"/>
            <ac:spMk id="101" creationId="{0761189B-65B8-4BE8-AB4A-60C4B108CBC4}"/>
          </ac:spMkLst>
        </pc:spChg>
        <pc:spChg chg="add del">
          <ac:chgData name="Renata Festa" userId="6f22df47-533b-4c2a-a3c1-7f9ad1d63e10" providerId="ADAL" clId="{7D997690-04A4-4675-83D7-2E1CC2ED1A4E}" dt="2020-03-24T13:55:20.944" v="1484"/>
          <ac:spMkLst>
            <pc:docMk/>
            <pc:sldMk cId="4117970720" sldId="2076136647"/>
            <ac:spMk id="102" creationId="{7C1F7978-CBC4-4182-B04C-28A41CE47EA0}"/>
          </ac:spMkLst>
        </pc:spChg>
        <pc:spChg chg="add del">
          <ac:chgData name="Renata Festa" userId="6f22df47-533b-4c2a-a3c1-7f9ad1d63e10" providerId="ADAL" clId="{7D997690-04A4-4675-83D7-2E1CC2ED1A4E}" dt="2020-03-24T13:55:20.944" v="1484"/>
          <ac:spMkLst>
            <pc:docMk/>
            <pc:sldMk cId="4117970720" sldId="2076136647"/>
            <ac:spMk id="103" creationId="{BF1C5627-5CCE-4F27-BA7D-D2C038C7411B}"/>
          </ac:spMkLst>
        </pc:spChg>
        <pc:spChg chg="add del">
          <ac:chgData name="Renata Festa" userId="6f22df47-533b-4c2a-a3c1-7f9ad1d63e10" providerId="ADAL" clId="{7D997690-04A4-4675-83D7-2E1CC2ED1A4E}" dt="2020-03-24T13:55:20.944" v="1484"/>
          <ac:spMkLst>
            <pc:docMk/>
            <pc:sldMk cId="4117970720" sldId="2076136647"/>
            <ac:spMk id="104" creationId="{EB21E6C3-88E1-4217-AE32-1DD77ABD5C6A}"/>
          </ac:spMkLst>
        </pc:spChg>
        <pc:spChg chg="add del">
          <ac:chgData name="Renata Festa" userId="6f22df47-533b-4c2a-a3c1-7f9ad1d63e10" providerId="ADAL" clId="{7D997690-04A4-4675-83D7-2E1CC2ED1A4E}" dt="2020-03-24T13:55:20.944" v="1484"/>
          <ac:spMkLst>
            <pc:docMk/>
            <pc:sldMk cId="4117970720" sldId="2076136647"/>
            <ac:spMk id="105" creationId="{FD659ACD-5ABF-42C1-A0F4-C875EB7C37A7}"/>
          </ac:spMkLst>
        </pc:spChg>
        <pc:spChg chg="add del">
          <ac:chgData name="Renata Festa" userId="6f22df47-533b-4c2a-a3c1-7f9ad1d63e10" providerId="ADAL" clId="{7D997690-04A4-4675-83D7-2E1CC2ED1A4E}" dt="2020-03-24T13:55:20.944" v="1484"/>
          <ac:spMkLst>
            <pc:docMk/>
            <pc:sldMk cId="4117970720" sldId="2076136647"/>
            <ac:spMk id="106" creationId="{A5724842-9AE1-49D2-AAA6-C4E5E57F09FC}"/>
          </ac:spMkLst>
        </pc:spChg>
        <pc:spChg chg="add del">
          <ac:chgData name="Renata Festa" userId="6f22df47-533b-4c2a-a3c1-7f9ad1d63e10" providerId="ADAL" clId="{7D997690-04A4-4675-83D7-2E1CC2ED1A4E}" dt="2020-03-24T13:55:20.944" v="1484"/>
          <ac:spMkLst>
            <pc:docMk/>
            <pc:sldMk cId="4117970720" sldId="2076136647"/>
            <ac:spMk id="107" creationId="{A06A8EA8-AA8F-43C0-B5E5-19229B024B03}"/>
          </ac:spMkLst>
        </pc:spChg>
        <pc:spChg chg="add del">
          <ac:chgData name="Renata Festa" userId="6f22df47-533b-4c2a-a3c1-7f9ad1d63e10" providerId="ADAL" clId="{7D997690-04A4-4675-83D7-2E1CC2ED1A4E}" dt="2020-03-24T13:55:20.944" v="1484"/>
          <ac:spMkLst>
            <pc:docMk/>
            <pc:sldMk cId="4117970720" sldId="2076136647"/>
            <ac:spMk id="108" creationId="{223C6A17-5881-4192-ABBC-DA79B007A25E}"/>
          </ac:spMkLst>
        </pc:spChg>
        <pc:spChg chg="add del">
          <ac:chgData name="Renata Festa" userId="6f22df47-533b-4c2a-a3c1-7f9ad1d63e10" providerId="ADAL" clId="{7D997690-04A4-4675-83D7-2E1CC2ED1A4E}" dt="2020-03-24T13:55:20.944" v="1484"/>
          <ac:spMkLst>
            <pc:docMk/>
            <pc:sldMk cId="4117970720" sldId="2076136647"/>
            <ac:spMk id="109" creationId="{BA82A281-0909-48DE-8B1B-23BE2F43B3FE}"/>
          </ac:spMkLst>
        </pc:spChg>
        <pc:spChg chg="add del">
          <ac:chgData name="Renata Festa" userId="6f22df47-533b-4c2a-a3c1-7f9ad1d63e10" providerId="ADAL" clId="{7D997690-04A4-4675-83D7-2E1CC2ED1A4E}" dt="2020-03-24T13:55:20.944" v="1484"/>
          <ac:spMkLst>
            <pc:docMk/>
            <pc:sldMk cId="4117970720" sldId="2076136647"/>
            <ac:spMk id="113" creationId="{E7D2FB5C-82AC-40CB-B67C-C364CD4D50B6}"/>
          </ac:spMkLst>
        </pc:spChg>
        <pc:spChg chg="add del">
          <ac:chgData name="Renata Festa" userId="6f22df47-533b-4c2a-a3c1-7f9ad1d63e10" providerId="ADAL" clId="{7D997690-04A4-4675-83D7-2E1CC2ED1A4E}" dt="2020-03-24T13:55:20.944" v="1484"/>
          <ac:spMkLst>
            <pc:docMk/>
            <pc:sldMk cId="4117970720" sldId="2076136647"/>
            <ac:spMk id="114" creationId="{CBCCF591-B0CD-44F6-99AD-13E687E3B5EB}"/>
          </ac:spMkLst>
        </pc:spChg>
        <pc:spChg chg="add del mod">
          <ac:chgData name="Renata Festa" userId="6f22df47-533b-4c2a-a3c1-7f9ad1d63e10" providerId="ADAL" clId="{7D997690-04A4-4675-83D7-2E1CC2ED1A4E}" dt="2020-03-24T13:55:37.257" v="1488"/>
          <ac:spMkLst>
            <pc:docMk/>
            <pc:sldMk cId="4117970720" sldId="2076136647"/>
            <ac:spMk id="115" creationId="{14F531F3-8A10-4C60-B77C-54214254B3B9}"/>
          </ac:spMkLst>
        </pc:spChg>
        <pc:spChg chg="add del mod">
          <ac:chgData name="Renata Festa" userId="6f22df47-533b-4c2a-a3c1-7f9ad1d63e10" providerId="ADAL" clId="{7D997690-04A4-4675-83D7-2E1CC2ED1A4E}" dt="2020-03-24T13:55:37.257" v="1488"/>
          <ac:spMkLst>
            <pc:docMk/>
            <pc:sldMk cId="4117970720" sldId="2076136647"/>
            <ac:spMk id="129" creationId="{3F6F6A4A-FBBF-4923-9DAB-C0FC9FAB1712}"/>
          </ac:spMkLst>
        </pc:spChg>
        <pc:spChg chg="add del mod">
          <ac:chgData name="Renata Festa" userId="6f22df47-533b-4c2a-a3c1-7f9ad1d63e10" providerId="ADAL" clId="{7D997690-04A4-4675-83D7-2E1CC2ED1A4E}" dt="2020-03-24T13:55:37.257" v="1488"/>
          <ac:spMkLst>
            <pc:docMk/>
            <pc:sldMk cId="4117970720" sldId="2076136647"/>
            <ac:spMk id="130" creationId="{CAE2E2D0-5496-4C84-AC3A-C082D59699AA}"/>
          </ac:spMkLst>
        </pc:spChg>
        <pc:spChg chg="add del mod">
          <ac:chgData name="Renata Festa" userId="6f22df47-533b-4c2a-a3c1-7f9ad1d63e10" providerId="ADAL" clId="{7D997690-04A4-4675-83D7-2E1CC2ED1A4E}" dt="2020-03-24T13:55:37.257" v="1488"/>
          <ac:spMkLst>
            <pc:docMk/>
            <pc:sldMk cId="4117970720" sldId="2076136647"/>
            <ac:spMk id="131" creationId="{BF2BF71E-E07F-4599-88D0-6DB31A4A5BB0}"/>
          </ac:spMkLst>
        </pc:spChg>
        <pc:spChg chg="add del mod">
          <ac:chgData name="Renata Festa" userId="6f22df47-533b-4c2a-a3c1-7f9ad1d63e10" providerId="ADAL" clId="{7D997690-04A4-4675-83D7-2E1CC2ED1A4E}" dt="2020-03-24T13:55:37.257" v="1488"/>
          <ac:spMkLst>
            <pc:docMk/>
            <pc:sldMk cId="4117970720" sldId="2076136647"/>
            <ac:spMk id="134" creationId="{ED077C21-39F8-461A-A4DB-4430896BB5B0}"/>
          </ac:spMkLst>
        </pc:spChg>
        <pc:spChg chg="add del mod">
          <ac:chgData name="Renata Festa" userId="6f22df47-533b-4c2a-a3c1-7f9ad1d63e10" providerId="ADAL" clId="{7D997690-04A4-4675-83D7-2E1CC2ED1A4E}" dt="2020-03-24T13:55:37.257" v="1488"/>
          <ac:spMkLst>
            <pc:docMk/>
            <pc:sldMk cId="4117970720" sldId="2076136647"/>
            <ac:spMk id="135" creationId="{C67016E9-A05A-4F24-9091-543357261C0B}"/>
          </ac:spMkLst>
        </pc:spChg>
        <pc:spChg chg="add del mod">
          <ac:chgData name="Renata Festa" userId="6f22df47-533b-4c2a-a3c1-7f9ad1d63e10" providerId="ADAL" clId="{7D997690-04A4-4675-83D7-2E1CC2ED1A4E}" dt="2020-03-24T13:55:37.257" v="1488"/>
          <ac:spMkLst>
            <pc:docMk/>
            <pc:sldMk cId="4117970720" sldId="2076136647"/>
            <ac:spMk id="136" creationId="{B86A91A8-1661-4A1A-8C5C-94BAA0E1B55D}"/>
          </ac:spMkLst>
        </pc:spChg>
        <pc:spChg chg="add del mod">
          <ac:chgData name="Renata Festa" userId="6f22df47-533b-4c2a-a3c1-7f9ad1d63e10" providerId="ADAL" clId="{7D997690-04A4-4675-83D7-2E1CC2ED1A4E}" dt="2020-03-24T13:55:37.257" v="1488"/>
          <ac:spMkLst>
            <pc:docMk/>
            <pc:sldMk cId="4117970720" sldId="2076136647"/>
            <ac:spMk id="137" creationId="{76D3FBB6-6DBA-4EFD-A577-E1ACA108C3BC}"/>
          </ac:spMkLst>
        </pc:spChg>
        <pc:spChg chg="add del mod">
          <ac:chgData name="Renata Festa" userId="6f22df47-533b-4c2a-a3c1-7f9ad1d63e10" providerId="ADAL" clId="{7D997690-04A4-4675-83D7-2E1CC2ED1A4E}" dt="2020-03-24T13:55:37.257" v="1488"/>
          <ac:spMkLst>
            <pc:docMk/>
            <pc:sldMk cId="4117970720" sldId="2076136647"/>
            <ac:spMk id="138" creationId="{6405CA44-3E10-4416-91B2-AA674760285D}"/>
          </ac:spMkLst>
        </pc:spChg>
        <pc:spChg chg="add del mod">
          <ac:chgData name="Renata Festa" userId="6f22df47-533b-4c2a-a3c1-7f9ad1d63e10" providerId="ADAL" clId="{7D997690-04A4-4675-83D7-2E1CC2ED1A4E}" dt="2020-03-24T13:55:37.257" v="1488"/>
          <ac:spMkLst>
            <pc:docMk/>
            <pc:sldMk cId="4117970720" sldId="2076136647"/>
            <ac:spMk id="139" creationId="{7CDB59E4-E489-4F90-B19D-62E89A2EF8D7}"/>
          </ac:spMkLst>
        </pc:spChg>
        <pc:spChg chg="add del mod">
          <ac:chgData name="Renata Festa" userId="6f22df47-533b-4c2a-a3c1-7f9ad1d63e10" providerId="ADAL" clId="{7D997690-04A4-4675-83D7-2E1CC2ED1A4E}" dt="2020-03-24T13:55:37.257" v="1488"/>
          <ac:spMkLst>
            <pc:docMk/>
            <pc:sldMk cId="4117970720" sldId="2076136647"/>
            <ac:spMk id="140" creationId="{2CC82F27-745C-4066-AD9A-E828D02623B9}"/>
          </ac:spMkLst>
        </pc:spChg>
        <pc:spChg chg="add del mod">
          <ac:chgData name="Renata Festa" userId="6f22df47-533b-4c2a-a3c1-7f9ad1d63e10" providerId="ADAL" clId="{7D997690-04A4-4675-83D7-2E1CC2ED1A4E}" dt="2020-03-24T13:55:37.257" v="1488"/>
          <ac:spMkLst>
            <pc:docMk/>
            <pc:sldMk cId="4117970720" sldId="2076136647"/>
            <ac:spMk id="141" creationId="{18D8D531-3941-40FB-973D-FD359A737276}"/>
          </ac:spMkLst>
        </pc:spChg>
        <pc:spChg chg="add del mod">
          <ac:chgData name="Renata Festa" userId="6f22df47-533b-4c2a-a3c1-7f9ad1d63e10" providerId="ADAL" clId="{7D997690-04A4-4675-83D7-2E1CC2ED1A4E}" dt="2020-03-24T13:55:37.257" v="1488"/>
          <ac:spMkLst>
            <pc:docMk/>
            <pc:sldMk cId="4117970720" sldId="2076136647"/>
            <ac:spMk id="142" creationId="{B002F95E-FF44-4AAC-A68E-D4F64C7154B4}"/>
          </ac:spMkLst>
        </pc:spChg>
        <pc:spChg chg="add del mod">
          <ac:chgData name="Renata Festa" userId="6f22df47-533b-4c2a-a3c1-7f9ad1d63e10" providerId="ADAL" clId="{7D997690-04A4-4675-83D7-2E1CC2ED1A4E}" dt="2020-03-24T13:55:37.257" v="1488"/>
          <ac:spMkLst>
            <pc:docMk/>
            <pc:sldMk cId="4117970720" sldId="2076136647"/>
            <ac:spMk id="143" creationId="{4372C3B7-3436-48ED-8C8A-869B0FED4F73}"/>
          </ac:spMkLst>
        </pc:spChg>
        <pc:spChg chg="add del mod">
          <ac:chgData name="Renata Festa" userId="6f22df47-533b-4c2a-a3c1-7f9ad1d63e10" providerId="ADAL" clId="{7D997690-04A4-4675-83D7-2E1CC2ED1A4E}" dt="2020-03-24T13:55:37.257" v="1488"/>
          <ac:spMkLst>
            <pc:docMk/>
            <pc:sldMk cId="4117970720" sldId="2076136647"/>
            <ac:spMk id="144" creationId="{B6B2E155-2401-46FC-B8E9-0BA2932BE39D}"/>
          </ac:spMkLst>
        </pc:spChg>
        <pc:spChg chg="add del mod">
          <ac:chgData name="Renata Festa" userId="6f22df47-533b-4c2a-a3c1-7f9ad1d63e10" providerId="ADAL" clId="{7D997690-04A4-4675-83D7-2E1CC2ED1A4E}" dt="2020-03-24T13:55:37.257" v="1488"/>
          <ac:spMkLst>
            <pc:docMk/>
            <pc:sldMk cId="4117970720" sldId="2076136647"/>
            <ac:spMk id="145" creationId="{A3A1A012-DE1C-49BB-AEE2-E70DEE802D71}"/>
          </ac:spMkLst>
        </pc:spChg>
        <pc:spChg chg="add del mod">
          <ac:chgData name="Renata Festa" userId="6f22df47-533b-4c2a-a3c1-7f9ad1d63e10" providerId="ADAL" clId="{7D997690-04A4-4675-83D7-2E1CC2ED1A4E}" dt="2020-03-24T13:55:37.257" v="1488"/>
          <ac:spMkLst>
            <pc:docMk/>
            <pc:sldMk cId="4117970720" sldId="2076136647"/>
            <ac:spMk id="146" creationId="{EEC8F157-6F47-4122-AF31-BEB01E9F7D62}"/>
          </ac:spMkLst>
        </pc:spChg>
        <pc:spChg chg="add del mod">
          <ac:chgData name="Renata Festa" userId="6f22df47-533b-4c2a-a3c1-7f9ad1d63e10" providerId="ADAL" clId="{7D997690-04A4-4675-83D7-2E1CC2ED1A4E}" dt="2020-03-24T13:55:37.257" v="1488"/>
          <ac:spMkLst>
            <pc:docMk/>
            <pc:sldMk cId="4117970720" sldId="2076136647"/>
            <ac:spMk id="147" creationId="{5E1821A0-982C-4D82-B125-587EEDF14F5D}"/>
          </ac:spMkLst>
        </pc:spChg>
        <pc:spChg chg="add del mod">
          <ac:chgData name="Renata Festa" userId="6f22df47-533b-4c2a-a3c1-7f9ad1d63e10" providerId="ADAL" clId="{7D997690-04A4-4675-83D7-2E1CC2ED1A4E}" dt="2020-03-24T13:55:37.257" v="1488"/>
          <ac:spMkLst>
            <pc:docMk/>
            <pc:sldMk cId="4117970720" sldId="2076136647"/>
            <ac:spMk id="148" creationId="{17608A72-586A-49CB-8828-F35B28228A84}"/>
          </ac:spMkLst>
        </pc:spChg>
        <pc:spChg chg="add del mod">
          <ac:chgData name="Renata Festa" userId="6f22df47-533b-4c2a-a3c1-7f9ad1d63e10" providerId="ADAL" clId="{7D997690-04A4-4675-83D7-2E1CC2ED1A4E}" dt="2020-03-24T13:55:37.257" v="1488"/>
          <ac:spMkLst>
            <pc:docMk/>
            <pc:sldMk cId="4117970720" sldId="2076136647"/>
            <ac:spMk id="149" creationId="{A396BC69-FB06-4E99-9259-E4E3D70F3A7D}"/>
          </ac:spMkLst>
        </pc:spChg>
        <pc:spChg chg="add del mod">
          <ac:chgData name="Renata Festa" userId="6f22df47-533b-4c2a-a3c1-7f9ad1d63e10" providerId="ADAL" clId="{7D997690-04A4-4675-83D7-2E1CC2ED1A4E}" dt="2020-03-24T13:55:37.257" v="1488"/>
          <ac:spMkLst>
            <pc:docMk/>
            <pc:sldMk cId="4117970720" sldId="2076136647"/>
            <ac:spMk id="150" creationId="{6DFBE5D6-DA1A-4A2B-83FA-6ED86C628F43}"/>
          </ac:spMkLst>
        </pc:spChg>
        <pc:spChg chg="add del mod">
          <ac:chgData name="Renata Festa" userId="6f22df47-533b-4c2a-a3c1-7f9ad1d63e10" providerId="ADAL" clId="{7D997690-04A4-4675-83D7-2E1CC2ED1A4E}" dt="2020-03-24T13:55:37.257" v="1488"/>
          <ac:spMkLst>
            <pc:docMk/>
            <pc:sldMk cId="4117970720" sldId="2076136647"/>
            <ac:spMk id="151" creationId="{3FF6AF51-065F-4488-8520-2CC8EB0020F1}"/>
          </ac:spMkLst>
        </pc:spChg>
        <pc:spChg chg="add del mod">
          <ac:chgData name="Renata Festa" userId="6f22df47-533b-4c2a-a3c1-7f9ad1d63e10" providerId="ADAL" clId="{7D997690-04A4-4675-83D7-2E1CC2ED1A4E}" dt="2020-03-24T13:55:37.257" v="1488"/>
          <ac:spMkLst>
            <pc:docMk/>
            <pc:sldMk cId="4117970720" sldId="2076136647"/>
            <ac:spMk id="152" creationId="{0FB2C76C-55DB-40BF-80F4-2FAA4E606B86}"/>
          </ac:spMkLst>
        </pc:spChg>
        <pc:spChg chg="add del mod">
          <ac:chgData name="Renata Festa" userId="6f22df47-533b-4c2a-a3c1-7f9ad1d63e10" providerId="ADAL" clId="{7D997690-04A4-4675-83D7-2E1CC2ED1A4E}" dt="2020-03-24T13:55:37.257" v="1488"/>
          <ac:spMkLst>
            <pc:docMk/>
            <pc:sldMk cId="4117970720" sldId="2076136647"/>
            <ac:spMk id="154" creationId="{701C7E8D-A7D7-46C1-BE49-E32D88BD836F}"/>
          </ac:spMkLst>
        </pc:spChg>
        <pc:spChg chg="add del mod">
          <ac:chgData name="Renata Festa" userId="6f22df47-533b-4c2a-a3c1-7f9ad1d63e10" providerId="ADAL" clId="{7D997690-04A4-4675-83D7-2E1CC2ED1A4E}" dt="2020-03-24T13:55:37.257" v="1488"/>
          <ac:spMkLst>
            <pc:docMk/>
            <pc:sldMk cId="4117970720" sldId="2076136647"/>
            <ac:spMk id="155" creationId="{8771641F-AB2D-49D8-B515-0BB26A96BC09}"/>
          </ac:spMkLst>
        </pc:spChg>
        <pc:spChg chg="add del mod">
          <ac:chgData name="Renata Festa" userId="6f22df47-533b-4c2a-a3c1-7f9ad1d63e10" providerId="ADAL" clId="{7D997690-04A4-4675-83D7-2E1CC2ED1A4E}" dt="2020-03-24T13:55:37.257" v="1488"/>
          <ac:spMkLst>
            <pc:docMk/>
            <pc:sldMk cId="4117970720" sldId="2076136647"/>
            <ac:spMk id="156" creationId="{B036DCAA-6C81-41E8-AD05-CBCDB6FC97BF}"/>
          </ac:spMkLst>
        </pc:spChg>
        <pc:spChg chg="add del mod">
          <ac:chgData name="Renata Festa" userId="6f22df47-533b-4c2a-a3c1-7f9ad1d63e10" providerId="ADAL" clId="{7D997690-04A4-4675-83D7-2E1CC2ED1A4E}" dt="2020-03-24T13:55:37.257" v="1488"/>
          <ac:spMkLst>
            <pc:docMk/>
            <pc:sldMk cId="4117970720" sldId="2076136647"/>
            <ac:spMk id="157" creationId="{0601D410-68F6-448C-B143-D574AACC7D83}"/>
          </ac:spMkLst>
        </pc:spChg>
        <pc:spChg chg="add del mod">
          <ac:chgData name="Renata Festa" userId="6f22df47-533b-4c2a-a3c1-7f9ad1d63e10" providerId="ADAL" clId="{7D997690-04A4-4675-83D7-2E1CC2ED1A4E}" dt="2020-03-24T13:55:37.257" v="1488"/>
          <ac:spMkLst>
            <pc:docMk/>
            <pc:sldMk cId="4117970720" sldId="2076136647"/>
            <ac:spMk id="159" creationId="{D04E5C2D-793D-416B-8A09-2B910DEBE56C}"/>
          </ac:spMkLst>
        </pc:spChg>
        <pc:spChg chg="add del mod">
          <ac:chgData name="Renata Festa" userId="6f22df47-533b-4c2a-a3c1-7f9ad1d63e10" providerId="ADAL" clId="{7D997690-04A4-4675-83D7-2E1CC2ED1A4E}" dt="2020-03-24T13:55:37.257" v="1488"/>
          <ac:spMkLst>
            <pc:docMk/>
            <pc:sldMk cId="4117970720" sldId="2076136647"/>
            <ac:spMk id="160" creationId="{5108460A-4E78-4556-B165-22B6A667FDFE}"/>
          </ac:spMkLst>
        </pc:spChg>
        <pc:spChg chg="add del mod">
          <ac:chgData name="Renata Festa" userId="6f22df47-533b-4c2a-a3c1-7f9ad1d63e10" providerId="ADAL" clId="{7D997690-04A4-4675-83D7-2E1CC2ED1A4E}" dt="2020-03-24T13:55:37.257" v="1488"/>
          <ac:spMkLst>
            <pc:docMk/>
            <pc:sldMk cId="4117970720" sldId="2076136647"/>
            <ac:spMk id="164" creationId="{321019DE-7424-4AE0-A47D-F71ECB56C001}"/>
          </ac:spMkLst>
        </pc:spChg>
        <pc:spChg chg="add del mod">
          <ac:chgData name="Renata Festa" userId="6f22df47-533b-4c2a-a3c1-7f9ad1d63e10" providerId="ADAL" clId="{7D997690-04A4-4675-83D7-2E1CC2ED1A4E}" dt="2020-03-24T13:55:37.257" v="1488"/>
          <ac:spMkLst>
            <pc:docMk/>
            <pc:sldMk cId="4117970720" sldId="2076136647"/>
            <ac:spMk id="165" creationId="{BDC8B7ED-6708-4B66-9096-6B7F05D5065C}"/>
          </ac:spMkLst>
        </pc:spChg>
        <pc:spChg chg="add del mod">
          <ac:chgData name="Renata Festa" userId="6f22df47-533b-4c2a-a3c1-7f9ad1d63e10" providerId="ADAL" clId="{7D997690-04A4-4675-83D7-2E1CC2ED1A4E}" dt="2020-03-24T13:55:37.257" v="1488"/>
          <ac:spMkLst>
            <pc:docMk/>
            <pc:sldMk cId="4117970720" sldId="2076136647"/>
            <ac:spMk id="166" creationId="{1004CBCD-5244-42BD-9325-15D2757EC602}"/>
          </ac:spMkLst>
        </pc:spChg>
        <pc:spChg chg="add del mod">
          <ac:chgData name="Renata Festa" userId="6f22df47-533b-4c2a-a3c1-7f9ad1d63e10" providerId="ADAL" clId="{7D997690-04A4-4675-83D7-2E1CC2ED1A4E}" dt="2020-03-24T13:55:37.257" v="1488"/>
          <ac:spMkLst>
            <pc:docMk/>
            <pc:sldMk cId="4117970720" sldId="2076136647"/>
            <ac:spMk id="167" creationId="{8F7DBD9C-BCBA-4678-B6F5-0C023963609B}"/>
          </ac:spMkLst>
        </pc:spChg>
        <pc:spChg chg="add del mod">
          <ac:chgData name="Renata Festa" userId="6f22df47-533b-4c2a-a3c1-7f9ad1d63e10" providerId="ADAL" clId="{7D997690-04A4-4675-83D7-2E1CC2ED1A4E}" dt="2020-03-24T13:55:37.257" v="1488"/>
          <ac:spMkLst>
            <pc:docMk/>
            <pc:sldMk cId="4117970720" sldId="2076136647"/>
            <ac:spMk id="168" creationId="{AF7E590B-6C75-4C84-A32E-E4AD4563CD4D}"/>
          </ac:spMkLst>
        </pc:spChg>
        <pc:spChg chg="add del mod">
          <ac:chgData name="Renata Festa" userId="6f22df47-533b-4c2a-a3c1-7f9ad1d63e10" providerId="ADAL" clId="{7D997690-04A4-4675-83D7-2E1CC2ED1A4E}" dt="2020-03-24T13:55:37.257" v="1488"/>
          <ac:spMkLst>
            <pc:docMk/>
            <pc:sldMk cId="4117970720" sldId="2076136647"/>
            <ac:spMk id="169" creationId="{3C131A54-4179-4138-B763-6DAFB0BD8565}"/>
          </ac:spMkLst>
        </pc:spChg>
        <pc:spChg chg="add del mod">
          <ac:chgData name="Renata Festa" userId="6f22df47-533b-4c2a-a3c1-7f9ad1d63e10" providerId="ADAL" clId="{7D997690-04A4-4675-83D7-2E1CC2ED1A4E}" dt="2020-03-24T13:55:37.257" v="1488"/>
          <ac:spMkLst>
            <pc:docMk/>
            <pc:sldMk cId="4117970720" sldId="2076136647"/>
            <ac:spMk id="171" creationId="{8BA8895A-B078-4E79-88AA-DD9BDBE38271}"/>
          </ac:spMkLst>
        </pc:spChg>
        <pc:spChg chg="add del mod">
          <ac:chgData name="Renata Festa" userId="6f22df47-533b-4c2a-a3c1-7f9ad1d63e10" providerId="ADAL" clId="{7D997690-04A4-4675-83D7-2E1CC2ED1A4E}" dt="2020-03-24T13:55:37.257" v="1488"/>
          <ac:spMkLst>
            <pc:docMk/>
            <pc:sldMk cId="4117970720" sldId="2076136647"/>
            <ac:spMk id="172" creationId="{B0101E82-E068-4A6D-98B5-B10DF3B1E340}"/>
          </ac:spMkLst>
        </pc:spChg>
        <pc:spChg chg="add del mod">
          <ac:chgData name="Renata Festa" userId="6f22df47-533b-4c2a-a3c1-7f9ad1d63e10" providerId="ADAL" clId="{7D997690-04A4-4675-83D7-2E1CC2ED1A4E}" dt="2020-03-24T13:55:37.257" v="1488"/>
          <ac:spMkLst>
            <pc:docMk/>
            <pc:sldMk cId="4117970720" sldId="2076136647"/>
            <ac:spMk id="174" creationId="{6237EE3C-30A0-497B-9D1E-409626D608B6}"/>
          </ac:spMkLst>
        </pc:spChg>
        <pc:spChg chg="add del mod">
          <ac:chgData name="Renata Festa" userId="6f22df47-533b-4c2a-a3c1-7f9ad1d63e10" providerId="ADAL" clId="{7D997690-04A4-4675-83D7-2E1CC2ED1A4E}" dt="2020-03-24T13:55:37.257" v="1488"/>
          <ac:spMkLst>
            <pc:docMk/>
            <pc:sldMk cId="4117970720" sldId="2076136647"/>
            <ac:spMk id="176" creationId="{D1D573F7-1EBB-498C-B842-DB13E85C4563}"/>
          </ac:spMkLst>
        </pc:spChg>
        <pc:spChg chg="add del mod">
          <ac:chgData name="Renata Festa" userId="6f22df47-533b-4c2a-a3c1-7f9ad1d63e10" providerId="ADAL" clId="{7D997690-04A4-4675-83D7-2E1CC2ED1A4E}" dt="2020-03-24T13:55:37.257" v="1488"/>
          <ac:spMkLst>
            <pc:docMk/>
            <pc:sldMk cId="4117970720" sldId="2076136647"/>
            <ac:spMk id="186" creationId="{236F3072-0286-4D91-B872-264C4A538619}"/>
          </ac:spMkLst>
        </pc:spChg>
        <pc:spChg chg="add del mod">
          <ac:chgData name="Renata Festa" userId="6f22df47-533b-4c2a-a3c1-7f9ad1d63e10" providerId="ADAL" clId="{7D997690-04A4-4675-83D7-2E1CC2ED1A4E}" dt="2020-03-24T13:55:37.257" v="1488"/>
          <ac:spMkLst>
            <pc:docMk/>
            <pc:sldMk cId="4117970720" sldId="2076136647"/>
            <ac:spMk id="187" creationId="{46E7F102-2A89-4EA2-BA0D-83B063E58F9B}"/>
          </ac:spMkLst>
        </pc:spChg>
        <pc:spChg chg="add del mod">
          <ac:chgData name="Renata Festa" userId="6f22df47-533b-4c2a-a3c1-7f9ad1d63e10" providerId="ADAL" clId="{7D997690-04A4-4675-83D7-2E1CC2ED1A4E}" dt="2020-03-24T13:55:37.257" v="1488"/>
          <ac:spMkLst>
            <pc:docMk/>
            <pc:sldMk cId="4117970720" sldId="2076136647"/>
            <ac:spMk id="197" creationId="{0CDD1566-4C4F-46AF-9C2D-0889B30F4DD5}"/>
          </ac:spMkLst>
        </pc:spChg>
        <pc:spChg chg="add del mod">
          <ac:chgData name="Renata Festa" userId="6f22df47-533b-4c2a-a3c1-7f9ad1d63e10" providerId="ADAL" clId="{7D997690-04A4-4675-83D7-2E1CC2ED1A4E}" dt="2020-03-24T13:55:37.257" v="1488"/>
          <ac:spMkLst>
            <pc:docMk/>
            <pc:sldMk cId="4117970720" sldId="2076136647"/>
            <ac:spMk id="198" creationId="{4C343CB6-A3E8-4E6A-B275-4BF333CE23B4}"/>
          </ac:spMkLst>
        </pc:spChg>
        <pc:spChg chg="add del mod">
          <ac:chgData name="Renata Festa" userId="6f22df47-533b-4c2a-a3c1-7f9ad1d63e10" providerId="ADAL" clId="{7D997690-04A4-4675-83D7-2E1CC2ED1A4E}" dt="2020-03-24T13:55:37.257" v="1488"/>
          <ac:spMkLst>
            <pc:docMk/>
            <pc:sldMk cId="4117970720" sldId="2076136647"/>
            <ac:spMk id="208" creationId="{879C6332-B4A0-4FDB-9A31-1ED4C9027975}"/>
          </ac:spMkLst>
        </pc:spChg>
        <pc:spChg chg="add del mod">
          <ac:chgData name="Renata Festa" userId="6f22df47-533b-4c2a-a3c1-7f9ad1d63e10" providerId="ADAL" clId="{7D997690-04A4-4675-83D7-2E1CC2ED1A4E}" dt="2020-03-24T13:55:37.257" v="1488"/>
          <ac:spMkLst>
            <pc:docMk/>
            <pc:sldMk cId="4117970720" sldId="2076136647"/>
            <ac:spMk id="209" creationId="{4A539A72-90FE-4E8E-91E7-6F380506EE52}"/>
          </ac:spMkLst>
        </pc:spChg>
        <pc:spChg chg="add del mod">
          <ac:chgData name="Renata Festa" userId="6f22df47-533b-4c2a-a3c1-7f9ad1d63e10" providerId="ADAL" clId="{7D997690-04A4-4675-83D7-2E1CC2ED1A4E}" dt="2020-03-24T13:55:37.257" v="1488"/>
          <ac:spMkLst>
            <pc:docMk/>
            <pc:sldMk cId="4117970720" sldId="2076136647"/>
            <ac:spMk id="210" creationId="{1649517F-A11F-41FE-A6A5-64218F2C493B}"/>
          </ac:spMkLst>
        </pc:spChg>
        <pc:spChg chg="add del mod">
          <ac:chgData name="Renata Festa" userId="6f22df47-533b-4c2a-a3c1-7f9ad1d63e10" providerId="ADAL" clId="{7D997690-04A4-4675-83D7-2E1CC2ED1A4E}" dt="2020-03-24T13:55:37.257" v="1488"/>
          <ac:spMkLst>
            <pc:docMk/>
            <pc:sldMk cId="4117970720" sldId="2076136647"/>
            <ac:spMk id="211" creationId="{F720F25A-A8F4-42B3-81CB-9A792DE43E34}"/>
          </ac:spMkLst>
        </pc:spChg>
        <pc:spChg chg="add del mod">
          <ac:chgData name="Renata Festa" userId="6f22df47-533b-4c2a-a3c1-7f9ad1d63e10" providerId="ADAL" clId="{7D997690-04A4-4675-83D7-2E1CC2ED1A4E}" dt="2020-03-24T13:55:37.257" v="1488"/>
          <ac:spMkLst>
            <pc:docMk/>
            <pc:sldMk cId="4117970720" sldId="2076136647"/>
            <ac:spMk id="212" creationId="{FFB005E6-34FF-448D-B35B-0E9E16CD4B78}"/>
          </ac:spMkLst>
        </pc:spChg>
        <pc:spChg chg="add del mod">
          <ac:chgData name="Renata Festa" userId="6f22df47-533b-4c2a-a3c1-7f9ad1d63e10" providerId="ADAL" clId="{7D997690-04A4-4675-83D7-2E1CC2ED1A4E}" dt="2020-03-24T13:55:37.257" v="1488"/>
          <ac:spMkLst>
            <pc:docMk/>
            <pc:sldMk cId="4117970720" sldId="2076136647"/>
            <ac:spMk id="213" creationId="{F28C33B4-3499-4A3F-8F35-FE18A88322DA}"/>
          </ac:spMkLst>
        </pc:spChg>
        <pc:spChg chg="add del mod">
          <ac:chgData name="Renata Festa" userId="6f22df47-533b-4c2a-a3c1-7f9ad1d63e10" providerId="ADAL" clId="{7D997690-04A4-4675-83D7-2E1CC2ED1A4E}" dt="2020-03-24T13:55:37.257" v="1488"/>
          <ac:spMkLst>
            <pc:docMk/>
            <pc:sldMk cId="4117970720" sldId="2076136647"/>
            <ac:spMk id="214" creationId="{243191FF-E04D-4B97-9031-A2416CF6A607}"/>
          </ac:spMkLst>
        </pc:spChg>
        <pc:spChg chg="add del mod">
          <ac:chgData name="Renata Festa" userId="6f22df47-533b-4c2a-a3c1-7f9ad1d63e10" providerId="ADAL" clId="{7D997690-04A4-4675-83D7-2E1CC2ED1A4E}" dt="2020-03-24T13:55:37.257" v="1488"/>
          <ac:spMkLst>
            <pc:docMk/>
            <pc:sldMk cId="4117970720" sldId="2076136647"/>
            <ac:spMk id="215" creationId="{C9AF9E35-007E-4E26-A16A-7D5DAF018751}"/>
          </ac:spMkLst>
        </pc:spChg>
        <pc:spChg chg="add del mod">
          <ac:chgData name="Renata Festa" userId="6f22df47-533b-4c2a-a3c1-7f9ad1d63e10" providerId="ADAL" clId="{7D997690-04A4-4675-83D7-2E1CC2ED1A4E}" dt="2020-03-24T13:55:37.257" v="1488"/>
          <ac:spMkLst>
            <pc:docMk/>
            <pc:sldMk cId="4117970720" sldId="2076136647"/>
            <ac:spMk id="216" creationId="{0C5FBFDB-E074-4CF1-B104-D59C05E9924A}"/>
          </ac:spMkLst>
        </pc:spChg>
        <pc:spChg chg="add del mod">
          <ac:chgData name="Renata Festa" userId="6f22df47-533b-4c2a-a3c1-7f9ad1d63e10" providerId="ADAL" clId="{7D997690-04A4-4675-83D7-2E1CC2ED1A4E}" dt="2020-03-24T13:55:37.257" v="1488"/>
          <ac:spMkLst>
            <pc:docMk/>
            <pc:sldMk cId="4117970720" sldId="2076136647"/>
            <ac:spMk id="217" creationId="{2F8A3B93-865F-401D-B010-9C8B22D1A544}"/>
          </ac:spMkLst>
        </pc:spChg>
        <pc:spChg chg="add del mod">
          <ac:chgData name="Renata Festa" userId="6f22df47-533b-4c2a-a3c1-7f9ad1d63e10" providerId="ADAL" clId="{7D997690-04A4-4675-83D7-2E1CC2ED1A4E}" dt="2020-03-24T13:55:37.257" v="1488"/>
          <ac:spMkLst>
            <pc:docMk/>
            <pc:sldMk cId="4117970720" sldId="2076136647"/>
            <ac:spMk id="218" creationId="{05E1D369-A4A7-4747-A6D3-058FFECC7E07}"/>
          </ac:spMkLst>
        </pc:spChg>
        <pc:spChg chg="add del mod">
          <ac:chgData name="Renata Festa" userId="6f22df47-533b-4c2a-a3c1-7f9ad1d63e10" providerId="ADAL" clId="{7D997690-04A4-4675-83D7-2E1CC2ED1A4E}" dt="2020-03-24T13:55:37.257" v="1488"/>
          <ac:spMkLst>
            <pc:docMk/>
            <pc:sldMk cId="4117970720" sldId="2076136647"/>
            <ac:spMk id="219" creationId="{E7D5C59F-52B3-43DD-9F4A-8A7C55263A50}"/>
          </ac:spMkLst>
        </pc:spChg>
        <pc:spChg chg="add del mod">
          <ac:chgData name="Renata Festa" userId="6f22df47-533b-4c2a-a3c1-7f9ad1d63e10" providerId="ADAL" clId="{7D997690-04A4-4675-83D7-2E1CC2ED1A4E}" dt="2020-03-24T13:55:37.257" v="1488"/>
          <ac:spMkLst>
            <pc:docMk/>
            <pc:sldMk cId="4117970720" sldId="2076136647"/>
            <ac:spMk id="223" creationId="{706E6965-774E-47ED-A2FF-E4D8D6FEEA5A}"/>
          </ac:spMkLst>
        </pc:spChg>
        <pc:spChg chg="add del mod">
          <ac:chgData name="Renata Festa" userId="6f22df47-533b-4c2a-a3c1-7f9ad1d63e10" providerId="ADAL" clId="{7D997690-04A4-4675-83D7-2E1CC2ED1A4E}" dt="2020-03-24T13:55:37.257" v="1488"/>
          <ac:spMkLst>
            <pc:docMk/>
            <pc:sldMk cId="4117970720" sldId="2076136647"/>
            <ac:spMk id="224" creationId="{71E698AD-3BBD-48B1-B690-80F9E7EB33E5}"/>
          </ac:spMkLst>
        </pc:spChg>
        <pc:spChg chg="add del">
          <ac:chgData name="Renata Festa" userId="6f22df47-533b-4c2a-a3c1-7f9ad1d63e10" providerId="ADAL" clId="{7D997690-04A4-4675-83D7-2E1CC2ED1A4E}" dt="2020-03-24T13:55:39.188" v="1490"/>
          <ac:spMkLst>
            <pc:docMk/>
            <pc:sldMk cId="4117970720" sldId="2076136647"/>
            <ac:spMk id="225" creationId="{CC9AFAE7-CABD-4851-BB45-D0F38099DE4F}"/>
          </ac:spMkLst>
        </pc:spChg>
        <pc:spChg chg="add del">
          <ac:chgData name="Renata Festa" userId="6f22df47-533b-4c2a-a3c1-7f9ad1d63e10" providerId="ADAL" clId="{7D997690-04A4-4675-83D7-2E1CC2ED1A4E}" dt="2020-03-24T13:55:39.188" v="1490"/>
          <ac:spMkLst>
            <pc:docMk/>
            <pc:sldMk cId="4117970720" sldId="2076136647"/>
            <ac:spMk id="239" creationId="{B1FEFF52-9D9F-42E0-8B5D-A048C66C829B}"/>
          </ac:spMkLst>
        </pc:spChg>
        <pc:spChg chg="add del">
          <ac:chgData name="Renata Festa" userId="6f22df47-533b-4c2a-a3c1-7f9ad1d63e10" providerId="ADAL" clId="{7D997690-04A4-4675-83D7-2E1CC2ED1A4E}" dt="2020-03-24T13:55:39.188" v="1490"/>
          <ac:spMkLst>
            <pc:docMk/>
            <pc:sldMk cId="4117970720" sldId="2076136647"/>
            <ac:spMk id="240" creationId="{F40BB021-7E83-412D-8620-1DC47F1DF0E3}"/>
          </ac:spMkLst>
        </pc:spChg>
        <pc:spChg chg="add del">
          <ac:chgData name="Renata Festa" userId="6f22df47-533b-4c2a-a3c1-7f9ad1d63e10" providerId="ADAL" clId="{7D997690-04A4-4675-83D7-2E1CC2ED1A4E}" dt="2020-03-24T13:55:39.188" v="1490"/>
          <ac:spMkLst>
            <pc:docMk/>
            <pc:sldMk cId="4117970720" sldId="2076136647"/>
            <ac:spMk id="241" creationId="{B62E503C-6625-4BAC-9D41-0F61A47B79BD}"/>
          </ac:spMkLst>
        </pc:spChg>
        <pc:spChg chg="add del">
          <ac:chgData name="Renata Festa" userId="6f22df47-533b-4c2a-a3c1-7f9ad1d63e10" providerId="ADAL" clId="{7D997690-04A4-4675-83D7-2E1CC2ED1A4E}" dt="2020-03-24T13:55:39.188" v="1490"/>
          <ac:spMkLst>
            <pc:docMk/>
            <pc:sldMk cId="4117970720" sldId="2076136647"/>
            <ac:spMk id="244" creationId="{508F662E-3BDC-4B6E-B935-3D569057EA8C}"/>
          </ac:spMkLst>
        </pc:spChg>
        <pc:spChg chg="add del">
          <ac:chgData name="Renata Festa" userId="6f22df47-533b-4c2a-a3c1-7f9ad1d63e10" providerId="ADAL" clId="{7D997690-04A4-4675-83D7-2E1CC2ED1A4E}" dt="2020-03-24T13:55:39.188" v="1490"/>
          <ac:spMkLst>
            <pc:docMk/>
            <pc:sldMk cId="4117970720" sldId="2076136647"/>
            <ac:spMk id="245" creationId="{CB0EBE96-0D44-4C3A-A970-2EB92DC5D870}"/>
          </ac:spMkLst>
        </pc:spChg>
        <pc:spChg chg="add del">
          <ac:chgData name="Renata Festa" userId="6f22df47-533b-4c2a-a3c1-7f9ad1d63e10" providerId="ADAL" clId="{7D997690-04A4-4675-83D7-2E1CC2ED1A4E}" dt="2020-03-24T13:55:39.188" v="1490"/>
          <ac:spMkLst>
            <pc:docMk/>
            <pc:sldMk cId="4117970720" sldId="2076136647"/>
            <ac:spMk id="246" creationId="{DE8ED6FF-C154-49D4-955C-DBB783C30588}"/>
          </ac:spMkLst>
        </pc:spChg>
        <pc:spChg chg="add del">
          <ac:chgData name="Renata Festa" userId="6f22df47-533b-4c2a-a3c1-7f9ad1d63e10" providerId="ADAL" clId="{7D997690-04A4-4675-83D7-2E1CC2ED1A4E}" dt="2020-03-24T13:55:39.188" v="1490"/>
          <ac:spMkLst>
            <pc:docMk/>
            <pc:sldMk cId="4117970720" sldId="2076136647"/>
            <ac:spMk id="247" creationId="{ABC33FE4-E481-46DF-9901-FA551CF01BAD}"/>
          </ac:spMkLst>
        </pc:spChg>
        <pc:spChg chg="add del">
          <ac:chgData name="Renata Festa" userId="6f22df47-533b-4c2a-a3c1-7f9ad1d63e10" providerId="ADAL" clId="{7D997690-04A4-4675-83D7-2E1CC2ED1A4E}" dt="2020-03-24T13:55:39.188" v="1490"/>
          <ac:spMkLst>
            <pc:docMk/>
            <pc:sldMk cId="4117970720" sldId="2076136647"/>
            <ac:spMk id="248" creationId="{48F07576-117D-48BE-A32B-726A35DB8D3C}"/>
          </ac:spMkLst>
        </pc:spChg>
        <pc:spChg chg="add del">
          <ac:chgData name="Renata Festa" userId="6f22df47-533b-4c2a-a3c1-7f9ad1d63e10" providerId="ADAL" clId="{7D997690-04A4-4675-83D7-2E1CC2ED1A4E}" dt="2020-03-24T13:55:39.188" v="1490"/>
          <ac:spMkLst>
            <pc:docMk/>
            <pc:sldMk cId="4117970720" sldId="2076136647"/>
            <ac:spMk id="249" creationId="{07BC7235-20C0-48F2-A46C-DD5AC4B02138}"/>
          </ac:spMkLst>
        </pc:spChg>
        <pc:spChg chg="add del">
          <ac:chgData name="Renata Festa" userId="6f22df47-533b-4c2a-a3c1-7f9ad1d63e10" providerId="ADAL" clId="{7D997690-04A4-4675-83D7-2E1CC2ED1A4E}" dt="2020-03-24T13:55:39.188" v="1490"/>
          <ac:spMkLst>
            <pc:docMk/>
            <pc:sldMk cId="4117970720" sldId="2076136647"/>
            <ac:spMk id="250" creationId="{502ABFBB-AD43-4E99-8888-2E8DB4FBED71}"/>
          </ac:spMkLst>
        </pc:spChg>
        <pc:spChg chg="add del">
          <ac:chgData name="Renata Festa" userId="6f22df47-533b-4c2a-a3c1-7f9ad1d63e10" providerId="ADAL" clId="{7D997690-04A4-4675-83D7-2E1CC2ED1A4E}" dt="2020-03-24T13:55:39.188" v="1490"/>
          <ac:spMkLst>
            <pc:docMk/>
            <pc:sldMk cId="4117970720" sldId="2076136647"/>
            <ac:spMk id="251" creationId="{770D8E37-9785-42DA-BD47-F9BB41773595}"/>
          </ac:spMkLst>
        </pc:spChg>
        <pc:spChg chg="add del">
          <ac:chgData name="Renata Festa" userId="6f22df47-533b-4c2a-a3c1-7f9ad1d63e10" providerId="ADAL" clId="{7D997690-04A4-4675-83D7-2E1CC2ED1A4E}" dt="2020-03-24T13:55:39.188" v="1490"/>
          <ac:spMkLst>
            <pc:docMk/>
            <pc:sldMk cId="4117970720" sldId="2076136647"/>
            <ac:spMk id="252" creationId="{CB512B33-809E-4911-9C8E-7DB064E52932}"/>
          </ac:spMkLst>
        </pc:spChg>
        <pc:spChg chg="add del">
          <ac:chgData name="Renata Festa" userId="6f22df47-533b-4c2a-a3c1-7f9ad1d63e10" providerId="ADAL" clId="{7D997690-04A4-4675-83D7-2E1CC2ED1A4E}" dt="2020-03-24T13:55:39.188" v="1490"/>
          <ac:spMkLst>
            <pc:docMk/>
            <pc:sldMk cId="4117970720" sldId="2076136647"/>
            <ac:spMk id="253" creationId="{C1A44452-9A45-46A0-B472-F4E2194FBF9B}"/>
          </ac:spMkLst>
        </pc:spChg>
        <pc:spChg chg="add del">
          <ac:chgData name="Renata Festa" userId="6f22df47-533b-4c2a-a3c1-7f9ad1d63e10" providerId="ADAL" clId="{7D997690-04A4-4675-83D7-2E1CC2ED1A4E}" dt="2020-03-24T13:55:39.188" v="1490"/>
          <ac:spMkLst>
            <pc:docMk/>
            <pc:sldMk cId="4117970720" sldId="2076136647"/>
            <ac:spMk id="254" creationId="{C636B293-E12C-4197-B197-9E524B0D5B4A}"/>
          </ac:spMkLst>
        </pc:spChg>
        <pc:spChg chg="add del">
          <ac:chgData name="Renata Festa" userId="6f22df47-533b-4c2a-a3c1-7f9ad1d63e10" providerId="ADAL" clId="{7D997690-04A4-4675-83D7-2E1CC2ED1A4E}" dt="2020-03-24T13:55:39.188" v="1490"/>
          <ac:spMkLst>
            <pc:docMk/>
            <pc:sldMk cId="4117970720" sldId="2076136647"/>
            <ac:spMk id="255" creationId="{B95FEEA6-80BB-4111-B975-CFAC4E25A96F}"/>
          </ac:spMkLst>
        </pc:spChg>
        <pc:spChg chg="add del">
          <ac:chgData name="Renata Festa" userId="6f22df47-533b-4c2a-a3c1-7f9ad1d63e10" providerId="ADAL" clId="{7D997690-04A4-4675-83D7-2E1CC2ED1A4E}" dt="2020-03-24T13:55:39.188" v="1490"/>
          <ac:spMkLst>
            <pc:docMk/>
            <pc:sldMk cId="4117970720" sldId="2076136647"/>
            <ac:spMk id="256" creationId="{63539FCE-4E6E-4304-9838-E3E39B37870A}"/>
          </ac:spMkLst>
        </pc:spChg>
        <pc:spChg chg="add del">
          <ac:chgData name="Renata Festa" userId="6f22df47-533b-4c2a-a3c1-7f9ad1d63e10" providerId="ADAL" clId="{7D997690-04A4-4675-83D7-2E1CC2ED1A4E}" dt="2020-03-24T13:55:39.188" v="1490"/>
          <ac:spMkLst>
            <pc:docMk/>
            <pc:sldMk cId="4117970720" sldId="2076136647"/>
            <ac:spMk id="257" creationId="{3895AEBB-4A42-48EE-AABB-EE4591DF5607}"/>
          </ac:spMkLst>
        </pc:spChg>
        <pc:spChg chg="add del">
          <ac:chgData name="Renata Festa" userId="6f22df47-533b-4c2a-a3c1-7f9ad1d63e10" providerId="ADAL" clId="{7D997690-04A4-4675-83D7-2E1CC2ED1A4E}" dt="2020-03-24T13:55:39.188" v="1490"/>
          <ac:spMkLst>
            <pc:docMk/>
            <pc:sldMk cId="4117970720" sldId="2076136647"/>
            <ac:spMk id="258" creationId="{649E7B6C-B22C-4F88-B33A-1615A1E2CBE8}"/>
          </ac:spMkLst>
        </pc:spChg>
        <pc:spChg chg="add del">
          <ac:chgData name="Renata Festa" userId="6f22df47-533b-4c2a-a3c1-7f9ad1d63e10" providerId="ADAL" clId="{7D997690-04A4-4675-83D7-2E1CC2ED1A4E}" dt="2020-03-24T13:55:39.188" v="1490"/>
          <ac:spMkLst>
            <pc:docMk/>
            <pc:sldMk cId="4117970720" sldId="2076136647"/>
            <ac:spMk id="259" creationId="{32E6E19C-C92B-4F3F-B219-8372DE741AD4}"/>
          </ac:spMkLst>
        </pc:spChg>
        <pc:spChg chg="add del">
          <ac:chgData name="Renata Festa" userId="6f22df47-533b-4c2a-a3c1-7f9ad1d63e10" providerId="ADAL" clId="{7D997690-04A4-4675-83D7-2E1CC2ED1A4E}" dt="2020-03-24T13:55:39.188" v="1490"/>
          <ac:spMkLst>
            <pc:docMk/>
            <pc:sldMk cId="4117970720" sldId="2076136647"/>
            <ac:spMk id="260" creationId="{DA24F111-EE32-4E7A-A64C-FC41DE81BE80}"/>
          </ac:spMkLst>
        </pc:spChg>
        <pc:spChg chg="add del">
          <ac:chgData name="Renata Festa" userId="6f22df47-533b-4c2a-a3c1-7f9ad1d63e10" providerId="ADAL" clId="{7D997690-04A4-4675-83D7-2E1CC2ED1A4E}" dt="2020-03-24T13:55:39.188" v="1490"/>
          <ac:spMkLst>
            <pc:docMk/>
            <pc:sldMk cId="4117970720" sldId="2076136647"/>
            <ac:spMk id="261" creationId="{8CA7B7A4-D856-4BBE-82CE-4EE27EC9091A}"/>
          </ac:spMkLst>
        </pc:spChg>
        <pc:spChg chg="add del">
          <ac:chgData name="Renata Festa" userId="6f22df47-533b-4c2a-a3c1-7f9ad1d63e10" providerId="ADAL" clId="{7D997690-04A4-4675-83D7-2E1CC2ED1A4E}" dt="2020-03-24T13:55:39.188" v="1490"/>
          <ac:spMkLst>
            <pc:docMk/>
            <pc:sldMk cId="4117970720" sldId="2076136647"/>
            <ac:spMk id="262" creationId="{0766388A-AAC2-4955-8511-6F7619B6A0DC}"/>
          </ac:spMkLst>
        </pc:spChg>
        <pc:spChg chg="add del">
          <ac:chgData name="Renata Festa" userId="6f22df47-533b-4c2a-a3c1-7f9ad1d63e10" providerId="ADAL" clId="{7D997690-04A4-4675-83D7-2E1CC2ED1A4E}" dt="2020-03-24T13:55:39.188" v="1490"/>
          <ac:spMkLst>
            <pc:docMk/>
            <pc:sldMk cId="4117970720" sldId="2076136647"/>
            <ac:spMk id="264" creationId="{19127FD0-F59B-47FF-847E-BB136A064F95}"/>
          </ac:spMkLst>
        </pc:spChg>
        <pc:spChg chg="add del">
          <ac:chgData name="Renata Festa" userId="6f22df47-533b-4c2a-a3c1-7f9ad1d63e10" providerId="ADAL" clId="{7D997690-04A4-4675-83D7-2E1CC2ED1A4E}" dt="2020-03-24T13:55:39.188" v="1490"/>
          <ac:spMkLst>
            <pc:docMk/>
            <pc:sldMk cId="4117970720" sldId="2076136647"/>
            <ac:spMk id="265" creationId="{3EED1558-799B-43E0-8C0C-6649DA0F9D00}"/>
          </ac:spMkLst>
        </pc:spChg>
        <pc:spChg chg="add del">
          <ac:chgData name="Renata Festa" userId="6f22df47-533b-4c2a-a3c1-7f9ad1d63e10" providerId="ADAL" clId="{7D997690-04A4-4675-83D7-2E1CC2ED1A4E}" dt="2020-03-24T13:55:39.188" v="1490"/>
          <ac:spMkLst>
            <pc:docMk/>
            <pc:sldMk cId="4117970720" sldId="2076136647"/>
            <ac:spMk id="266" creationId="{F99C51DE-5C6D-4FE8-8DC2-A70A430DD91E}"/>
          </ac:spMkLst>
        </pc:spChg>
        <pc:spChg chg="add del">
          <ac:chgData name="Renata Festa" userId="6f22df47-533b-4c2a-a3c1-7f9ad1d63e10" providerId="ADAL" clId="{7D997690-04A4-4675-83D7-2E1CC2ED1A4E}" dt="2020-03-24T13:55:39.188" v="1490"/>
          <ac:spMkLst>
            <pc:docMk/>
            <pc:sldMk cId="4117970720" sldId="2076136647"/>
            <ac:spMk id="267" creationId="{890D9E29-698F-4A0E-918A-F200DE978008}"/>
          </ac:spMkLst>
        </pc:spChg>
        <pc:spChg chg="add del">
          <ac:chgData name="Renata Festa" userId="6f22df47-533b-4c2a-a3c1-7f9ad1d63e10" providerId="ADAL" clId="{7D997690-04A4-4675-83D7-2E1CC2ED1A4E}" dt="2020-03-24T13:55:39.188" v="1490"/>
          <ac:spMkLst>
            <pc:docMk/>
            <pc:sldMk cId="4117970720" sldId="2076136647"/>
            <ac:spMk id="269" creationId="{207DD814-513B-480D-9042-66462668A18A}"/>
          </ac:spMkLst>
        </pc:spChg>
        <pc:spChg chg="add del">
          <ac:chgData name="Renata Festa" userId="6f22df47-533b-4c2a-a3c1-7f9ad1d63e10" providerId="ADAL" clId="{7D997690-04A4-4675-83D7-2E1CC2ED1A4E}" dt="2020-03-24T13:55:39.188" v="1490"/>
          <ac:spMkLst>
            <pc:docMk/>
            <pc:sldMk cId="4117970720" sldId="2076136647"/>
            <ac:spMk id="270" creationId="{85451249-EEA3-4B02-8C55-D8391F7E610C}"/>
          </ac:spMkLst>
        </pc:spChg>
        <pc:spChg chg="add del">
          <ac:chgData name="Renata Festa" userId="6f22df47-533b-4c2a-a3c1-7f9ad1d63e10" providerId="ADAL" clId="{7D997690-04A4-4675-83D7-2E1CC2ED1A4E}" dt="2020-03-24T13:55:39.188" v="1490"/>
          <ac:spMkLst>
            <pc:docMk/>
            <pc:sldMk cId="4117970720" sldId="2076136647"/>
            <ac:spMk id="274" creationId="{FAD2D418-2797-4E4B-A1F8-0BBDE38335F7}"/>
          </ac:spMkLst>
        </pc:spChg>
        <pc:spChg chg="add del">
          <ac:chgData name="Renata Festa" userId="6f22df47-533b-4c2a-a3c1-7f9ad1d63e10" providerId="ADAL" clId="{7D997690-04A4-4675-83D7-2E1CC2ED1A4E}" dt="2020-03-24T13:55:39.188" v="1490"/>
          <ac:spMkLst>
            <pc:docMk/>
            <pc:sldMk cId="4117970720" sldId="2076136647"/>
            <ac:spMk id="275" creationId="{170A7355-67ED-483C-BD11-1F586D3DD748}"/>
          </ac:spMkLst>
        </pc:spChg>
        <pc:spChg chg="add del">
          <ac:chgData name="Renata Festa" userId="6f22df47-533b-4c2a-a3c1-7f9ad1d63e10" providerId="ADAL" clId="{7D997690-04A4-4675-83D7-2E1CC2ED1A4E}" dt="2020-03-24T13:55:39.188" v="1490"/>
          <ac:spMkLst>
            <pc:docMk/>
            <pc:sldMk cId="4117970720" sldId="2076136647"/>
            <ac:spMk id="276" creationId="{10305DEC-24A2-4857-BF30-0834A9D45D33}"/>
          </ac:spMkLst>
        </pc:spChg>
        <pc:spChg chg="add del">
          <ac:chgData name="Renata Festa" userId="6f22df47-533b-4c2a-a3c1-7f9ad1d63e10" providerId="ADAL" clId="{7D997690-04A4-4675-83D7-2E1CC2ED1A4E}" dt="2020-03-24T13:55:39.188" v="1490"/>
          <ac:spMkLst>
            <pc:docMk/>
            <pc:sldMk cId="4117970720" sldId="2076136647"/>
            <ac:spMk id="277" creationId="{D3D85B31-7F20-470C-98AF-9E6464F132C4}"/>
          </ac:spMkLst>
        </pc:spChg>
        <pc:spChg chg="add del">
          <ac:chgData name="Renata Festa" userId="6f22df47-533b-4c2a-a3c1-7f9ad1d63e10" providerId="ADAL" clId="{7D997690-04A4-4675-83D7-2E1CC2ED1A4E}" dt="2020-03-24T13:55:39.188" v="1490"/>
          <ac:spMkLst>
            <pc:docMk/>
            <pc:sldMk cId="4117970720" sldId="2076136647"/>
            <ac:spMk id="278" creationId="{8E74E96F-1692-449D-B826-911E7AE038B5}"/>
          </ac:spMkLst>
        </pc:spChg>
        <pc:spChg chg="add del">
          <ac:chgData name="Renata Festa" userId="6f22df47-533b-4c2a-a3c1-7f9ad1d63e10" providerId="ADAL" clId="{7D997690-04A4-4675-83D7-2E1CC2ED1A4E}" dt="2020-03-24T13:55:39.188" v="1490"/>
          <ac:spMkLst>
            <pc:docMk/>
            <pc:sldMk cId="4117970720" sldId="2076136647"/>
            <ac:spMk id="279" creationId="{F254DA72-365F-46E9-BBF4-85945EFA6F5A}"/>
          </ac:spMkLst>
        </pc:spChg>
        <pc:spChg chg="add del">
          <ac:chgData name="Renata Festa" userId="6f22df47-533b-4c2a-a3c1-7f9ad1d63e10" providerId="ADAL" clId="{7D997690-04A4-4675-83D7-2E1CC2ED1A4E}" dt="2020-03-24T13:55:39.188" v="1490"/>
          <ac:spMkLst>
            <pc:docMk/>
            <pc:sldMk cId="4117970720" sldId="2076136647"/>
            <ac:spMk id="281" creationId="{2148993B-A35C-4057-8CFB-D1FE36497A81}"/>
          </ac:spMkLst>
        </pc:spChg>
        <pc:spChg chg="add del">
          <ac:chgData name="Renata Festa" userId="6f22df47-533b-4c2a-a3c1-7f9ad1d63e10" providerId="ADAL" clId="{7D997690-04A4-4675-83D7-2E1CC2ED1A4E}" dt="2020-03-24T13:55:39.188" v="1490"/>
          <ac:spMkLst>
            <pc:docMk/>
            <pc:sldMk cId="4117970720" sldId="2076136647"/>
            <ac:spMk id="282" creationId="{C510E57E-6B7A-47A7-848A-3CA158F466E3}"/>
          </ac:spMkLst>
        </pc:spChg>
        <pc:spChg chg="add del">
          <ac:chgData name="Renata Festa" userId="6f22df47-533b-4c2a-a3c1-7f9ad1d63e10" providerId="ADAL" clId="{7D997690-04A4-4675-83D7-2E1CC2ED1A4E}" dt="2020-03-24T13:55:39.188" v="1490"/>
          <ac:spMkLst>
            <pc:docMk/>
            <pc:sldMk cId="4117970720" sldId="2076136647"/>
            <ac:spMk id="284" creationId="{F2E1733D-71C1-449D-B756-BDDBD681C1F6}"/>
          </ac:spMkLst>
        </pc:spChg>
        <pc:spChg chg="add del">
          <ac:chgData name="Renata Festa" userId="6f22df47-533b-4c2a-a3c1-7f9ad1d63e10" providerId="ADAL" clId="{7D997690-04A4-4675-83D7-2E1CC2ED1A4E}" dt="2020-03-24T13:55:39.188" v="1490"/>
          <ac:spMkLst>
            <pc:docMk/>
            <pc:sldMk cId="4117970720" sldId="2076136647"/>
            <ac:spMk id="286" creationId="{40957884-D100-4D5F-88BD-C06D75972476}"/>
          </ac:spMkLst>
        </pc:spChg>
        <pc:spChg chg="add del">
          <ac:chgData name="Renata Festa" userId="6f22df47-533b-4c2a-a3c1-7f9ad1d63e10" providerId="ADAL" clId="{7D997690-04A4-4675-83D7-2E1CC2ED1A4E}" dt="2020-03-24T13:55:39.188" v="1490"/>
          <ac:spMkLst>
            <pc:docMk/>
            <pc:sldMk cId="4117970720" sldId="2076136647"/>
            <ac:spMk id="296" creationId="{5E0EFD41-4BC2-44FE-8D22-4D27251B2B3C}"/>
          </ac:spMkLst>
        </pc:spChg>
        <pc:spChg chg="add del">
          <ac:chgData name="Renata Festa" userId="6f22df47-533b-4c2a-a3c1-7f9ad1d63e10" providerId="ADAL" clId="{7D997690-04A4-4675-83D7-2E1CC2ED1A4E}" dt="2020-03-24T13:55:39.188" v="1490"/>
          <ac:spMkLst>
            <pc:docMk/>
            <pc:sldMk cId="4117970720" sldId="2076136647"/>
            <ac:spMk id="297" creationId="{1BD69DB6-CC0B-4ADB-8BB9-215B8C0B0D16}"/>
          </ac:spMkLst>
        </pc:spChg>
        <pc:spChg chg="add del">
          <ac:chgData name="Renata Festa" userId="6f22df47-533b-4c2a-a3c1-7f9ad1d63e10" providerId="ADAL" clId="{7D997690-04A4-4675-83D7-2E1CC2ED1A4E}" dt="2020-03-24T13:55:39.188" v="1490"/>
          <ac:spMkLst>
            <pc:docMk/>
            <pc:sldMk cId="4117970720" sldId="2076136647"/>
            <ac:spMk id="307" creationId="{54520F48-45EE-4DA1-8C12-136CB01B53E8}"/>
          </ac:spMkLst>
        </pc:spChg>
        <pc:spChg chg="add del">
          <ac:chgData name="Renata Festa" userId="6f22df47-533b-4c2a-a3c1-7f9ad1d63e10" providerId="ADAL" clId="{7D997690-04A4-4675-83D7-2E1CC2ED1A4E}" dt="2020-03-24T13:55:39.188" v="1490"/>
          <ac:spMkLst>
            <pc:docMk/>
            <pc:sldMk cId="4117970720" sldId="2076136647"/>
            <ac:spMk id="308" creationId="{0A0DAE21-1831-4F2F-AA6B-12D572043BAD}"/>
          </ac:spMkLst>
        </pc:spChg>
        <pc:spChg chg="add del">
          <ac:chgData name="Renata Festa" userId="6f22df47-533b-4c2a-a3c1-7f9ad1d63e10" providerId="ADAL" clId="{7D997690-04A4-4675-83D7-2E1CC2ED1A4E}" dt="2020-03-24T13:55:39.188" v="1490"/>
          <ac:spMkLst>
            <pc:docMk/>
            <pc:sldMk cId="4117970720" sldId="2076136647"/>
            <ac:spMk id="318" creationId="{3E6A5294-04A7-4147-9490-663CBD28FA15}"/>
          </ac:spMkLst>
        </pc:spChg>
        <pc:spChg chg="add del">
          <ac:chgData name="Renata Festa" userId="6f22df47-533b-4c2a-a3c1-7f9ad1d63e10" providerId="ADAL" clId="{7D997690-04A4-4675-83D7-2E1CC2ED1A4E}" dt="2020-03-24T13:55:39.188" v="1490"/>
          <ac:spMkLst>
            <pc:docMk/>
            <pc:sldMk cId="4117970720" sldId="2076136647"/>
            <ac:spMk id="319" creationId="{3C5D55C1-894D-447E-BC75-4A9C9EB93A92}"/>
          </ac:spMkLst>
        </pc:spChg>
        <pc:spChg chg="add del">
          <ac:chgData name="Renata Festa" userId="6f22df47-533b-4c2a-a3c1-7f9ad1d63e10" providerId="ADAL" clId="{7D997690-04A4-4675-83D7-2E1CC2ED1A4E}" dt="2020-03-24T13:55:39.188" v="1490"/>
          <ac:spMkLst>
            <pc:docMk/>
            <pc:sldMk cId="4117970720" sldId="2076136647"/>
            <ac:spMk id="320" creationId="{7B7CE430-F85A-4FE6-BA3F-548D1B9FA36B}"/>
          </ac:spMkLst>
        </pc:spChg>
        <pc:spChg chg="add del">
          <ac:chgData name="Renata Festa" userId="6f22df47-533b-4c2a-a3c1-7f9ad1d63e10" providerId="ADAL" clId="{7D997690-04A4-4675-83D7-2E1CC2ED1A4E}" dt="2020-03-24T13:55:39.188" v="1490"/>
          <ac:spMkLst>
            <pc:docMk/>
            <pc:sldMk cId="4117970720" sldId="2076136647"/>
            <ac:spMk id="321" creationId="{1C479DD9-3BFC-4826-933B-18BCA32C5B96}"/>
          </ac:spMkLst>
        </pc:spChg>
        <pc:spChg chg="add del">
          <ac:chgData name="Renata Festa" userId="6f22df47-533b-4c2a-a3c1-7f9ad1d63e10" providerId="ADAL" clId="{7D997690-04A4-4675-83D7-2E1CC2ED1A4E}" dt="2020-03-24T13:55:39.188" v="1490"/>
          <ac:spMkLst>
            <pc:docMk/>
            <pc:sldMk cId="4117970720" sldId="2076136647"/>
            <ac:spMk id="322" creationId="{BCD400B8-612B-4518-BEA2-4A4388FA0B4E}"/>
          </ac:spMkLst>
        </pc:spChg>
        <pc:spChg chg="add del">
          <ac:chgData name="Renata Festa" userId="6f22df47-533b-4c2a-a3c1-7f9ad1d63e10" providerId="ADAL" clId="{7D997690-04A4-4675-83D7-2E1CC2ED1A4E}" dt="2020-03-24T13:55:39.188" v="1490"/>
          <ac:spMkLst>
            <pc:docMk/>
            <pc:sldMk cId="4117970720" sldId="2076136647"/>
            <ac:spMk id="323" creationId="{7C4A5CEE-6AFA-45C2-A6C4-A20A76D780B6}"/>
          </ac:spMkLst>
        </pc:spChg>
        <pc:spChg chg="add del">
          <ac:chgData name="Renata Festa" userId="6f22df47-533b-4c2a-a3c1-7f9ad1d63e10" providerId="ADAL" clId="{7D997690-04A4-4675-83D7-2E1CC2ED1A4E}" dt="2020-03-24T13:55:39.188" v="1490"/>
          <ac:spMkLst>
            <pc:docMk/>
            <pc:sldMk cId="4117970720" sldId="2076136647"/>
            <ac:spMk id="324" creationId="{8D30BABB-7A64-44E1-9FB8-FFC07BBB47C2}"/>
          </ac:spMkLst>
        </pc:spChg>
        <pc:spChg chg="add del">
          <ac:chgData name="Renata Festa" userId="6f22df47-533b-4c2a-a3c1-7f9ad1d63e10" providerId="ADAL" clId="{7D997690-04A4-4675-83D7-2E1CC2ED1A4E}" dt="2020-03-24T13:55:39.188" v="1490"/>
          <ac:spMkLst>
            <pc:docMk/>
            <pc:sldMk cId="4117970720" sldId="2076136647"/>
            <ac:spMk id="325" creationId="{2AD18190-5786-4DC0-B770-E15DD8C92886}"/>
          </ac:spMkLst>
        </pc:spChg>
        <pc:spChg chg="add del">
          <ac:chgData name="Renata Festa" userId="6f22df47-533b-4c2a-a3c1-7f9ad1d63e10" providerId="ADAL" clId="{7D997690-04A4-4675-83D7-2E1CC2ED1A4E}" dt="2020-03-24T13:55:39.188" v="1490"/>
          <ac:spMkLst>
            <pc:docMk/>
            <pc:sldMk cId="4117970720" sldId="2076136647"/>
            <ac:spMk id="326" creationId="{05E44446-523A-42E7-A13D-BC1BED912290}"/>
          </ac:spMkLst>
        </pc:spChg>
        <pc:spChg chg="add del">
          <ac:chgData name="Renata Festa" userId="6f22df47-533b-4c2a-a3c1-7f9ad1d63e10" providerId="ADAL" clId="{7D997690-04A4-4675-83D7-2E1CC2ED1A4E}" dt="2020-03-24T13:55:39.188" v="1490"/>
          <ac:spMkLst>
            <pc:docMk/>
            <pc:sldMk cId="4117970720" sldId="2076136647"/>
            <ac:spMk id="327" creationId="{6C7D93BE-F3AE-40A7-9C32-318BD8F6DE9C}"/>
          </ac:spMkLst>
        </pc:spChg>
        <pc:spChg chg="add del">
          <ac:chgData name="Renata Festa" userId="6f22df47-533b-4c2a-a3c1-7f9ad1d63e10" providerId="ADAL" clId="{7D997690-04A4-4675-83D7-2E1CC2ED1A4E}" dt="2020-03-24T13:55:39.188" v="1490"/>
          <ac:spMkLst>
            <pc:docMk/>
            <pc:sldMk cId="4117970720" sldId="2076136647"/>
            <ac:spMk id="328" creationId="{5EDCC567-9E79-429B-AC7D-AF70DE2CA316}"/>
          </ac:spMkLst>
        </pc:spChg>
        <pc:spChg chg="add del">
          <ac:chgData name="Renata Festa" userId="6f22df47-533b-4c2a-a3c1-7f9ad1d63e10" providerId="ADAL" clId="{7D997690-04A4-4675-83D7-2E1CC2ED1A4E}" dt="2020-03-24T13:55:39.188" v="1490"/>
          <ac:spMkLst>
            <pc:docMk/>
            <pc:sldMk cId="4117970720" sldId="2076136647"/>
            <ac:spMk id="329" creationId="{3B13BA74-F1BD-4AFA-81CD-1282B372DB23}"/>
          </ac:spMkLst>
        </pc:spChg>
        <pc:spChg chg="add del">
          <ac:chgData name="Renata Festa" userId="6f22df47-533b-4c2a-a3c1-7f9ad1d63e10" providerId="ADAL" clId="{7D997690-04A4-4675-83D7-2E1CC2ED1A4E}" dt="2020-03-24T13:55:39.188" v="1490"/>
          <ac:spMkLst>
            <pc:docMk/>
            <pc:sldMk cId="4117970720" sldId="2076136647"/>
            <ac:spMk id="333" creationId="{DD9A8CB0-E9DD-4082-83DC-D483ABDAB8F6}"/>
          </ac:spMkLst>
        </pc:spChg>
        <pc:spChg chg="add del">
          <ac:chgData name="Renata Festa" userId="6f22df47-533b-4c2a-a3c1-7f9ad1d63e10" providerId="ADAL" clId="{7D997690-04A4-4675-83D7-2E1CC2ED1A4E}" dt="2020-03-24T13:55:39.188" v="1490"/>
          <ac:spMkLst>
            <pc:docMk/>
            <pc:sldMk cId="4117970720" sldId="2076136647"/>
            <ac:spMk id="334" creationId="{692CB436-3314-428E-B32C-9AFED4D49297}"/>
          </ac:spMkLst>
        </pc:spChg>
        <pc:spChg chg="add mod">
          <ac:chgData name="Renata Festa" userId="6f22df47-533b-4c2a-a3c1-7f9ad1d63e10" providerId="ADAL" clId="{7D997690-04A4-4675-83D7-2E1CC2ED1A4E}" dt="2020-03-24T13:55:50.487" v="1492" actId="1076"/>
          <ac:spMkLst>
            <pc:docMk/>
            <pc:sldMk cId="4117970720" sldId="2076136647"/>
            <ac:spMk id="335" creationId="{FA833022-7A07-4661-8A8E-FC32431E6E80}"/>
          </ac:spMkLst>
        </pc:spChg>
        <pc:spChg chg="add mod">
          <ac:chgData name="Renata Festa" userId="6f22df47-533b-4c2a-a3c1-7f9ad1d63e10" providerId="ADAL" clId="{7D997690-04A4-4675-83D7-2E1CC2ED1A4E}" dt="2020-03-24T13:55:50.487" v="1492" actId="1076"/>
          <ac:spMkLst>
            <pc:docMk/>
            <pc:sldMk cId="4117970720" sldId="2076136647"/>
            <ac:spMk id="349" creationId="{F6E89585-3158-4BAC-BBF2-38A11228DD1D}"/>
          </ac:spMkLst>
        </pc:spChg>
        <pc:spChg chg="add mod">
          <ac:chgData name="Renata Festa" userId="6f22df47-533b-4c2a-a3c1-7f9ad1d63e10" providerId="ADAL" clId="{7D997690-04A4-4675-83D7-2E1CC2ED1A4E}" dt="2020-03-24T13:55:50.487" v="1492" actId="1076"/>
          <ac:spMkLst>
            <pc:docMk/>
            <pc:sldMk cId="4117970720" sldId="2076136647"/>
            <ac:spMk id="350" creationId="{1F7541D3-F8B9-4F90-B7AE-74BE7DD2D289}"/>
          </ac:spMkLst>
        </pc:spChg>
        <pc:spChg chg="add mod">
          <ac:chgData name="Renata Festa" userId="6f22df47-533b-4c2a-a3c1-7f9ad1d63e10" providerId="ADAL" clId="{7D997690-04A4-4675-83D7-2E1CC2ED1A4E}" dt="2020-03-24T13:55:50.487" v="1492" actId="1076"/>
          <ac:spMkLst>
            <pc:docMk/>
            <pc:sldMk cId="4117970720" sldId="2076136647"/>
            <ac:spMk id="351" creationId="{8D0F0CA3-A634-469A-A161-87B049ACEADF}"/>
          </ac:spMkLst>
        </pc:spChg>
        <pc:spChg chg="add mod">
          <ac:chgData name="Renata Festa" userId="6f22df47-533b-4c2a-a3c1-7f9ad1d63e10" providerId="ADAL" clId="{7D997690-04A4-4675-83D7-2E1CC2ED1A4E}" dt="2020-03-24T13:55:50.487" v="1492" actId="1076"/>
          <ac:spMkLst>
            <pc:docMk/>
            <pc:sldMk cId="4117970720" sldId="2076136647"/>
            <ac:spMk id="354" creationId="{7FBA439C-EF38-489D-B3C3-8CA6DEC6279F}"/>
          </ac:spMkLst>
        </pc:spChg>
        <pc:spChg chg="add mod">
          <ac:chgData name="Renata Festa" userId="6f22df47-533b-4c2a-a3c1-7f9ad1d63e10" providerId="ADAL" clId="{7D997690-04A4-4675-83D7-2E1CC2ED1A4E}" dt="2020-03-24T13:55:50.487" v="1492" actId="1076"/>
          <ac:spMkLst>
            <pc:docMk/>
            <pc:sldMk cId="4117970720" sldId="2076136647"/>
            <ac:spMk id="355" creationId="{150267CB-8746-4C70-99A6-F404475EAED5}"/>
          </ac:spMkLst>
        </pc:spChg>
        <pc:spChg chg="add mod">
          <ac:chgData name="Renata Festa" userId="6f22df47-533b-4c2a-a3c1-7f9ad1d63e10" providerId="ADAL" clId="{7D997690-04A4-4675-83D7-2E1CC2ED1A4E}" dt="2020-03-24T13:55:50.487" v="1492" actId="1076"/>
          <ac:spMkLst>
            <pc:docMk/>
            <pc:sldMk cId="4117970720" sldId="2076136647"/>
            <ac:spMk id="356" creationId="{F7DED8CD-E34C-437E-A2F1-DBF36D5E2AB4}"/>
          </ac:spMkLst>
        </pc:spChg>
        <pc:spChg chg="add mod">
          <ac:chgData name="Renata Festa" userId="6f22df47-533b-4c2a-a3c1-7f9ad1d63e10" providerId="ADAL" clId="{7D997690-04A4-4675-83D7-2E1CC2ED1A4E}" dt="2020-03-24T13:55:50.487" v="1492" actId="1076"/>
          <ac:spMkLst>
            <pc:docMk/>
            <pc:sldMk cId="4117970720" sldId="2076136647"/>
            <ac:spMk id="357" creationId="{B2A50926-9EDF-4942-88EF-0F2AA59700D3}"/>
          </ac:spMkLst>
        </pc:spChg>
        <pc:spChg chg="add mod">
          <ac:chgData name="Renata Festa" userId="6f22df47-533b-4c2a-a3c1-7f9ad1d63e10" providerId="ADAL" clId="{7D997690-04A4-4675-83D7-2E1CC2ED1A4E}" dt="2020-03-24T13:55:50.487" v="1492" actId="1076"/>
          <ac:spMkLst>
            <pc:docMk/>
            <pc:sldMk cId="4117970720" sldId="2076136647"/>
            <ac:spMk id="358" creationId="{1A8EE684-D7EF-4173-94E3-A121E84C7266}"/>
          </ac:spMkLst>
        </pc:spChg>
        <pc:spChg chg="add mod">
          <ac:chgData name="Renata Festa" userId="6f22df47-533b-4c2a-a3c1-7f9ad1d63e10" providerId="ADAL" clId="{7D997690-04A4-4675-83D7-2E1CC2ED1A4E}" dt="2020-03-24T13:55:50.487" v="1492" actId="1076"/>
          <ac:spMkLst>
            <pc:docMk/>
            <pc:sldMk cId="4117970720" sldId="2076136647"/>
            <ac:spMk id="359" creationId="{226CE834-296C-4DA5-A0B5-04B7B4CB204E}"/>
          </ac:spMkLst>
        </pc:spChg>
        <pc:spChg chg="add mod">
          <ac:chgData name="Renata Festa" userId="6f22df47-533b-4c2a-a3c1-7f9ad1d63e10" providerId="ADAL" clId="{7D997690-04A4-4675-83D7-2E1CC2ED1A4E}" dt="2020-03-24T13:55:50.487" v="1492" actId="1076"/>
          <ac:spMkLst>
            <pc:docMk/>
            <pc:sldMk cId="4117970720" sldId="2076136647"/>
            <ac:spMk id="360" creationId="{910DF5A7-ADD6-4C13-900F-AC3F9C7F97A5}"/>
          </ac:spMkLst>
        </pc:spChg>
        <pc:spChg chg="add mod">
          <ac:chgData name="Renata Festa" userId="6f22df47-533b-4c2a-a3c1-7f9ad1d63e10" providerId="ADAL" clId="{7D997690-04A4-4675-83D7-2E1CC2ED1A4E}" dt="2020-03-24T13:55:50.487" v="1492" actId="1076"/>
          <ac:spMkLst>
            <pc:docMk/>
            <pc:sldMk cId="4117970720" sldId="2076136647"/>
            <ac:spMk id="361" creationId="{E6B954B7-901B-4A67-BE15-9B4B7FFF7670}"/>
          </ac:spMkLst>
        </pc:spChg>
        <pc:spChg chg="add mod">
          <ac:chgData name="Renata Festa" userId="6f22df47-533b-4c2a-a3c1-7f9ad1d63e10" providerId="ADAL" clId="{7D997690-04A4-4675-83D7-2E1CC2ED1A4E}" dt="2020-03-24T13:55:50.487" v="1492" actId="1076"/>
          <ac:spMkLst>
            <pc:docMk/>
            <pc:sldMk cId="4117970720" sldId="2076136647"/>
            <ac:spMk id="362" creationId="{5046C10E-B19C-4855-AEF1-D3D0CEE0A610}"/>
          </ac:spMkLst>
        </pc:spChg>
        <pc:spChg chg="add mod">
          <ac:chgData name="Renata Festa" userId="6f22df47-533b-4c2a-a3c1-7f9ad1d63e10" providerId="ADAL" clId="{7D997690-04A4-4675-83D7-2E1CC2ED1A4E}" dt="2020-03-24T13:55:50.487" v="1492" actId="1076"/>
          <ac:spMkLst>
            <pc:docMk/>
            <pc:sldMk cId="4117970720" sldId="2076136647"/>
            <ac:spMk id="363" creationId="{DF3E6239-215C-4CEC-A929-5355CF537DBF}"/>
          </ac:spMkLst>
        </pc:spChg>
        <pc:spChg chg="add mod">
          <ac:chgData name="Renata Festa" userId="6f22df47-533b-4c2a-a3c1-7f9ad1d63e10" providerId="ADAL" clId="{7D997690-04A4-4675-83D7-2E1CC2ED1A4E}" dt="2020-03-24T13:55:50.487" v="1492" actId="1076"/>
          <ac:spMkLst>
            <pc:docMk/>
            <pc:sldMk cId="4117970720" sldId="2076136647"/>
            <ac:spMk id="364" creationId="{629ABEF9-0409-4C03-A972-1E2AF193D937}"/>
          </ac:spMkLst>
        </pc:spChg>
        <pc:spChg chg="add mod">
          <ac:chgData name="Renata Festa" userId="6f22df47-533b-4c2a-a3c1-7f9ad1d63e10" providerId="ADAL" clId="{7D997690-04A4-4675-83D7-2E1CC2ED1A4E}" dt="2020-03-24T13:55:50.487" v="1492" actId="1076"/>
          <ac:spMkLst>
            <pc:docMk/>
            <pc:sldMk cId="4117970720" sldId="2076136647"/>
            <ac:spMk id="365" creationId="{B094B496-E2E7-4F67-BF8B-9C504D9C76F4}"/>
          </ac:spMkLst>
        </pc:spChg>
        <pc:spChg chg="add mod">
          <ac:chgData name="Renata Festa" userId="6f22df47-533b-4c2a-a3c1-7f9ad1d63e10" providerId="ADAL" clId="{7D997690-04A4-4675-83D7-2E1CC2ED1A4E}" dt="2020-03-24T13:55:50.487" v="1492" actId="1076"/>
          <ac:spMkLst>
            <pc:docMk/>
            <pc:sldMk cId="4117970720" sldId="2076136647"/>
            <ac:spMk id="366" creationId="{FEA6F030-4CB5-43DB-BC45-0BD93F1D9B28}"/>
          </ac:spMkLst>
        </pc:spChg>
        <pc:spChg chg="add mod">
          <ac:chgData name="Renata Festa" userId="6f22df47-533b-4c2a-a3c1-7f9ad1d63e10" providerId="ADAL" clId="{7D997690-04A4-4675-83D7-2E1CC2ED1A4E}" dt="2020-03-24T13:55:50.487" v="1492" actId="1076"/>
          <ac:spMkLst>
            <pc:docMk/>
            <pc:sldMk cId="4117970720" sldId="2076136647"/>
            <ac:spMk id="367" creationId="{28814FE0-1A1B-4ECA-BCE0-C76765AB92F7}"/>
          </ac:spMkLst>
        </pc:spChg>
        <pc:spChg chg="add mod">
          <ac:chgData name="Renata Festa" userId="6f22df47-533b-4c2a-a3c1-7f9ad1d63e10" providerId="ADAL" clId="{7D997690-04A4-4675-83D7-2E1CC2ED1A4E}" dt="2020-03-24T13:55:50.487" v="1492" actId="1076"/>
          <ac:spMkLst>
            <pc:docMk/>
            <pc:sldMk cId="4117970720" sldId="2076136647"/>
            <ac:spMk id="368" creationId="{3F04A083-39CE-4A8C-8EDE-5A8D8B4A26FC}"/>
          </ac:spMkLst>
        </pc:spChg>
        <pc:spChg chg="add mod">
          <ac:chgData name="Renata Festa" userId="6f22df47-533b-4c2a-a3c1-7f9ad1d63e10" providerId="ADAL" clId="{7D997690-04A4-4675-83D7-2E1CC2ED1A4E}" dt="2020-03-24T13:55:50.487" v="1492" actId="1076"/>
          <ac:spMkLst>
            <pc:docMk/>
            <pc:sldMk cId="4117970720" sldId="2076136647"/>
            <ac:spMk id="369" creationId="{585B9A87-58A5-42C1-9984-438D88A04E48}"/>
          </ac:spMkLst>
        </pc:spChg>
        <pc:spChg chg="add mod">
          <ac:chgData name="Renata Festa" userId="6f22df47-533b-4c2a-a3c1-7f9ad1d63e10" providerId="ADAL" clId="{7D997690-04A4-4675-83D7-2E1CC2ED1A4E}" dt="2020-03-24T13:55:50.487" v="1492" actId="1076"/>
          <ac:spMkLst>
            <pc:docMk/>
            <pc:sldMk cId="4117970720" sldId="2076136647"/>
            <ac:spMk id="370" creationId="{B6AC4FDD-D3CC-476A-9C55-DF2CFF2D912A}"/>
          </ac:spMkLst>
        </pc:spChg>
        <pc:spChg chg="add mod">
          <ac:chgData name="Renata Festa" userId="6f22df47-533b-4c2a-a3c1-7f9ad1d63e10" providerId="ADAL" clId="{7D997690-04A4-4675-83D7-2E1CC2ED1A4E}" dt="2020-03-24T13:55:50.487" v="1492" actId="1076"/>
          <ac:spMkLst>
            <pc:docMk/>
            <pc:sldMk cId="4117970720" sldId="2076136647"/>
            <ac:spMk id="371" creationId="{CD42C733-BE35-411C-9F9D-5410B6665331}"/>
          </ac:spMkLst>
        </pc:spChg>
        <pc:spChg chg="add mod">
          <ac:chgData name="Renata Festa" userId="6f22df47-533b-4c2a-a3c1-7f9ad1d63e10" providerId="ADAL" clId="{7D997690-04A4-4675-83D7-2E1CC2ED1A4E}" dt="2020-03-24T13:55:50.487" v="1492" actId="1076"/>
          <ac:spMkLst>
            <pc:docMk/>
            <pc:sldMk cId="4117970720" sldId="2076136647"/>
            <ac:spMk id="372" creationId="{167B7F50-1281-45E5-BAEC-30445A01C8B0}"/>
          </ac:spMkLst>
        </pc:spChg>
        <pc:spChg chg="add mod">
          <ac:chgData name="Renata Festa" userId="6f22df47-533b-4c2a-a3c1-7f9ad1d63e10" providerId="ADAL" clId="{7D997690-04A4-4675-83D7-2E1CC2ED1A4E}" dt="2020-03-24T13:55:50.487" v="1492" actId="1076"/>
          <ac:spMkLst>
            <pc:docMk/>
            <pc:sldMk cId="4117970720" sldId="2076136647"/>
            <ac:spMk id="374" creationId="{13CA329A-8905-4C55-8FB6-02850378C947}"/>
          </ac:spMkLst>
        </pc:spChg>
        <pc:spChg chg="add mod">
          <ac:chgData name="Renata Festa" userId="6f22df47-533b-4c2a-a3c1-7f9ad1d63e10" providerId="ADAL" clId="{7D997690-04A4-4675-83D7-2E1CC2ED1A4E}" dt="2020-03-24T13:55:50.487" v="1492" actId="1076"/>
          <ac:spMkLst>
            <pc:docMk/>
            <pc:sldMk cId="4117970720" sldId="2076136647"/>
            <ac:spMk id="375" creationId="{CFD46862-752F-4CBE-8F38-0081BFD900F1}"/>
          </ac:spMkLst>
        </pc:spChg>
        <pc:spChg chg="add mod">
          <ac:chgData name="Renata Festa" userId="6f22df47-533b-4c2a-a3c1-7f9ad1d63e10" providerId="ADAL" clId="{7D997690-04A4-4675-83D7-2E1CC2ED1A4E}" dt="2020-03-24T13:55:50.487" v="1492" actId="1076"/>
          <ac:spMkLst>
            <pc:docMk/>
            <pc:sldMk cId="4117970720" sldId="2076136647"/>
            <ac:spMk id="376" creationId="{C825506E-E173-4ECC-9506-EE80B79A6C7D}"/>
          </ac:spMkLst>
        </pc:spChg>
        <pc:spChg chg="add mod">
          <ac:chgData name="Renata Festa" userId="6f22df47-533b-4c2a-a3c1-7f9ad1d63e10" providerId="ADAL" clId="{7D997690-04A4-4675-83D7-2E1CC2ED1A4E}" dt="2020-03-24T13:55:50.487" v="1492" actId="1076"/>
          <ac:spMkLst>
            <pc:docMk/>
            <pc:sldMk cId="4117970720" sldId="2076136647"/>
            <ac:spMk id="377" creationId="{D81CA054-01F9-4491-BA25-57F400E9C932}"/>
          </ac:spMkLst>
        </pc:spChg>
        <pc:spChg chg="add mod">
          <ac:chgData name="Renata Festa" userId="6f22df47-533b-4c2a-a3c1-7f9ad1d63e10" providerId="ADAL" clId="{7D997690-04A4-4675-83D7-2E1CC2ED1A4E}" dt="2020-03-24T13:55:50.487" v="1492" actId="1076"/>
          <ac:spMkLst>
            <pc:docMk/>
            <pc:sldMk cId="4117970720" sldId="2076136647"/>
            <ac:spMk id="379" creationId="{F10AE322-9F58-477C-9784-129BEFDD514A}"/>
          </ac:spMkLst>
        </pc:spChg>
        <pc:spChg chg="add mod">
          <ac:chgData name="Renata Festa" userId="6f22df47-533b-4c2a-a3c1-7f9ad1d63e10" providerId="ADAL" clId="{7D997690-04A4-4675-83D7-2E1CC2ED1A4E}" dt="2020-03-24T13:55:50.487" v="1492" actId="1076"/>
          <ac:spMkLst>
            <pc:docMk/>
            <pc:sldMk cId="4117970720" sldId="2076136647"/>
            <ac:spMk id="380" creationId="{EAB19045-0C11-48BE-A021-AABB2F9549DE}"/>
          </ac:spMkLst>
        </pc:spChg>
        <pc:spChg chg="add mod">
          <ac:chgData name="Renata Festa" userId="6f22df47-533b-4c2a-a3c1-7f9ad1d63e10" providerId="ADAL" clId="{7D997690-04A4-4675-83D7-2E1CC2ED1A4E}" dt="2020-03-24T13:55:50.487" v="1492" actId="1076"/>
          <ac:spMkLst>
            <pc:docMk/>
            <pc:sldMk cId="4117970720" sldId="2076136647"/>
            <ac:spMk id="384" creationId="{63866A60-0805-4A7B-9FE8-7E359BA4E74E}"/>
          </ac:spMkLst>
        </pc:spChg>
        <pc:spChg chg="add mod">
          <ac:chgData name="Renata Festa" userId="6f22df47-533b-4c2a-a3c1-7f9ad1d63e10" providerId="ADAL" clId="{7D997690-04A4-4675-83D7-2E1CC2ED1A4E}" dt="2020-03-24T13:55:50.487" v="1492" actId="1076"/>
          <ac:spMkLst>
            <pc:docMk/>
            <pc:sldMk cId="4117970720" sldId="2076136647"/>
            <ac:spMk id="385" creationId="{D78D850D-8913-487F-AADC-3504D7E59CFE}"/>
          </ac:spMkLst>
        </pc:spChg>
        <pc:spChg chg="add mod">
          <ac:chgData name="Renata Festa" userId="6f22df47-533b-4c2a-a3c1-7f9ad1d63e10" providerId="ADAL" clId="{7D997690-04A4-4675-83D7-2E1CC2ED1A4E}" dt="2020-03-24T13:56:39.911" v="1580" actId="1036"/>
          <ac:spMkLst>
            <pc:docMk/>
            <pc:sldMk cId="4117970720" sldId="2076136647"/>
            <ac:spMk id="386" creationId="{88E9D3B6-B875-4980-88B7-D725F8C63B3A}"/>
          </ac:spMkLst>
        </pc:spChg>
        <pc:spChg chg="add mod">
          <ac:chgData name="Renata Festa" userId="6f22df47-533b-4c2a-a3c1-7f9ad1d63e10" providerId="ADAL" clId="{7D997690-04A4-4675-83D7-2E1CC2ED1A4E}" dt="2020-03-24T13:56:39.911" v="1580" actId="1036"/>
          <ac:spMkLst>
            <pc:docMk/>
            <pc:sldMk cId="4117970720" sldId="2076136647"/>
            <ac:spMk id="387" creationId="{EC1C9171-95EF-4899-9E53-B743CF9810F9}"/>
          </ac:spMkLst>
        </pc:spChg>
        <pc:spChg chg="add mod">
          <ac:chgData name="Renata Festa" userId="6f22df47-533b-4c2a-a3c1-7f9ad1d63e10" providerId="ADAL" clId="{7D997690-04A4-4675-83D7-2E1CC2ED1A4E}" dt="2020-03-24T13:56:39.911" v="1580" actId="1036"/>
          <ac:spMkLst>
            <pc:docMk/>
            <pc:sldMk cId="4117970720" sldId="2076136647"/>
            <ac:spMk id="388" creationId="{94924F2F-B9FB-40B0-9A45-B3D99D58C631}"/>
          </ac:spMkLst>
        </pc:spChg>
        <pc:spChg chg="add mod">
          <ac:chgData name="Renata Festa" userId="6f22df47-533b-4c2a-a3c1-7f9ad1d63e10" providerId="ADAL" clId="{7D997690-04A4-4675-83D7-2E1CC2ED1A4E}" dt="2020-03-24T13:56:39.911" v="1580" actId="1036"/>
          <ac:spMkLst>
            <pc:docMk/>
            <pc:sldMk cId="4117970720" sldId="2076136647"/>
            <ac:spMk id="389" creationId="{BBF79207-EF24-4AE6-9487-D12C512F7BD5}"/>
          </ac:spMkLst>
        </pc:spChg>
        <pc:spChg chg="add mod">
          <ac:chgData name="Renata Festa" userId="6f22df47-533b-4c2a-a3c1-7f9ad1d63e10" providerId="ADAL" clId="{7D997690-04A4-4675-83D7-2E1CC2ED1A4E}" dt="2020-03-24T13:56:39.911" v="1580" actId="1036"/>
          <ac:spMkLst>
            <pc:docMk/>
            <pc:sldMk cId="4117970720" sldId="2076136647"/>
            <ac:spMk id="391" creationId="{A8E3C4C3-FCE2-4DBF-BB85-A28D3A41B5AF}"/>
          </ac:spMkLst>
        </pc:spChg>
        <pc:spChg chg="add mod">
          <ac:chgData name="Renata Festa" userId="6f22df47-533b-4c2a-a3c1-7f9ad1d63e10" providerId="ADAL" clId="{7D997690-04A4-4675-83D7-2E1CC2ED1A4E}" dt="2020-03-24T13:56:39.911" v="1580" actId="1036"/>
          <ac:spMkLst>
            <pc:docMk/>
            <pc:sldMk cId="4117970720" sldId="2076136647"/>
            <ac:spMk id="392" creationId="{1A5BF94C-4C3B-4AFF-B72F-1675B40DC7E4}"/>
          </ac:spMkLst>
        </pc:spChg>
        <pc:spChg chg="add mod">
          <ac:chgData name="Renata Festa" userId="6f22df47-533b-4c2a-a3c1-7f9ad1d63e10" providerId="ADAL" clId="{7D997690-04A4-4675-83D7-2E1CC2ED1A4E}" dt="2020-03-24T13:56:39.911" v="1580" actId="1036"/>
          <ac:spMkLst>
            <pc:docMk/>
            <pc:sldMk cId="4117970720" sldId="2076136647"/>
            <ac:spMk id="394" creationId="{8736EAB9-DF85-46F8-A799-0AFBAD087D88}"/>
          </ac:spMkLst>
        </pc:spChg>
        <pc:spChg chg="add mod">
          <ac:chgData name="Renata Festa" userId="6f22df47-533b-4c2a-a3c1-7f9ad1d63e10" providerId="ADAL" clId="{7D997690-04A4-4675-83D7-2E1CC2ED1A4E}" dt="2020-03-24T13:55:50.487" v="1492" actId="1076"/>
          <ac:spMkLst>
            <pc:docMk/>
            <pc:sldMk cId="4117970720" sldId="2076136647"/>
            <ac:spMk id="396" creationId="{87E067BA-73F9-4F53-8EEE-CD32CD2D8C0E}"/>
          </ac:spMkLst>
        </pc:spChg>
        <pc:spChg chg="add mod">
          <ac:chgData name="Renata Festa" userId="6f22df47-533b-4c2a-a3c1-7f9ad1d63e10" providerId="ADAL" clId="{7D997690-04A4-4675-83D7-2E1CC2ED1A4E}" dt="2020-03-24T13:55:50.487" v="1492" actId="1076"/>
          <ac:spMkLst>
            <pc:docMk/>
            <pc:sldMk cId="4117970720" sldId="2076136647"/>
            <ac:spMk id="406" creationId="{FEF02CB6-72EC-4B42-A5C9-6AE11A70C32C}"/>
          </ac:spMkLst>
        </pc:spChg>
        <pc:spChg chg="add mod">
          <ac:chgData name="Renata Festa" userId="6f22df47-533b-4c2a-a3c1-7f9ad1d63e10" providerId="ADAL" clId="{7D997690-04A4-4675-83D7-2E1CC2ED1A4E}" dt="2020-03-24T13:55:50.487" v="1492" actId="1076"/>
          <ac:spMkLst>
            <pc:docMk/>
            <pc:sldMk cId="4117970720" sldId="2076136647"/>
            <ac:spMk id="407" creationId="{0A1DE0D3-D472-4B68-BA55-DAD745235EEF}"/>
          </ac:spMkLst>
        </pc:spChg>
        <pc:spChg chg="add mod">
          <ac:chgData name="Renata Festa" userId="6f22df47-533b-4c2a-a3c1-7f9ad1d63e10" providerId="ADAL" clId="{7D997690-04A4-4675-83D7-2E1CC2ED1A4E}" dt="2020-03-24T13:55:50.487" v="1492" actId="1076"/>
          <ac:spMkLst>
            <pc:docMk/>
            <pc:sldMk cId="4117970720" sldId="2076136647"/>
            <ac:spMk id="417" creationId="{3A7A37D9-1FA1-49D0-B891-618805E200B2}"/>
          </ac:spMkLst>
        </pc:spChg>
        <pc:spChg chg="add mod">
          <ac:chgData name="Renata Festa" userId="6f22df47-533b-4c2a-a3c1-7f9ad1d63e10" providerId="ADAL" clId="{7D997690-04A4-4675-83D7-2E1CC2ED1A4E}" dt="2020-03-24T13:55:50.487" v="1492" actId="1076"/>
          <ac:spMkLst>
            <pc:docMk/>
            <pc:sldMk cId="4117970720" sldId="2076136647"/>
            <ac:spMk id="418" creationId="{FFEBBF1A-2C17-4E70-8482-1CB9F1B02343}"/>
          </ac:spMkLst>
        </pc:spChg>
        <pc:spChg chg="add mod">
          <ac:chgData name="Renata Festa" userId="6f22df47-533b-4c2a-a3c1-7f9ad1d63e10" providerId="ADAL" clId="{7D997690-04A4-4675-83D7-2E1CC2ED1A4E}" dt="2020-03-24T13:55:50.487" v="1492" actId="1076"/>
          <ac:spMkLst>
            <pc:docMk/>
            <pc:sldMk cId="4117970720" sldId="2076136647"/>
            <ac:spMk id="428" creationId="{643CB455-13FF-4825-89CB-EAE150126FA3}"/>
          </ac:spMkLst>
        </pc:spChg>
        <pc:spChg chg="add mod">
          <ac:chgData name="Renata Festa" userId="6f22df47-533b-4c2a-a3c1-7f9ad1d63e10" providerId="ADAL" clId="{7D997690-04A4-4675-83D7-2E1CC2ED1A4E}" dt="2020-03-24T13:55:50.487" v="1492" actId="1076"/>
          <ac:spMkLst>
            <pc:docMk/>
            <pc:sldMk cId="4117970720" sldId="2076136647"/>
            <ac:spMk id="429" creationId="{15D33989-8FEB-48A3-AB16-0A8AABCA3FF6}"/>
          </ac:spMkLst>
        </pc:spChg>
        <pc:spChg chg="add mod">
          <ac:chgData name="Renata Festa" userId="6f22df47-533b-4c2a-a3c1-7f9ad1d63e10" providerId="ADAL" clId="{7D997690-04A4-4675-83D7-2E1CC2ED1A4E}" dt="2020-03-24T13:55:50.487" v="1492" actId="1076"/>
          <ac:spMkLst>
            <pc:docMk/>
            <pc:sldMk cId="4117970720" sldId="2076136647"/>
            <ac:spMk id="430" creationId="{1FD497FA-C64A-45A7-9CC5-2B99C842F0E1}"/>
          </ac:spMkLst>
        </pc:spChg>
        <pc:spChg chg="add mod">
          <ac:chgData name="Renata Festa" userId="6f22df47-533b-4c2a-a3c1-7f9ad1d63e10" providerId="ADAL" clId="{7D997690-04A4-4675-83D7-2E1CC2ED1A4E}" dt="2020-03-24T13:55:50.487" v="1492" actId="1076"/>
          <ac:spMkLst>
            <pc:docMk/>
            <pc:sldMk cId="4117970720" sldId="2076136647"/>
            <ac:spMk id="431" creationId="{365D744B-A955-4743-BB86-1B695E8D1D4C}"/>
          </ac:spMkLst>
        </pc:spChg>
        <pc:spChg chg="add mod">
          <ac:chgData name="Renata Festa" userId="6f22df47-533b-4c2a-a3c1-7f9ad1d63e10" providerId="ADAL" clId="{7D997690-04A4-4675-83D7-2E1CC2ED1A4E}" dt="2020-03-24T13:55:50.487" v="1492" actId="1076"/>
          <ac:spMkLst>
            <pc:docMk/>
            <pc:sldMk cId="4117970720" sldId="2076136647"/>
            <ac:spMk id="432" creationId="{CF533B60-E597-4755-AD6E-0AE050E5609A}"/>
          </ac:spMkLst>
        </pc:spChg>
        <pc:spChg chg="add mod">
          <ac:chgData name="Renata Festa" userId="6f22df47-533b-4c2a-a3c1-7f9ad1d63e10" providerId="ADAL" clId="{7D997690-04A4-4675-83D7-2E1CC2ED1A4E}" dt="2020-03-24T13:55:50.487" v="1492" actId="1076"/>
          <ac:spMkLst>
            <pc:docMk/>
            <pc:sldMk cId="4117970720" sldId="2076136647"/>
            <ac:spMk id="433" creationId="{8D12787F-2500-447F-901F-E7A8A03D84C7}"/>
          </ac:spMkLst>
        </pc:spChg>
        <pc:spChg chg="add mod">
          <ac:chgData name="Renata Festa" userId="6f22df47-533b-4c2a-a3c1-7f9ad1d63e10" providerId="ADAL" clId="{7D997690-04A4-4675-83D7-2E1CC2ED1A4E}" dt="2020-03-24T13:55:50.487" v="1492" actId="1076"/>
          <ac:spMkLst>
            <pc:docMk/>
            <pc:sldMk cId="4117970720" sldId="2076136647"/>
            <ac:spMk id="434" creationId="{D7363B29-6823-49D2-99A7-51C0509DE3D1}"/>
          </ac:spMkLst>
        </pc:spChg>
        <pc:spChg chg="add mod">
          <ac:chgData name="Renata Festa" userId="6f22df47-533b-4c2a-a3c1-7f9ad1d63e10" providerId="ADAL" clId="{7D997690-04A4-4675-83D7-2E1CC2ED1A4E}" dt="2020-03-24T13:55:50.487" v="1492" actId="1076"/>
          <ac:spMkLst>
            <pc:docMk/>
            <pc:sldMk cId="4117970720" sldId="2076136647"/>
            <ac:spMk id="435" creationId="{75855252-5EDF-49DC-A98B-7F45084C679A}"/>
          </ac:spMkLst>
        </pc:spChg>
        <pc:spChg chg="add mod">
          <ac:chgData name="Renata Festa" userId="6f22df47-533b-4c2a-a3c1-7f9ad1d63e10" providerId="ADAL" clId="{7D997690-04A4-4675-83D7-2E1CC2ED1A4E}" dt="2020-03-24T13:55:50.487" v="1492" actId="1076"/>
          <ac:spMkLst>
            <pc:docMk/>
            <pc:sldMk cId="4117970720" sldId="2076136647"/>
            <ac:spMk id="436" creationId="{5E5A9422-140C-4815-959A-3F911E127210}"/>
          </ac:spMkLst>
        </pc:spChg>
        <pc:spChg chg="add mod">
          <ac:chgData name="Renata Festa" userId="6f22df47-533b-4c2a-a3c1-7f9ad1d63e10" providerId="ADAL" clId="{7D997690-04A4-4675-83D7-2E1CC2ED1A4E}" dt="2020-03-24T13:55:50.487" v="1492" actId="1076"/>
          <ac:spMkLst>
            <pc:docMk/>
            <pc:sldMk cId="4117970720" sldId="2076136647"/>
            <ac:spMk id="437" creationId="{B922246F-A9FA-4BE1-8829-5B6B61B02FA1}"/>
          </ac:spMkLst>
        </pc:spChg>
        <pc:spChg chg="add mod">
          <ac:chgData name="Renata Festa" userId="6f22df47-533b-4c2a-a3c1-7f9ad1d63e10" providerId="ADAL" clId="{7D997690-04A4-4675-83D7-2E1CC2ED1A4E}" dt="2020-03-24T13:55:50.487" v="1492" actId="1076"/>
          <ac:spMkLst>
            <pc:docMk/>
            <pc:sldMk cId="4117970720" sldId="2076136647"/>
            <ac:spMk id="438" creationId="{AEF97809-7983-4039-BCDF-973EC8588E34}"/>
          </ac:spMkLst>
        </pc:spChg>
        <pc:spChg chg="add mod">
          <ac:chgData name="Renata Festa" userId="6f22df47-533b-4c2a-a3c1-7f9ad1d63e10" providerId="ADAL" clId="{7D997690-04A4-4675-83D7-2E1CC2ED1A4E}" dt="2020-03-24T13:55:50.487" v="1492" actId="1076"/>
          <ac:spMkLst>
            <pc:docMk/>
            <pc:sldMk cId="4117970720" sldId="2076136647"/>
            <ac:spMk id="439" creationId="{8618D213-1FC9-446A-9AD3-85B67550ED38}"/>
          </ac:spMkLst>
        </pc:spChg>
        <pc:spChg chg="add mod">
          <ac:chgData name="Renata Festa" userId="6f22df47-533b-4c2a-a3c1-7f9ad1d63e10" providerId="ADAL" clId="{7D997690-04A4-4675-83D7-2E1CC2ED1A4E}" dt="2020-03-24T13:55:50.487" v="1492" actId="1076"/>
          <ac:spMkLst>
            <pc:docMk/>
            <pc:sldMk cId="4117970720" sldId="2076136647"/>
            <ac:spMk id="443" creationId="{51BB2381-E04E-4B75-B833-2C7022B27403}"/>
          </ac:spMkLst>
        </pc:spChg>
        <pc:spChg chg="add mod">
          <ac:chgData name="Renata Festa" userId="6f22df47-533b-4c2a-a3c1-7f9ad1d63e10" providerId="ADAL" clId="{7D997690-04A4-4675-83D7-2E1CC2ED1A4E}" dt="2020-03-24T13:55:50.487" v="1492" actId="1076"/>
          <ac:spMkLst>
            <pc:docMk/>
            <pc:sldMk cId="4117970720" sldId="2076136647"/>
            <ac:spMk id="444" creationId="{7103F17E-29B5-41B7-9052-E987830561D1}"/>
          </ac:spMkLst>
        </pc:spChg>
        <pc:grpChg chg="add del">
          <ac:chgData name="Renata Festa" userId="6f22df47-533b-4c2a-a3c1-7f9ad1d63e10" providerId="ADAL" clId="{7D997690-04A4-4675-83D7-2E1CC2ED1A4E}" dt="2020-03-24T13:55:20.944" v="1484"/>
          <ac:grpSpMkLst>
            <pc:docMk/>
            <pc:sldMk cId="4117970720" sldId="2076136647"/>
            <ac:grpSpMk id="6" creationId="{F88796C4-9553-40ED-8DDE-922041897F7D}"/>
          </ac:grpSpMkLst>
        </pc:grpChg>
        <pc:grpChg chg="add del">
          <ac:chgData name="Renata Festa" userId="6f22df47-533b-4c2a-a3c1-7f9ad1d63e10" providerId="ADAL" clId="{7D997690-04A4-4675-83D7-2E1CC2ED1A4E}" dt="2020-03-24T13:55:20.944" v="1484"/>
          <ac:grpSpMkLst>
            <pc:docMk/>
            <pc:sldMk cId="4117970720" sldId="2076136647"/>
            <ac:grpSpMk id="67" creationId="{FCAE14FA-E183-4404-AD17-A8DF80B4F270}"/>
          </ac:grpSpMkLst>
        </pc:grpChg>
        <pc:grpChg chg="add del">
          <ac:chgData name="Renata Festa" userId="6f22df47-533b-4c2a-a3c1-7f9ad1d63e10" providerId="ADAL" clId="{7D997690-04A4-4675-83D7-2E1CC2ED1A4E}" dt="2020-03-24T13:55:20.944" v="1484"/>
          <ac:grpSpMkLst>
            <pc:docMk/>
            <pc:sldMk cId="4117970720" sldId="2076136647"/>
            <ac:grpSpMk id="78" creationId="{6F4E2B1F-8369-4AF6-9B9C-9A9B14551F73}"/>
          </ac:grpSpMkLst>
        </pc:grpChg>
        <pc:grpChg chg="add del">
          <ac:chgData name="Renata Festa" userId="6f22df47-533b-4c2a-a3c1-7f9ad1d63e10" providerId="ADAL" clId="{7D997690-04A4-4675-83D7-2E1CC2ED1A4E}" dt="2020-03-24T13:55:20.944" v="1484"/>
          <ac:grpSpMkLst>
            <pc:docMk/>
            <pc:sldMk cId="4117970720" sldId="2076136647"/>
            <ac:grpSpMk id="89" creationId="{AA468AC2-3405-47B4-AD4F-43F775CFB8FA}"/>
          </ac:grpSpMkLst>
        </pc:grpChg>
        <pc:grpChg chg="add del mod">
          <ac:chgData name="Renata Festa" userId="6f22df47-533b-4c2a-a3c1-7f9ad1d63e10" providerId="ADAL" clId="{7D997690-04A4-4675-83D7-2E1CC2ED1A4E}" dt="2020-03-24T13:55:37.257" v="1488"/>
          <ac:grpSpMkLst>
            <pc:docMk/>
            <pc:sldMk cId="4117970720" sldId="2076136647"/>
            <ac:grpSpMk id="116" creationId="{5C5F47E9-32C0-4D25-A9E3-D6670CE66031}"/>
          </ac:grpSpMkLst>
        </pc:grpChg>
        <pc:grpChg chg="mod">
          <ac:chgData name="Renata Festa" userId="6f22df47-533b-4c2a-a3c1-7f9ad1d63e10" providerId="ADAL" clId="{7D997690-04A4-4675-83D7-2E1CC2ED1A4E}" dt="2020-03-24T13:55:36.714" v="1487" actId="1076"/>
          <ac:grpSpMkLst>
            <pc:docMk/>
            <pc:sldMk cId="4117970720" sldId="2076136647"/>
            <ac:grpSpMk id="117" creationId="{A9DAA1DF-ECAF-48F1-9402-E451686E5666}"/>
          </ac:grpSpMkLst>
        </pc:grpChg>
        <pc:grpChg chg="mod">
          <ac:chgData name="Renata Festa" userId="6f22df47-533b-4c2a-a3c1-7f9ad1d63e10" providerId="ADAL" clId="{7D997690-04A4-4675-83D7-2E1CC2ED1A4E}" dt="2020-03-24T13:55:36.714" v="1487" actId="1076"/>
          <ac:grpSpMkLst>
            <pc:docMk/>
            <pc:sldMk cId="4117970720" sldId="2076136647"/>
            <ac:grpSpMk id="118" creationId="{61E5708F-AF5E-4157-8237-97EEFC9996E7}"/>
          </ac:grpSpMkLst>
        </pc:grpChg>
        <pc:grpChg chg="mod">
          <ac:chgData name="Renata Festa" userId="6f22df47-533b-4c2a-a3c1-7f9ad1d63e10" providerId="ADAL" clId="{7D997690-04A4-4675-83D7-2E1CC2ED1A4E}" dt="2020-03-24T13:55:36.714" v="1487" actId="1076"/>
          <ac:grpSpMkLst>
            <pc:docMk/>
            <pc:sldMk cId="4117970720" sldId="2076136647"/>
            <ac:grpSpMk id="119" creationId="{95AF674D-B189-4D49-843B-7D731E8D75B7}"/>
          </ac:grpSpMkLst>
        </pc:grpChg>
        <pc:grpChg chg="mod">
          <ac:chgData name="Renata Festa" userId="6f22df47-533b-4c2a-a3c1-7f9ad1d63e10" providerId="ADAL" clId="{7D997690-04A4-4675-83D7-2E1CC2ED1A4E}" dt="2020-03-24T13:55:36.714" v="1487" actId="1076"/>
          <ac:grpSpMkLst>
            <pc:docMk/>
            <pc:sldMk cId="4117970720" sldId="2076136647"/>
            <ac:grpSpMk id="120" creationId="{FED39CA1-01AD-469B-A08D-35A31AF9CFCC}"/>
          </ac:grpSpMkLst>
        </pc:grpChg>
        <pc:grpChg chg="add del mod">
          <ac:chgData name="Renata Festa" userId="6f22df47-533b-4c2a-a3c1-7f9ad1d63e10" providerId="ADAL" clId="{7D997690-04A4-4675-83D7-2E1CC2ED1A4E}" dt="2020-03-24T13:55:37.257" v="1488"/>
          <ac:grpSpMkLst>
            <pc:docMk/>
            <pc:sldMk cId="4117970720" sldId="2076136647"/>
            <ac:grpSpMk id="177" creationId="{8CAD78EA-41EB-40F4-B7BD-CBC17EF20E31}"/>
          </ac:grpSpMkLst>
        </pc:grpChg>
        <pc:grpChg chg="mod">
          <ac:chgData name="Renata Festa" userId="6f22df47-533b-4c2a-a3c1-7f9ad1d63e10" providerId="ADAL" clId="{7D997690-04A4-4675-83D7-2E1CC2ED1A4E}" dt="2020-03-24T13:55:36.714" v="1487" actId="1076"/>
          <ac:grpSpMkLst>
            <pc:docMk/>
            <pc:sldMk cId="4117970720" sldId="2076136647"/>
            <ac:grpSpMk id="178" creationId="{9072A8C3-BFEC-4EC0-A4F1-4FAC6E873A5E}"/>
          </ac:grpSpMkLst>
        </pc:grpChg>
        <pc:grpChg chg="mod">
          <ac:chgData name="Renata Festa" userId="6f22df47-533b-4c2a-a3c1-7f9ad1d63e10" providerId="ADAL" clId="{7D997690-04A4-4675-83D7-2E1CC2ED1A4E}" dt="2020-03-24T13:55:36.714" v="1487" actId="1076"/>
          <ac:grpSpMkLst>
            <pc:docMk/>
            <pc:sldMk cId="4117970720" sldId="2076136647"/>
            <ac:grpSpMk id="179" creationId="{F82422F8-B1ED-47C4-915F-C11DC1E6D279}"/>
          </ac:grpSpMkLst>
        </pc:grpChg>
        <pc:grpChg chg="add del mod">
          <ac:chgData name="Renata Festa" userId="6f22df47-533b-4c2a-a3c1-7f9ad1d63e10" providerId="ADAL" clId="{7D997690-04A4-4675-83D7-2E1CC2ED1A4E}" dt="2020-03-24T13:55:37.257" v="1488"/>
          <ac:grpSpMkLst>
            <pc:docMk/>
            <pc:sldMk cId="4117970720" sldId="2076136647"/>
            <ac:grpSpMk id="188" creationId="{43F06DA5-77EA-4350-87EF-DDAA4C973064}"/>
          </ac:grpSpMkLst>
        </pc:grpChg>
        <pc:grpChg chg="mod">
          <ac:chgData name="Renata Festa" userId="6f22df47-533b-4c2a-a3c1-7f9ad1d63e10" providerId="ADAL" clId="{7D997690-04A4-4675-83D7-2E1CC2ED1A4E}" dt="2020-03-24T13:55:36.714" v="1487" actId="1076"/>
          <ac:grpSpMkLst>
            <pc:docMk/>
            <pc:sldMk cId="4117970720" sldId="2076136647"/>
            <ac:grpSpMk id="189" creationId="{BB968E43-4D35-422A-B8B4-C7CBB5E5F805}"/>
          </ac:grpSpMkLst>
        </pc:grpChg>
        <pc:grpChg chg="mod">
          <ac:chgData name="Renata Festa" userId="6f22df47-533b-4c2a-a3c1-7f9ad1d63e10" providerId="ADAL" clId="{7D997690-04A4-4675-83D7-2E1CC2ED1A4E}" dt="2020-03-24T13:55:36.714" v="1487" actId="1076"/>
          <ac:grpSpMkLst>
            <pc:docMk/>
            <pc:sldMk cId="4117970720" sldId="2076136647"/>
            <ac:grpSpMk id="190" creationId="{09456AD0-BD49-41DD-B0B3-921274517C86}"/>
          </ac:grpSpMkLst>
        </pc:grpChg>
        <pc:grpChg chg="add del mod">
          <ac:chgData name="Renata Festa" userId="6f22df47-533b-4c2a-a3c1-7f9ad1d63e10" providerId="ADAL" clId="{7D997690-04A4-4675-83D7-2E1CC2ED1A4E}" dt="2020-03-24T13:55:37.257" v="1488"/>
          <ac:grpSpMkLst>
            <pc:docMk/>
            <pc:sldMk cId="4117970720" sldId="2076136647"/>
            <ac:grpSpMk id="199" creationId="{D2EABE73-D3EB-46F3-9A68-7BC0C17EFB03}"/>
          </ac:grpSpMkLst>
        </pc:grpChg>
        <pc:grpChg chg="mod">
          <ac:chgData name="Renata Festa" userId="6f22df47-533b-4c2a-a3c1-7f9ad1d63e10" providerId="ADAL" clId="{7D997690-04A4-4675-83D7-2E1CC2ED1A4E}" dt="2020-03-24T13:55:36.714" v="1487" actId="1076"/>
          <ac:grpSpMkLst>
            <pc:docMk/>
            <pc:sldMk cId="4117970720" sldId="2076136647"/>
            <ac:grpSpMk id="200" creationId="{24FBCAF6-7BB2-4123-8633-490F62702C50}"/>
          </ac:grpSpMkLst>
        </pc:grpChg>
        <pc:grpChg chg="mod">
          <ac:chgData name="Renata Festa" userId="6f22df47-533b-4c2a-a3c1-7f9ad1d63e10" providerId="ADAL" clId="{7D997690-04A4-4675-83D7-2E1CC2ED1A4E}" dt="2020-03-24T13:55:36.714" v="1487" actId="1076"/>
          <ac:grpSpMkLst>
            <pc:docMk/>
            <pc:sldMk cId="4117970720" sldId="2076136647"/>
            <ac:grpSpMk id="201" creationId="{3E7EDE5E-7C49-478C-8AD8-C55457C95BB4}"/>
          </ac:grpSpMkLst>
        </pc:grpChg>
        <pc:grpChg chg="add del">
          <ac:chgData name="Renata Festa" userId="6f22df47-533b-4c2a-a3c1-7f9ad1d63e10" providerId="ADAL" clId="{7D997690-04A4-4675-83D7-2E1CC2ED1A4E}" dt="2020-03-24T13:55:39.188" v="1490"/>
          <ac:grpSpMkLst>
            <pc:docMk/>
            <pc:sldMk cId="4117970720" sldId="2076136647"/>
            <ac:grpSpMk id="226" creationId="{6EFDC9A8-21C5-4F73-917A-60219A54F862}"/>
          </ac:grpSpMkLst>
        </pc:grpChg>
        <pc:grpChg chg="add del">
          <ac:chgData name="Renata Festa" userId="6f22df47-533b-4c2a-a3c1-7f9ad1d63e10" providerId="ADAL" clId="{7D997690-04A4-4675-83D7-2E1CC2ED1A4E}" dt="2020-03-24T13:55:39.188" v="1490"/>
          <ac:grpSpMkLst>
            <pc:docMk/>
            <pc:sldMk cId="4117970720" sldId="2076136647"/>
            <ac:grpSpMk id="287" creationId="{8842FD6B-7185-45D3-A8F5-5C4405851363}"/>
          </ac:grpSpMkLst>
        </pc:grpChg>
        <pc:grpChg chg="add del">
          <ac:chgData name="Renata Festa" userId="6f22df47-533b-4c2a-a3c1-7f9ad1d63e10" providerId="ADAL" clId="{7D997690-04A4-4675-83D7-2E1CC2ED1A4E}" dt="2020-03-24T13:55:39.188" v="1490"/>
          <ac:grpSpMkLst>
            <pc:docMk/>
            <pc:sldMk cId="4117970720" sldId="2076136647"/>
            <ac:grpSpMk id="298" creationId="{19F781D3-E562-43C1-A9BB-84E0A41CB5A1}"/>
          </ac:grpSpMkLst>
        </pc:grpChg>
        <pc:grpChg chg="add del">
          <ac:chgData name="Renata Festa" userId="6f22df47-533b-4c2a-a3c1-7f9ad1d63e10" providerId="ADAL" clId="{7D997690-04A4-4675-83D7-2E1CC2ED1A4E}" dt="2020-03-24T13:55:39.188" v="1490"/>
          <ac:grpSpMkLst>
            <pc:docMk/>
            <pc:sldMk cId="4117970720" sldId="2076136647"/>
            <ac:grpSpMk id="309" creationId="{56C40090-7761-46C3-A9D0-C2DE72C65498}"/>
          </ac:grpSpMkLst>
        </pc:grpChg>
        <pc:grpChg chg="add mod">
          <ac:chgData name="Renata Festa" userId="6f22df47-533b-4c2a-a3c1-7f9ad1d63e10" providerId="ADAL" clId="{7D997690-04A4-4675-83D7-2E1CC2ED1A4E}" dt="2020-03-24T13:55:50.487" v="1492" actId="1076"/>
          <ac:grpSpMkLst>
            <pc:docMk/>
            <pc:sldMk cId="4117970720" sldId="2076136647"/>
            <ac:grpSpMk id="336" creationId="{32C7AD70-F92D-462E-BC0B-DCB5C354CC6B}"/>
          </ac:grpSpMkLst>
        </pc:grpChg>
        <pc:grpChg chg="mod">
          <ac:chgData name="Renata Festa" userId="6f22df47-533b-4c2a-a3c1-7f9ad1d63e10" providerId="ADAL" clId="{7D997690-04A4-4675-83D7-2E1CC2ED1A4E}" dt="2020-03-24T13:55:50.487" v="1492" actId="1076"/>
          <ac:grpSpMkLst>
            <pc:docMk/>
            <pc:sldMk cId="4117970720" sldId="2076136647"/>
            <ac:grpSpMk id="337" creationId="{040AC1CE-18A0-4EC9-86B9-D075972C1343}"/>
          </ac:grpSpMkLst>
        </pc:grpChg>
        <pc:grpChg chg="mod">
          <ac:chgData name="Renata Festa" userId="6f22df47-533b-4c2a-a3c1-7f9ad1d63e10" providerId="ADAL" clId="{7D997690-04A4-4675-83D7-2E1CC2ED1A4E}" dt="2020-03-24T13:55:50.487" v="1492" actId="1076"/>
          <ac:grpSpMkLst>
            <pc:docMk/>
            <pc:sldMk cId="4117970720" sldId="2076136647"/>
            <ac:grpSpMk id="338" creationId="{44F98326-545E-41C2-B0F7-A96079A0327A}"/>
          </ac:grpSpMkLst>
        </pc:grpChg>
        <pc:grpChg chg="mod">
          <ac:chgData name="Renata Festa" userId="6f22df47-533b-4c2a-a3c1-7f9ad1d63e10" providerId="ADAL" clId="{7D997690-04A4-4675-83D7-2E1CC2ED1A4E}" dt="2020-03-24T13:55:50.487" v="1492" actId="1076"/>
          <ac:grpSpMkLst>
            <pc:docMk/>
            <pc:sldMk cId="4117970720" sldId="2076136647"/>
            <ac:grpSpMk id="339" creationId="{3057B1FF-63B7-4395-A3FE-BF040C810006}"/>
          </ac:grpSpMkLst>
        </pc:grpChg>
        <pc:grpChg chg="mod">
          <ac:chgData name="Renata Festa" userId="6f22df47-533b-4c2a-a3c1-7f9ad1d63e10" providerId="ADAL" clId="{7D997690-04A4-4675-83D7-2E1CC2ED1A4E}" dt="2020-03-24T13:55:50.487" v="1492" actId="1076"/>
          <ac:grpSpMkLst>
            <pc:docMk/>
            <pc:sldMk cId="4117970720" sldId="2076136647"/>
            <ac:grpSpMk id="340" creationId="{1DA020E3-CCA4-47FC-9BB6-4724D89A0D0E}"/>
          </ac:grpSpMkLst>
        </pc:grpChg>
        <pc:grpChg chg="add mod">
          <ac:chgData name="Renata Festa" userId="6f22df47-533b-4c2a-a3c1-7f9ad1d63e10" providerId="ADAL" clId="{7D997690-04A4-4675-83D7-2E1CC2ED1A4E}" dt="2020-03-24T13:55:50.487" v="1492" actId="1076"/>
          <ac:grpSpMkLst>
            <pc:docMk/>
            <pc:sldMk cId="4117970720" sldId="2076136647"/>
            <ac:grpSpMk id="397" creationId="{1BA00B90-0AC2-46E1-882C-04CFF91D9493}"/>
          </ac:grpSpMkLst>
        </pc:grpChg>
        <pc:grpChg chg="mod">
          <ac:chgData name="Renata Festa" userId="6f22df47-533b-4c2a-a3c1-7f9ad1d63e10" providerId="ADAL" clId="{7D997690-04A4-4675-83D7-2E1CC2ED1A4E}" dt="2020-03-24T13:55:50.487" v="1492" actId="1076"/>
          <ac:grpSpMkLst>
            <pc:docMk/>
            <pc:sldMk cId="4117970720" sldId="2076136647"/>
            <ac:grpSpMk id="398" creationId="{56A9835A-1255-405D-8AEF-B2990778DCC1}"/>
          </ac:grpSpMkLst>
        </pc:grpChg>
        <pc:grpChg chg="mod">
          <ac:chgData name="Renata Festa" userId="6f22df47-533b-4c2a-a3c1-7f9ad1d63e10" providerId="ADAL" clId="{7D997690-04A4-4675-83D7-2E1CC2ED1A4E}" dt="2020-03-24T13:55:50.487" v="1492" actId="1076"/>
          <ac:grpSpMkLst>
            <pc:docMk/>
            <pc:sldMk cId="4117970720" sldId="2076136647"/>
            <ac:grpSpMk id="399" creationId="{1DE4F0AE-4D87-41CC-A7F3-EB6A84C271B1}"/>
          </ac:grpSpMkLst>
        </pc:grpChg>
        <pc:grpChg chg="add mod">
          <ac:chgData name="Renata Festa" userId="6f22df47-533b-4c2a-a3c1-7f9ad1d63e10" providerId="ADAL" clId="{7D997690-04A4-4675-83D7-2E1CC2ED1A4E}" dt="2020-03-24T13:55:50.487" v="1492" actId="1076"/>
          <ac:grpSpMkLst>
            <pc:docMk/>
            <pc:sldMk cId="4117970720" sldId="2076136647"/>
            <ac:grpSpMk id="408" creationId="{34AC3152-8EC7-4CA2-98B3-4DA4592785CB}"/>
          </ac:grpSpMkLst>
        </pc:grpChg>
        <pc:grpChg chg="mod">
          <ac:chgData name="Renata Festa" userId="6f22df47-533b-4c2a-a3c1-7f9ad1d63e10" providerId="ADAL" clId="{7D997690-04A4-4675-83D7-2E1CC2ED1A4E}" dt="2020-03-24T13:55:50.487" v="1492" actId="1076"/>
          <ac:grpSpMkLst>
            <pc:docMk/>
            <pc:sldMk cId="4117970720" sldId="2076136647"/>
            <ac:grpSpMk id="409" creationId="{66C18162-CD32-4CE8-B3B3-882DFDC36B40}"/>
          </ac:grpSpMkLst>
        </pc:grpChg>
        <pc:grpChg chg="mod">
          <ac:chgData name="Renata Festa" userId="6f22df47-533b-4c2a-a3c1-7f9ad1d63e10" providerId="ADAL" clId="{7D997690-04A4-4675-83D7-2E1CC2ED1A4E}" dt="2020-03-24T13:55:50.487" v="1492" actId="1076"/>
          <ac:grpSpMkLst>
            <pc:docMk/>
            <pc:sldMk cId="4117970720" sldId="2076136647"/>
            <ac:grpSpMk id="410" creationId="{4251D8EA-644C-4947-A0C4-495E62014593}"/>
          </ac:grpSpMkLst>
        </pc:grpChg>
        <pc:grpChg chg="add mod">
          <ac:chgData name="Renata Festa" userId="6f22df47-533b-4c2a-a3c1-7f9ad1d63e10" providerId="ADAL" clId="{7D997690-04A4-4675-83D7-2E1CC2ED1A4E}" dt="2020-03-24T13:55:50.487" v="1492" actId="1076"/>
          <ac:grpSpMkLst>
            <pc:docMk/>
            <pc:sldMk cId="4117970720" sldId="2076136647"/>
            <ac:grpSpMk id="419" creationId="{E8F87AE0-7CB0-4ABB-AE81-881721863833}"/>
          </ac:grpSpMkLst>
        </pc:grpChg>
        <pc:grpChg chg="mod">
          <ac:chgData name="Renata Festa" userId="6f22df47-533b-4c2a-a3c1-7f9ad1d63e10" providerId="ADAL" clId="{7D997690-04A4-4675-83D7-2E1CC2ED1A4E}" dt="2020-03-24T13:55:50.487" v="1492" actId="1076"/>
          <ac:grpSpMkLst>
            <pc:docMk/>
            <pc:sldMk cId="4117970720" sldId="2076136647"/>
            <ac:grpSpMk id="420" creationId="{4988CBDE-6976-4205-9228-29204EAED28A}"/>
          </ac:grpSpMkLst>
        </pc:grpChg>
        <pc:grpChg chg="mod">
          <ac:chgData name="Renata Festa" userId="6f22df47-533b-4c2a-a3c1-7f9ad1d63e10" providerId="ADAL" clId="{7D997690-04A4-4675-83D7-2E1CC2ED1A4E}" dt="2020-03-24T13:55:50.487" v="1492" actId="1076"/>
          <ac:grpSpMkLst>
            <pc:docMk/>
            <pc:sldMk cId="4117970720" sldId="2076136647"/>
            <ac:grpSpMk id="421" creationId="{4154590A-2056-4833-B35F-94065F3DA08E}"/>
          </ac:grpSpMkLst>
        </pc:grpChg>
        <pc:cxnChg chg="add del">
          <ac:chgData name="Renata Festa" userId="6f22df47-533b-4c2a-a3c1-7f9ad1d63e10" providerId="ADAL" clId="{7D997690-04A4-4675-83D7-2E1CC2ED1A4E}" dt="2020-03-24T13:55:20.944" v="1484"/>
          <ac:cxnSpMkLst>
            <pc:docMk/>
            <pc:sldMk cId="4117970720" sldId="2076136647"/>
            <ac:cxnSpMk id="22" creationId="{27E9AC26-A90E-44CD-88D2-31D3AEC6B42C}"/>
          </ac:cxnSpMkLst>
        </pc:cxnChg>
        <pc:cxnChg chg="add del">
          <ac:chgData name="Renata Festa" userId="6f22df47-533b-4c2a-a3c1-7f9ad1d63e10" providerId="ADAL" clId="{7D997690-04A4-4675-83D7-2E1CC2ED1A4E}" dt="2020-03-24T13:55:20.944" v="1484"/>
          <ac:cxnSpMkLst>
            <pc:docMk/>
            <pc:sldMk cId="4117970720" sldId="2076136647"/>
            <ac:cxnSpMk id="23" creationId="{26287B73-0FA6-4FC1-9F5A-F1B3BA40BB3F}"/>
          </ac:cxnSpMkLst>
        </pc:cxnChg>
        <pc:cxnChg chg="add del">
          <ac:chgData name="Renata Festa" userId="6f22df47-533b-4c2a-a3c1-7f9ad1d63e10" providerId="ADAL" clId="{7D997690-04A4-4675-83D7-2E1CC2ED1A4E}" dt="2020-03-24T13:55:20.944" v="1484"/>
          <ac:cxnSpMkLst>
            <pc:docMk/>
            <pc:sldMk cId="4117970720" sldId="2076136647"/>
            <ac:cxnSpMk id="43" creationId="{791C394E-D02A-43BA-9BDB-3DAFEC93604A}"/>
          </ac:cxnSpMkLst>
        </pc:cxnChg>
        <pc:cxnChg chg="add del">
          <ac:chgData name="Renata Festa" userId="6f22df47-533b-4c2a-a3c1-7f9ad1d63e10" providerId="ADAL" clId="{7D997690-04A4-4675-83D7-2E1CC2ED1A4E}" dt="2020-03-24T13:55:20.944" v="1484"/>
          <ac:cxnSpMkLst>
            <pc:docMk/>
            <pc:sldMk cId="4117970720" sldId="2076136647"/>
            <ac:cxnSpMk id="48" creationId="{E6F1C418-5A39-46B6-AF4C-6115EB482767}"/>
          </ac:cxnSpMkLst>
        </pc:cxnChg>
        <pc:cxnChg chg="add del">
          <ac:chgData name="Renata Festa" userId="6f22df47-533b-4c2a-a3c1-7f9ad1d63e10" providerId="ADAL" clId="{7D997690-04A4-4675-83D7-2E1CC2ED1A4E}" dt="2020-03-24T13:55:20.944" v="1484"/>
          <ac:cxnSpMkLst>
            <pc:docMk/>
            <pc:sldMk cId="4117970720" sldId="2076136647"/>
            <ac:cxnSpMk id="51" creationId="{EE429F52-C99D-4EBE-894A-E66A6A84FEE5}"/>
          </ac:cxnSpMkLst>
        </pc:cxnChg>
        <pc:cxnChg chg="add del">
          <ac:chgData name="Renata Festa" userId="6f22df47-533b-4c2a-a3c1-7f9ad1d63e10" providerId="ADAL" clId="{7D997690-04A4-4675-83D7-2E1CC2ED1A4E}" dt="2020-03-24T13:55:20.944" v="1484"/>
          <ac:cxnSpMkLst>
            <pc:docMk/>
            <pc:sldMk cId="4117970720" sldId="2076136647"/>
            <ac:cxnSpMk id="52" creationId="{DB345F62-50D2-4A66-9E9E-38D14651D2D9}"/>
          </ac:cxnSpMkLst>
        </pc:cxnChg>
        <pc:cxnChg chg="add del">
          <ac:chgData name="Renata Festa" userId="6f22df47-533b-4c2a-a3c1-7f9ad1d63e10" providerId="ADAL" clId="{7D997690-04A4-4675-83D7-2E1CC2ED1A4E}" dt="2020-03-24T13:55:20.944" v="1484"/>
          <ac:cxnSpMkLst>
            <pc:docMk/>
            <pc:sldMk cId="4117970720" sldId="2076136647"/>
            <ac:cxnSpMk id="53" creationId="{A8A8EE37-A95D-439E-8FC9-253A9117277F}"/>
          </ac:cxnSpMkLst>
        </pc:cxnChg>
        <pc:cxnChg chg="add del">
          <ac:chgData name="Renata Festa" userId="6f22df47-533b-4c2a-a3c1-7f9ad1d63e10" providerId="ADAL" clId="{7D997690-04A4-4675-83D7-2E1CC2ED1A4E}" dt="2020-03-24T13:55:20.944" v="1484"/>
          <ac:cxnSpMkLst>
            <pc:docMk/>
            <pc:sldMk cId="4117970720" sldId="2076136647"/>
            <ac:cxnSpMk id="60" creationId="{A7D4D277-E7E5-4383-BE7E-88D065A4302B}"/>
          </ac:cxnSpMkLst>
        </pc:cxnChg>
        <pc:cxnChg chg="add del">
          <ac:chgData name="Renata Festa" userId="6f22df47-533b-4c2a-a3c1-7f9ad1d63e10" providerId="ADAL" clId="{7D997690-04A4-4675-83D7-2E1CC2ED1A4E}" dt="2020-03-24T13:55:20.944" v="1484"/>
          <ac:cxnSpMkLst>
            <pc:docMk/>
            <pc:sldMk cId="4117970720" sldId="2076136647"/>
            <ac:cxnSpMk id="63" creationId="{600952CF-A424-4B37-B775-9CD41EBF932A}"/>
          </ac:cxnSpMkLst>
        </pc:cxnChg>
        <pc:cxnChg chg="add del">
          <ac:chgData name="Renata Festa" userId="6f22df47-533b-4c2a-a3c1-7f9ad1d63e10" providerId="ADAL" clId="{7D997690-04A4-4675-83D7-2E1CC2ED1A4E}" dt="2020-03-24T13:55:20.944" v="1484"/>
          <ac:cxnSpMkLst>
            <pc:docMk/>
            <pc:sldMk cId="4117970720" sldId="2076136647"/>
            <ac:cxnSpMk id="65" creationId="{378D069D-C649-4064-9090-88BB5170F009}"/>
          </ac:cxnSpMkLst>
        </pc:cxnChg>
        <pc:cxnChg chg="add del">
          <ac:chgData name="Renata Festa" userId="6f22df47-533b-4c2a-a3c1-7f9ad1d63e10" providerId="ADAL" clId="{7D997690-04A4-4675-83D7-2E1CC2ED1A4E}" dt="2020-03-24T13:55:20.944" v="1484"/>
          <ac:cxnSpMkLst>
            <pc:docMk/>
            <pc:sldMk cId="4117970720" sldId="2076136647"/>
            <ac:cxnSpMk id="110" creationId="{D9F9A330-45DC-4575-8F28-90D176DF2AF1}"/>
          </ac:cxnSpMkLst>
        </pc:cxnChg>
        <pc:cxnChg chg="add del">
          <ac:chgData name="Renata Festa" userId="6f22df47-533b-4c2a-a3c1-7f9ad1d63e10" providerId="ADAL" clId="{7D997690-04A4-4675-83D7-2E1CC2ED1A4E}" dt="2020-03-24T13:55:20.944" v="1484"/>
          <ac:cxnSpMkLst>
            <pc:docMk/>
            <pc:sldMk cId="4117970720" sldId="2076136647"/>
            <ac:cxnSpMk id="111" creationId="{8B0B4ACA-FE13-47EA-B0E2-619FE6BC118B}"/>
          </ac:cxnSpMkLst>
        </pc:cxnChg>
        <pc:cxnChg chg="add del">
          <ac:chgData name="Renata Festa" userId="6f22df47-533b-4c2a-a3c1-7f9ad1d63e10" providerId="ADAL" clId="{7D997690-04A4-4675-83D7-2E1CC2ED1A4E}" dt="2020-03-24T13:55:20.944" v="1484"/>
          <ac:cxnSpMkLst>
            <pc:docMk/>
            <pc:sldMk cId="4117970720" sldId="2076136647"/>
            <ac:cxnSpMk id="112" creationId="{3F48F510-50D0-43B4-A14D-C96961D1B7C5}"/>
          </ac:cxnSpMkLst>
        </pc:cxnChg>
        <pc:cxnChg chg="add del mod">
          <ac:chgData name="Renata Festa" userId="6f22df47-533b-4c2a-a3c1-7f9ad1d63e10" providerId="ADAL" clId="{7D997690-04A4-4675-83D7-2E1CC2ED1A4E}" dt="2020-03-24T13:55:37.257" v="1488"/>
          <ac:cxnSpMkLst>
            <pc:docMk/>
            <pc:sldMk cId="4117970720" sldId="2076136647"/>
            <ac:cxnSpMk id="132" creationId="{5C8C6498-F89D-4D98-A05D-05F9CCFFCA8E}"/>
          </ac:cxnSpMkLst>
        </pc:cxnChg>
        <pc:cxnChg chg="add del mod">
          <ac:chgData name="Renata Festa" userId="6f22df47-533b-4c2a-a3c1-7f9ad1d63e10" providerId="ADAL" clId="{7D997690-04A4-4675-83D7-2E1CC2ED1A4E}" dt="2020-03-24T13:55:37.257" v="1488"/>
          <ac:cxnSpMkLst>
            <pc:docMk/>
            <pc:sldMk cId="4117970720" sldId="2076136647"/>
            <ac:cxnSpMk id="133" creationId="{CDFDF90E-8728-4C08-8414-D682DAB45735}"/>
          </ac:cxnSpMkLst>
        </pc:cxnChg>
        <pc:cxnChg chg="add del mod">
          <ac:chgData name="Renata Festa" userId="6f22df47-533b-4c2a-a3c1-7f9ad1d63e10" providerId="ADAL" clId="{7D997690-04A4-4675-83D7-2E1CC2ED1A4E}" dt="2020-03-24T13:55:37.257" v="1488"/>
          <ac:cxnSpMkLst>
            <pc:docMk/>
            <pc:sldMk cId="4117970720" sldId="2076136647"/>
            <ac:cxnSpMk id="153" creationId="{546DE352-A838-4596-9BD5-1AB3697CB06C}"/>
          </ac:cxnSpMkLst>
        </pc:cxnChg>
        <pc:cxnChg chg="add del mod">
          <ac:chgData name="Renata Festa" userId="6f22df47-533b-4c2a-a3c1-7f9ad1d63e10" providerId="ADAL" clId="{7D997690-04A4-4675-83D7-2E1CC2ED1A4E}" dt="2020-03-24T13:55:37.257" v="1488"/>
          <ac:cxnSpMkLst>
            <pc:docMk/>
            <pc:sldMk cId="4117970720" sldId="2076136647"/>
            <ac:cxnSpMk id="158" creationId="{8717C3C1-E576-4866-A7C7-80FE34FD2B4C}"/>
          </ac:cxnSpMkLst>
        </pc:cxnChg>
        <pc:cxnChg chg="add del mod">
          <ac:chgData name="Renata Festa" userId="6f22df47-533b-4c2a-a3c1-7f9ad1d63e10" providerId="ADAL" clId="{7D997690-04A4-4675-83D7-2E1CC2ED1A4E}" dt="2020-03-24T13:55:37.257" v="1488"/>
          <ac:cxnSpMkLst>
            <pc:docMk/>
            <pc:sldMk cId="4117970720" sldId="2076136647"/>
            <ac:cxnSpMk id="161" creationId="{C40357B8-00CB-43CC-9B3B-D9E5BED5C88D}"/>
          </ac:cxnSpMkLst>
        </pc:cxnChg>
        <pc:cxnChg chg="add del mod">
          <ac:chgData name="Renata Festa" userId="6f22df47-533b-4c2a-a3c1-7f9ad1d63e10" providerId="ADAL" clId="{7D997690-04A4-4675-83D7-2E1CC2ED1A4E}" dt="2020-03-24T13:55:37.257" v="1488"/>
          <ac:cxnSpMkLst>
            <pc:docMk/>
            <pc:sldMk cId="4117970720" sldId="2076136647"/>
            <ac:cxnSpMk id="162" creationId="{DEFB2145-C467-4CED-83CE-67A5833512EB}"/>
          </ac:cxnSpMkLst>
        </pc:cxnChg>
        <pc:cxnChg chg="add del mod">
          <ac:chgData name="Renata Festa" userId="6f22df47-533b-4c2a-a3c1-7f9ad1d63e10" providerId="ADAL" clId="{7D997690-04A4-4675-83D7-2E1CC2ED1A4E}" dt="2020-03-24T13:55:37.257" v="1488"/>
          <ac:cxnSpMkLst>
            <pc:docMk/>
            <pc:sldMk cId="4117970720" sldId="2076136647"/>
            <ac:cxnSpMk id="163" creationId="{7B65CF80-4E79-4C47-A1E9-439D938A25E6}"/>
          </ac:cxnSpMkLst>
        </pc:cxnChg>
        <pc:cxnChg chg="add del mod">
          <ac:chgData name="Renata Festa" userId="6f22df47-533b-4c2a-a3c1-7f9ad1d63e10" providerId="ADAL" clId="{7D997690-04A4-4675-83D7-2E1CC2ED1A4E}" dt="2020-03-24T13:55:37.257" v="1488"/>
          <ac:cxnSpMkLst>
            <pc:docMk/>
            <pc:sldMk cId="4117970720" sldId="2076136647"/>
            <ac:cxnSpMk id="170" creationId="{64AE8224-352E-425F-A47C-155B8E341401}"/>
          </ac:cxnSpMkLst>
        </pc:cxnChg>
        <pc:cxnChg chg="add del mod">
          <ac:chgData name="Renata Festa" userId="6f22df47-533b-4c2a-a3c1-7f9ad1d63e10" providerId="ADAL" clId="{7D997690-04A4-4675-83D7-2E1CC2ED1A4E}" dt="2020-03-24T13:55:37.257" v="1488"/>
          <ac:cxnSpMkLst>
            <pc:docMk/>
            <pc:sldMk cId="4117970720" sldId="2076136647"/>
            <ac:cxnSpMk id="173" creationId="{CB76053D-2CBE-43DC-97DF-3C765B7C2C8C}"/>
          </ac:cxnSpMkLst>
        </pc:cxnChg>
        <pc:cxnChg chg="add del mod">
          <ac:chgData name="Renata Festa" userId="6f22df47-533b-4c2a-a3c1-7f9ad1d63e10" providerId="ADAL" clId="{7D997690-04A4-4675-83D7-2E1CC2ED1A4E}" dt="2020-03-24T13:55:37.257" v="1488"/>
          <ac:cxnSpMkLst>
            <pc:docMk/>
            <pc:sldMk cId="4117970720" sldId="2076136647"/>
            <ac:cxnSpMk id="175" creationId="{9FF50691-2F99-4E8E-AAFC-DD4AFAA75B15}"/>
          </ac:cxnSpMkLst>
        </pc:cxnChg>
        <pc:cxnChg chg="add del mod">
          <ac:chgData name="Renata Festa" userId="6f22df47-533b-4c2a-a3c1-7f9ad1d63e10" providerId="ADAL" clId="{7D997690-04A4-4675-83D7-2E1CC2ED1A4E}" dt="2020-03-24T13:55:37.257" v="1488"/>
          <ac:cxnSpMkLst>
            <pc:docMk/>
            <pc:sldMk cId="4117970720" sldId="2076136647"/>
            <ac:cxnSpMk id="220" creationId="{250D4755-3E87-484D-88BD-F4F55C384E04}"/>
          </ac:cxnSpMkLst>
        </pc:cxnChg>
        <pc:cxnChg chg="add del mod">
          <ac:chgData name="Renata Festa" userId="6f22df47-533b-4c2a-a3c1-7f9ad1d63e10" providerId="ADAL" clId="{7D997690-04A4-4675-83D7-2E1CC2ED1A4E}" dt="2020-03-24T13:55:37.257" v="1488"/>
          <ac:cxnSpMkLst>
            <pc:docMk/>
            <pc:sldMk cId="4117970720" sldId="2076136647"/>
            <ac:cxnSpMk id="221" creationId="{A8CC009C-9A14-465D-8C7D-82251BBB1176}"/>
          </ac:cxnSpMkLst>
        </pc:cxnChg>
        <pc:cxnChg chg="add del mod">
          <ac:chgData name="Renata Festa" userId="6f22df47-533b-4c2a-a3c1-7f9ad1d63e10" providerId="ADAL" clId="{7D997690-04A4-4675-83D7-2E1CC2ED1A4E}" dt="2020-03-24T13:55:37.257" v="1488"/>
          <ac:cxnSpMkLst>
            <pc:docMk/>
            <pc:sldMk cId="4117970720" sldId="2076136647"/>
            <ac:cxnSpMk id="222" creationId="{A3E72CE5-BC69-46CC-A851-E4BA8E48AEB3}"/>
          </ac:cxnSpMkLst>
        </pc:cxnChg>
        <pc:cxnChg chg="add del">
          <ac:chgData name="Renata Festa" userId="6f22df47-533b-4c2a-a3c1-7f9ad1d63e10" providerId="ADAL" clId="{7D997690-04A4-4675-83D7-2E1CC2ED1A4E}" dt="2020-03-24T13:55:39.188" v="1490"/>
          <ac:cxnSpMkLst>
            <pc:docMk/>
            <pc:sldMk cId="4117970720" sldId="2076136647"/>
            <ac:cxnSpMk id="242" creationId="{49D5217A-7FD0-4787-9557-939C15532C91}"/>
          </ac:cxnSpMkLst>
        </pc:cxnChg>
        <pc:cxnChg chg="add del">
          <ac:chgData name="Renata Festa" userId="6f22df47-533b-4c2a-a3c1-7f9ad1d63e10" providerId="ADAL" clId="{7D997690-04A4-4675-83D7-2E1CC2ED1A4E}" dt="2020-03-24T13:55:39.188" v="1490"/>
          <ac:cxnSpMkLst>
            <pc:docMk/>
            <pc:sldMk cId="4117970720" sldId="2076136647"/>
            <ac:cxnSpMk id="243" creationId="{16913EDD-2090-4E65-B03D-0B057DB6E514}"/>
          </ac:cxnSpMkLst>
        </pc:cxnChg>
        <pc:cxnChg chg="add del">
          <ac:chgData name="Renata Festa" userId="6f22df47-533b-4c2a-a3c1-7f9ad1d63e10" providerId="ADAL" clId="{7D997690-04A4-4675-83D7-2E1CC2ED1A4E}" dt="2020-03-24T13:55:39.188" v="1490"/>
          <ac:cxnSpMkLst>
            <pc:docMk/>
            <pc:sldMk cId="4117970720" sldId="2076136647"/>
            <ac:cxnSpMk id="263" creationId="{7E0F89AA-15A3-4200-989B-99BA4B5E0376}"/>
          </ac:cxnSpMkLst>
        </pc:cxnChg>
        <pc:cxnChg chg="add del">
          <ac:chgData name="Renata Festa" userId="6f22df47-533b-4c2a-a3c1-7f9ad1d63e10" providerId="ADAL" clId="{7D997690-04A4-4675-83D7-2E1CC2ED1A4E}" dt="2020-03-24T13:55:39.188" v="1490"/>
          <ac:cxnSpMkLst>
            <pc:docMk/>
            <pc:sldMk cId="4117970720" sldId="2076136647"/>
            <ac:cxnSpMk id="268" creationId="{5E56B7F1-AD27-4C08-A270-F4AA4CAC7A34}"/>
          </ac:cxnSpMkLst>
        </pc:cxnChg>
        <pc:cxnChg chg="add del">
          <ac:chgData name="Renata Festa" userId="6f22df47-533b-4c2a-a3c1-7f9ad1d63e10" providerId="ADAL" clId="{7D997690-04A4-4675-83D7-2E1CC2ED1A4E}" dt="2020-03-24T13:55:39.188" v="1490"/>
          <ac:cxnSpMkLst>
            <pc:docMk/>
            <pc:sldMk cId="4117970720" sldId="2076136647"/>
            <ac:cxnSpMk id="271" creationId="{EF449849-999D-4460-8E0B-A906492D0E53}"/>
          </ac:cxnSpMkLst>
        </pc:cxnChg>
        <pc:cxnChg chg="add del">
          <ac:chgData name="Renata Festa" userId="6f22df47-533b-4c2a-a3c1-7f9ad1d63e10" providerId="ADAL" clId="{7D997690-04A4-4675-83D7-2E1CC2ED1A4E}" dt="2020-03-24T13:55:39.188" v="1490"/>
          <ac:cxnSpMkLst>
            <pc:docMk/>
            <pc:sldMk cId="4117970720" sldId="2076136647"/>
            <ac:cxnSpMk id="272" creationId="{CD22773D-6DC4-4C07-96C9-0E5E2C10196A}"/>
          </ac:cxnSpMkLst>
        </pc:cxnChg>
        <pc:cxnChg chg="add del">
          <ac:chgData name="Renata Festa" userId="6f22df47-533b-4c2a-a3c1-7f9ad1d63e10" providerId="ADAL" clId="{7D997690-04A4-4675-83D7-2E1CC2ED1A4E}" dt="2020-03-24T13:55:39.188" v="1490"/>
          <ac:cxnSpMkLst>
            <pc:docMk/>
            <pc:sldMk cId="4117970720" sldId="2076136647"/>
            <ac:cxnSpMk id="273" creationId="{A5DB2AD5-C32B-4639-AADA-1AD6AB965A89}"/>
          </ac:cxnSpMkLst>
        </pc:cxnChg>
        <pc:cxnChg chg="add del">
          <ac:chgData name="Renata Festa" userId="6f22df47-533b-4c2a-a3c1-7f9ad1d63e10" providerId="ADAL" clId="{7D997690-04A4-4675-83D7-2E1CC2ED1A4E}" dt="2020-03-24T13:55:39.188" v="1490"/>
          <ac:cxnSpMkLst>
            <pc:docMk/>
            <pc:sldMk cId="4117970720" sldId="2076136647"/>
            <ac:cxnSpMk id="280" creationId="{6DDFED70-3514-4969-BBA1-36D678A71640}"/>
          </ac:cxnSpMkLst>
        </pc:cxnChg>
        <pc:cxnChg chg="add del">
          <ac:chgData name="Renata Festa" userId="6f22df47-533b-4c2a-a3c1-7f9ad1d63e10" providerId="ADAL" clId="{7D997690-04A4-4675-83D7-2E1CC2ED1A4E}" dt="2020-03-24T13:55:39.188" v="1490"/>
          <ac:cxnSpMkLst>
            <pc:docMk/>
            <pc:sldMk cId="4117970720" sldId="2076136647"/>
            <ac:cxnSpMk id="283" creationId="{A8ECB21F-04A2-4E13-8D08-DAB87F1885B2}"/>
          </ac:cxnSpMkLst>
        </pc:cxnChg>
        <pc:cxnChg chg="add del">
          <ac:chgData name="Renata Festa" userId="6f22df47-533b-4c2a-a3c1-7f9ad1d63e10" providerId="ADAL" clId="{7D997690-04A4-4675-83D7-2E1CC2ED1A4E}" dt="2020-03-24T13:55:39.188" v="1490"/>
          <ac:cxnSpMkLst>
            <pc:docMk/>
            <pc:sldMk cId="4117970720" sldId="2076136647"/>
            <ac:cxnSpMk id="285" creationId="{F3F8A1DD-54C8-4623-B994-B4E3B65FC775}"/>
          </ac:cxnSpMkLst>
        </pc:cxnChg>
        <pc:cxnChg chg="add del">
          <ac:chgData name="Renata Festa" userId="6f22df47-533b-4c2a-a3c1-7f9ad1d63e10" providerId="ADAL" clId="{7D997690-04A4-4675-83D7-2E1CC2ED1A4E}" dt="2020-03-24T13:55:39.188" v="1490"/>
          <ac:cxnSpMkLst>
            <pc:docMk/>
            <pc:sldMk cId="4117970720" sldId="2076136647"/>
            <ac:cxnSpMk id="330" creationId="{4DFFCDEF-B43E-426A-9BE4-15DC9F9C56C3}"/>
          </ac:cxnSpMkLst>
        </pc:cxnChg>
        <pc:cxnChg chg="add del">
          <ac:chgData name="Renata Festa" userId="6f22df47-533b-4c2a-a3c1-7f9ad1d63e10" providerId="ADAL" clId="{7D997690-04A4-4675-83D7-2E1CC2ED1A4E}" dt="2020-03-24T13:55:39.188" v="1490"/>
          <ac:cxnSpMkLst>
            <pc:docMk/>
            <pc:sldMk cId="4117970720" sldId="2076136647"/>
            <ac:cxnSpMk id="331" creationId="{79036C52-3C8A-43E3-BD42-AA9E3C5B0CC7}"/>
          </ac:cxnSpMkLst>
        </pc:cxnChg>
        <pc:cxnChg chg="add del">
          <ac:chgData name="Renata Festa" userId="6f22df47-533b-4c2a-a3c1-7f9ad1d63e10" providerId="ADAL" clId="{7D997690-04A4-4675-83D7-2E1CC2ED1A4E}" dt="2020-03-24T13:55:39.188" v="1490"/>
          <ac:cxnSpMkLst>
            <pc:docMk/>
            <pc:sldMk cId="4117970720" sldId="2076136647"/>
            <ac:cxnSpMk id="332" creationId="{5A02FD37-FFDB-4B38-AD5D-3FE2FFAF6246}"/>
          </ac:cxnSpMkLst>
        </pc:cxnChg>
        <pc:cxnChg chg="add mod">
          <ac:chgData name="Renata Festa" userId="6f22df47-533b-4c2a-a3c1-7f9ad1d63e10" providerId="ADAL" clId="{7D997690-04A4-4675-83D7-2E1CC2ED1A4E}" dt="2020-03-24T13:55:50.487" v="1492" actId="1076"/>
          <ac:cxnSpMkLst>
            <pc:docMk/>
            <pc:sldMk cId="4117970720" sldId="2076136647"/>
            <ac:cxnSpMk id="352" creationId="{7F794944-617B-41D7-B06A-516B5E1E4168}"/>
          </ac:cxnSpMkLst>
        </pc:cxnChg>
        <pc:cxnChg chg="add mod">
          <ac:chgData name="Renata Festa" userId="6f22df47-533b-4c2a-a3c1-7f9ad1d63e10" providerId="ADAL" clId="{7D997690-04A4-4675-83D7-2E1CC2ED1A4E}" dt="2020-03-24T13:55:50.487" v="1492" actId="1076"/>
          <ac:cxnSpMkLst>
            <pc:docMk/>
            <pc:sldMk cId="4117970720" sldId="2076136647"/>
            <ac:cxnSpMk id="353" creationId="{479114BF-3495-43F9-ADB8-0E51AEC42277}"/>
          </ac:cxnSpMkLst>
        </pc:cxnChg>
        <pc:cxnChg chg="add mod">
          <ac:chgData name="Renata Festa" userId="6f22df47-533b-4c2a-a3c1-7f9ad1d63e10" providerId="ADAL" clId="{7D997690-04A4-4675-83D7-2E1CC2ED1A4E}" dt="2020-03-24T13:55:50.487" v="1492" actId="1076"/>
          <ac:cxnSpMkLst>
            <pc:docMk/>
            <pc:sldMk cId="4117970720" sldId="2076136647"/>
            <ac:cxnSpMk id="373" creationId="{ABDC092F-2D4F-4FF1-8C3E-1AC8948F4C5A}"/>
          </ac:cxnSpMkLst>
        </pc:cxnChg>
        <pc:cxnChg chg="add mod">
          <ac:chgData name="Renata Festa" userId="6f22df47-533b-4c2a-a3c1-7f9ad1d63e10" providerId="ADAL" clId="{7D997690-04A4-4675-83D7-2E1CC2ED1A4E}" dt="2020-03-24T13:55:50.487" v="1492" actId="1076"/>
          <ac:cxnSpMkLst>
            <pc:docMk/>
            <pc:sldMk cId="4117970720" sldId="2076136647"/>
            <ac:cxnSpMk id="378" creationId="{02ACA5C1-C7E3-4A12-97B3-3C0E2055A24A}"/>
          </ac:cxnSpMkLst>
        </pc:cxnChg>
        <pc:cxnChg chg="add mod">
          <ac:chgData name="Renata Festa" userId="6f22df47-533b-4c2a-a3c1-7f9ad1d63e10" providerId="ADAL" clId="{7D997690-04A4-4675-83D7-2E1CC2ED1A4E}" dt="2020-03-24T13:55:50.487" v="1492" actId="1076"/>
          <ac:cxnSpMkLst>
            <pc:docMk/>
            <pc:sldMk cId="4117970720" sldId="2076136647"/>
            <ac:cxnSpMk id="381" creationId="{63EDA449-3A35-4604-9DB3-4E80A9911614}"/>
          </ac:cxnSpMkLst>
        </pc:cxnChg>
        <pc:cxnChg chg="add mod">
          <ac:chgData name="Renata Festa" userId="6f22df47-533b-4c2a-a3c1-7f9ad1d63e10" providerId="ADAL" clId="{7D997690-04A4-4675-83D7-2E1CC2ED1A4E}" dt="2020-03-24T13:55:50.487" v="1492" actId="1076"/>
          <ac:cxnSpMkLst>
            <pc:docMk/>
            <pc:sldMk cId="4117970720" sldId="2076136647"/>
            <ac:cxnSpMk id="382" creationId="{6432E6ED-C9E9-4333-A0DA-0772A412A03B}"/>
          </ac:cxnSpMkLst>
        </pc:cxnChg>
        <pc:cxnChg chg="add mod">
          <ac:chgData name="Renata Festa" userId="6f22df47-533b-4c2a-a3c1-7f9ad1d63e10" providerId="ADAL" clId="{7D997690-04A4-4675-83D7-2E1CC2ED1A4E}" dt="2020-03-24T13:55:50.487" v="1492" actId="1076"/>
          <ac:cxnSpMkLst>
            <pc:docMk/>
            <pc:sldMk cId="4117970720" sldId="2076136647"/>
            <ac:cxnSpMk id="383" creationId="{BCD026D3-2B3F-4593-8DE8-5997D15259F0}"/>
          </ac:cxnSpMkLst>
        </pc:cxnChg>
        <pc:cxnChg chg="add mod">
          <ac:chgData name="Renata Festa" userId="6f22df47-533b-4c2a-a3c1-7f9ad1d63e10" providerId="ADAL" clId="{7D997690-04A4-4675-83D7-2E1CC2ED1A4E}" dt="2020-03-24T13:56:39.911" v="1580" actId="1036"/>
          <ac:cxnSpMkLst>
            <pc:docMk/>
            <pc:sldMk cId="4117970720" sldId="2076136647"/>
            <ac:cxnSpMk id="390" creationId="{A33FB4D5-D8AD-4D1F-AA55-72263227CC2D}"/>
          </ac:cxnSpMkLst>
        </pc:cxnChg>
        <pc:cxnChg chg="add mod">
          <ac:chgData name="Renata Festa" userId="6f22df47-533b-4c2a-a3c1-7f9ad1d63e10" providerId="ADAL" clId="{7D997690-04A4-4675-83D7-2E1CC2ED1A4E}" dt="2020-03-24T13:56:39.911" v="1580" actId="1036"/>
          <ac:cxnSpMkLst>
            <pc:docMk/>
            <pc:sldMk cId="4117970720" sldId="2076136647"/>
            <ac:cxnSpMk id="393" creationId="{FDD6A0EF-B2C7-49ED-BDC2-5AE66DDC99F1}"/>
          </ac:cxnSpMkLst>
        </pc:cxnChg>
        <pc:cxnChg chg="add mod">
          <ac:chgData name="Renata Festa" userId="6f22df47-533b-4c2a-a3c1-7f9ad1d63e10" providerId="ADAL" clId="{7D997690-04A4-4675-83D7-2E1CC2ED1A4E}" dt="2020-03-24T13:55:50.487" v="1492" actId="1076"/>
          <ac:cxnSpMkLst>
            <pc:docMk/>
            <pc:sldMk cId="4117970720" sldId="2076136647"/>
            <ac:cxnSpMk id="395" creationId="{BD946D6B-3311-41F6-9BED-32E8E1A7CEF4}"/>
          </ac:cxnSpMkLst>
        </pc:cxnChg>
        <pc:cxnChg chg="add mod">
          <ac:chgData name="Renata Festa" userId="6f22df47-533b-4c2a-a3c1-7f9ad1d63e10" providerId="ADAL" clId="{7D997690-04A4-4675-83D7-2E1CC2ED1A4E}" dt="2020-03-24T13:55:50.487" v="1492" actId="1076"/>
          <ac:cxnSpMkLst>
            <pc:docMk/>
            <pc:sldMk cId="4117970720" sldId="2076136647"/>
            <ac:cxnSpMk id="440" creationId="{172D55A7-F8E6-4D75-BBF8-4BF6ECBEED91}"/>
          </ac:cxnSpMkLst>
        </pc:cxnChg>
        <pc:cxnChg chg="add mod">
          <ac:chgData name="Renata Festa" userId="6f22df47-533b-4c2a-a3c1-7f9ad1d63e10" providerId="ADAL" clId="{7D997690-04A4-4675-83D7-2E1CC2ED1A4E}" dt="2020-03-24T13:55:50.487" v="1492" actId="1076"/>
          <ac:cxnSpMkLst>
            <pc:docMk/>
            <pc:sldMk cId="4117970720" sldId="2076136647"/>
            <ac:cxnSpMk id="441" creationId="{517CD353-EC74-4788-A5B9-2F5ECF68BFC8}"/>
          </ac:cxnSpMkLst>
        </pc:cxnChg>
        <pc:cxnChg chg="add mod">
          <ac:chgData name="Renata Festa" userId="6f22df47-533b-4c2a-a3c1-7f9ad1d63e10" providerId="ADAL" clId="{7D997690-04A4-4675-83D7-2E1CC2ED1A4E}" dt="2020-03-24T13:55:50.487" v="1492" actId="1076"/>
          <ac:cxnSpMkLst>
            <pc:docMk/>
            <pc:sldMk cId="4117970720" sldId="2076136647"/>
            <ac:cxnSpMk id="442" creationId="{BDC9842B-413F-482A-B5C2-58CE2A607C96}"/>
          </ac:cxnSpMkLst>
        </pc:cxnChg>
      </pc:sldChg>
      <pc:sldChg chg="addSp delSp modSp add mod modAnim modShow">
        <pc:chgData name="Renata Festa" userId="6f22df47-533b-4c2a-a3c1-7f9ad1d63e10" providerId="ADAL" clId="{7D997690-04A4-4675-83D7-2E1CC2ED1A4E}" dt="2020-03-24T14:01:23.079" v="1643" actId="729"/>
        <pc:sldMkLst>
          <pc:docMk/>
          <pc:sldMk cId="3912474819" sldId="2076136648"/>
        </pc:sldMkLst>
        <pc:spChg chg="mod">
          <ac:chgData name="Renata Festa" userId="6f22df47-533b-4c2a-a3c1-7f9ad1d63e10" providerId="ADAL" clId="{7D997690-04A4-4675-83D7-2E1CC2ED1A4E}" dt="2020-03-24T13:57:06.136" v="1582"/>
          <ac:spMkLst>
            <pc:docMk/>
            <pc:sldMk cId="3912474819" sldId="2076136648"/>
            <ac:spMk id="2" creationId="{EB67312A-9819-43C6-8D84-D9136E6CFFCC}"/>
          </ac:spMkLst>
        </pc:spChg>
        <pc:spChg chg="del">
          <ac:chgData name="Renata Festa" userId="6f22df47-533b-4c2a-a3c1-7f9ad1d63e10" providerId="ADAL" clId="{7D997690-04A4-4675-83D7-2E1CC2ED1A4E}" dt="2020-03-24T13:58:56.118" v="1605" actId="478"/>
          <ac:spMkLst>
            <pc:docMk/>
            <pc:sldMk cId="3912474819" sldId="2076136648"/>
            <ac:spMk id="3" creationId="{F35E8CBB-5A7D-4DEF-BAF7-8DD5D042F9E0}"/>
          </ac:spMkLst>
        </pc:spChg>
        <pc:spChg chg="del">
          <ac:chgData name="Renata Festa" userId="6f22df47-533b-4c2a-a3c1-7f9ad1d63e10" providerId="ADAL" clId="{7D997690-04A4-4675-83D7-2E1CC2ED1A4E}" dt="2020-03-24T13:58:53.499" v="1604" actId="478"/>
          <ac:spMkLst>
            <pc:docMk/>
            <pc:sldMk cId="3912474819" sldId="2076136648"/>
            <ac:spMk id="4" creationId="{F3616A99-090F-45E1-9334-58D58B148205}"/>
          </ac:spMkLst>
        </pc:spChg>
        <pc:spChg chg="add del mod">
          <ac:chgData name="Renata Festa" userId="6f22df47-533b-4c2a-a3c1-7f9ad1d63e10" providerId="ADAL" clId="{7D997690-04A4-4675-83D7-2E1CC2ED1A4E}" dt="2020-03-24T13:57:43.493" v="1588"/>
          <ac:spMkLst>
            <pc:docMk/>
            <pc:sldMk cId="3912474819" sldId="2076136648"/>
            <ac:spMk id="5" creationId="{25E0B0F9-D228-4A79-847F-5E057FB433C5}"/>
          </ac:spMkLst>
        </pc:spChg>
        <pc:spChg chg="add del mod">
          <ac:chgData name="Renata Festa" userId="6f22df47-533b-4c2a-a3c1-7f9ad1d63e10" providerId="ADAL" clId="{7D997690-04A4-4675-83D7-2E1CC2ED1A4E}" dt="2020-03-24T13:57:43.493" v="1588"/>
          <ac:spMkLst>
            <pc:docMk/>
            <pc:sldMk cId="3912474819" sldId="2076136648"/>
            <ac:spMk id="6" creationId="{CCB03E6F-C9DB-4973-B940-08D020FF3D10}"/>
          </ac:spMkLst>
        </pc:spChg>
        <pc:spChg chg="add del mod">
          <ac:chgData name="Renata Festa" userId="6f22df47-533b-4c2a-a3c1-7f9ad1d63e10" providerId="ADAL" clId="{7D997690-04A4-4675-83D7-2E1CC2ED1A4E}" dt="2020-03-24T13:57:43.493" v="1588"/>
          <ac:spMkLst>
            <pc:docMk/>
            <pc:sldMk cId="3912474819" sldId="2076136648"/>
            <ac:spMk id="7" creationId="{A7AD2336-88D5-469B-AE20-0898A97882B3}"/>
          </ac:spMkLst>
        </pc:spChg>
        <pc:spChg chg="add del mod">
          <ac:chgData name="Renata Festa" userId="6f22df47-533b-4c2a-a3c1-7f9ad1d63e10" providerId="ADAL" clId="{7D997690-04A4-4675-83D7-2E1CC2ED1A4E}" dt="2020-03-24T13:57:43.493" v="1588"/>
          <ac:spMkLst>
            <pc:docMk/>
            <pc:sldMk cId="3912474819" sldId="2076136648"/>
            <ac:spMk id="8" creationId="{B187A8CD-20C9-4AED-813C-E4386FC4B1BF}"/>
          </ac:spMkLst>
        </pc:spChg>
        <pc:spChg chg="add del mod">
          <ac:chgData name="Renata Festa" userId="6f22df47-533b-4c2a-a3c1-7f9ad1d63e10" providerId="ADAL" clId="{7D997690-04A4-4675-83D7-2E1CC2ED1A4E}" dt="2020-03-24T13:57:43.493" v="1588"/>
          <ac:spMkLst>
            <pc:docMk/>
            <pc:sldMk cId="3912474819" sldId="2076136648"/>
            <ac:spMk id="10" creationId="{F63EB241-BCA7-455A-B3B5-03523FE4DDCE}"/>
          </ac:spMkLst>
        </pc:spChg>
        <pc:spChg chg="add del mod">
          <ac:chgData name="Renata Festa" userId="6f22df47-533b-4c2a-a3c1-7f9ad1d63e10" providerId="ADAL" clId="{7D997690-04A4-4675-83D7-2E1CC2ED1A4E}" dt="2020-03-24T13:57:43.493" v="1588"/>
          <ac:spMkLst>
            <pc:docMk/>
            <pc:sldMk cId="3912474819" sldId="2076136648"/>
            <ac:spMk id="12" creationId="{AE32DE89-2ABE-4D28-9069-68C3C258EF0A}"/>
          </ac:spMkLst>
        </pc:spChg>
        <pc:spChg chg="add del mod">
          <ac:chgData name="Renata Festa" userId="6f22df47-533b-4c2a-a3c1-7f9ad1d63e10" providerId="ADAL" clId="{7D997690-04A4-4675-83D7-2E1CC2ED1A4E}" dt="2020-03-24T13:57:43.493" v="1588"/>
          <ac:spMkLst>
            <pc:docMk/>
            <pc:sldMk cId="3912474819" sldId="2076136648"/>
            <ac:spMk id="13" creationId="{1C1F0622-359F-4BC1-A6E4-E1186C4FFE49}"/>
          </ac:spMkLst>
        </pc:spChg>
        <pc:spChg chg="add del mod">
          <ac:chgData name="Renata Festa" userId="6f22df47-533b-4c2a-a3c1-7f9ad1d63e10" providerId="ADAL" clId="{7D997690-04A4-4675-83D7-2E1CC2ED1A4E}" dt="2020-03-24T13:57:43.493" v="1588"/>
          <ac:spMkLst>
            <pc:docMk/>
            <pc:sldMk cId="3912474819" sldId="2076136648"/>
            <ac:spMk id="14" creationId="{D3E321ED-3C79-435F-B0A4-E04B8B3A6ACA}"/>
          </ac:spMkLst>
        </pc:spChg>
        <pc:spChg chg="add del mod">
          <ac:chgData name="Renata Festa" userId="6f22df47-533b-4c2a-a3c1-7f9ad1d63e10" providerId="ADAL" clId="{7D997690-04A4-4675-83D7-2E1CC2ED1A4E}" dt="2020-03-24T13:57:43.493" v="1588"/>
          <ac:spMkLst>
            <pc:docMk/>
            <pc:sldMk cId="3912474819" sldId="2076136648"/>
            <ac:spMk id="15" creationId="{777EC066-C91C-497F-AA66-5A0A28B0892A}"/>
          </ac:spMkLst>
        </pc:spChg>
        <pc:spChg chg="add del mod">
          <ac:chgData name="Renata Festa" userId="6f22df47-533b-4c2a-a3c1-7f9ad1d63e10" providerId="ADAL" clId="{7D997690-04A4-4675-83D7-2E1CC2ED1A4E}" dt="2020-03-24T13:57:43.493" v="1588"/>
          <ac:spMkLst>
            <pc:docMk/>
            <pc:sldMk cId="3912474819" sldId="2076136648"/>
            <ac:spMk id="16" creationId="{8CE764D4-7A90-4394-B463-EDB4963A175E}"/>
          </ac:spMkLst>
        </pc:spChg>
        <pc:spChg chg="add del mod">
          <ac:chgData name="Renata Festa" userId="6f22df47-533b-4c2a-a3c1-7f9ad1d63e10" providerId="ADAL" clId="{7D997690-04A4-4675-83D7-2E1CC2ED1A4E}" dt="2020-03-24T13:57:43.493" v="1588"/>
          <ac:spMkLst>
            <pc:docMk/>
            <pc:sldMk cId="3912474819" sldId="2076136648"/>
            <ac:spMk id="20" creationId="{12806AF4-0CA0-4A7E-9BB4-8D19A6FBDD7A}"/>
          </ac:spMkLst>
        </pc:spChg>
        <pc:spChg chg="add del mod">
          <ac:chgData name="Renata Festa" userId="6f22df47-533b-4c2a-a3c1-7f9ad1d63e10" providerId="ADAL" clId="{7D997690-04A4-4675-83D7-2E1CC2ED1A4E}" dt="2020-03-24T13:57:43.493" v="1588"/>
          <ac:spMkLst>
            <pc:docMk/>
            <pc:sldMk cId="3912474819" sldId="2076136648"/>
            <ac:spMk id="21" creationId="{4B1FC7A7-1C67-4E59-963B-B1FA01D765FC}"/>
          </ac:spMkLst>
        </pc:spChg>
        <pc:spChg chg="add del mod">
          <ac:chgData name="Renata Festa" userId="6f22df47-533b-4c2a-a3c1-7f9ad1d63e10" providerId="ADAL" clId="{7D997690-04A4-4675-83D7-2E1CC2ED1A4E}" dt="2020-03-24T13:57:43.493" v="1588"/>
          <ac:spMkLst>
            <pc:docMk/>
            <pc:sldMk cId="3912474819" sldId="2076136648"/>
            <ac:spMk id="22" creationId="{50E53BB2-24B4-4E88-BAAA-A24B5EE59D62}"/>
          </ac:spMkLst>
        </pc:spChg>
        <pc:spChg chg="add del mod">
          <ac:chgData name="Renata Festa" userId="6f22df47-533b-4c2a-a3c1-7f9ad1d63e10" providerId="ADAL" clId="{7D997690-04A4-4675-83D7-2E1CC2ED1A4E}" dt="2020-03-24T13:57:43.493" v="1588"/>
          <ac:spMkLst>
            <pc:docMk/>
            <pc:sldMk cId="3912474819" sldId="2076136648"/>
            <ac:spMk id="23" creationId="{E3998158-125B-4B10-9A52-A2D4C95A26B3}"/>
          </ac:spMkLst>
        </pc:spChg>
        <pc:spChg chg="add del mod">
          <ac:chgData name="Renata Festa" userId="6f22df47-533b-4c2a-a3c1-7f9ad1d63e10" providerId="ADAL" clId="{7D997690-04A4-4675-83D7-2E1CC2ED1A4E}" dt="2020-03-24T13:57:43.493" v="1588"/>
          <ac:spMkLst>
            <pc:docMk/>
            <pc:sldMk cId="3912474819" sldId="2076136648"/>
            <ac:spMk id="24" creationId="{54093D5D-3C29-4C4F-9C0E-15ECA33DCCD0}"/>
          </ac:spMkLst>
        </pc:spChg>
        <pc:spChg chg="add del mod">
          <ac:chgData name="Renata Festa" userId="6f22df47-533b-4c2a-a3c1-7f9ad1d63e10" providerId="ADAL" clId="{7D997690-04A4-4675-83D7-2E1CC2ED1A4E}" dt="2020-03-24T13:57:43.493" v="1588"/>
          <ac:spMkLst>
            <pc:docMk/>
            <pc:sldMk cId="3912474819" sldId="2076136648"/>
            <ac:spMk id="25" creationId="{9D9234D0-5889-45EE-A769-ACE96B33A6F5}"/>
          </ac:spMkLst>
        </pc:spChg>
        <pc:spChg chg="add del mod">
          <ac:chgData name="Renata Festa" userId="6f22df47-533b-4c2a-a3c1-7f9ad1d63e10" providerId="ADAL" clId="{7D997690-04A4-4675-83D7-2E1CC2ED1A4E}" dt="2020-03-24T13:57:43.493" v="1588"/>
          <ac:spMkLst>
            <pc:docMk/>
            <pc:sldMk cId="3912474819" sldId="2076136648"/>
            <ac:spMk id="29" creationId="{7FA37B4A-9146-4C69-8FAA-D182C812FD7A}"/>
          </ac:spMkLst>
        </pc:spChg>
        <pc:spChg chg="add mod">
          <ac:chgData name="Renata Festa" userId="6f22df47-533b-4c2a-a3c1-7f9ad1d63e10" providerId="ADAL" clId="{7D997690-04A4-4675-83D7-2E1CC2ED1A4E}" dt="2020-03-24T13:58:30.530" v="1603" actId="1035"/>
          <ac:spMkLst>
            <pc:docMk/>
            <pc:sldMk cId="3912474819" sldId="2076136648"/>
            <ac:spMk id="30" creationId="{20FE8C2F-F098-4EF9-8B29-D1D41FC3A0E3}"/>
          </ac:spMkLst>
        </pc:spChg>
        <pc:spChg chg="add mod">
          <ac:chgData name="Renata Festa" userId="6f22df47-533b-4c2a-a3c1-7f9ad1d63e10" providerId="ADAL" clId="{7D997690-04A4-4675-83D7-2E1CC2ED1A4E}" dt="2020-03-24T13:58:30.530" v="1603" actId="1035"/>
          <ac:spMkLst>
            <pc:docMk/>
            <pc:sldMk cId="3912474819" sldId="2076136648"/>
            <ac:spMk id="31" creationId="{2BDEE49F-CDC6-4582-AE14-DC0F5672DF07}"/>
          </ac:spMkLst>
        </pc:spChg>
        <pc:spChg chg="add">
          <ac:chgData name="Renata Festa" userId="6f22df47-533b-4c2a-a3c1-7f9ad1d63e10" providerId="ADAL" clId="{7D997690-04A4-4675-83D7-2E1CC2ED1A4E}" dt="2020-03-24T13:57:45.844" v="1589"/>
          <ac:spMkLst>
            <pc:docMk/>
            <pc:sldMk cId="3912474819" sldId="2076136648"/>
            <ac:spMk id="32" creationId="{4B9ED7AD-7B2B-4BF4-B5C5-CD2183D9B9E3}"/>
          </ac:spMkLst>
        </pc:spChg>
        <pc:spChg chg="add mod">
          <ac:chgData name="Renata Festa" userId="6f22df47-533b-4c2a-a3c1-7f9ad1d63e10" providerId="ADAL" clId="{7D997690-04A4-4675-83D7-2E1CC2ED1A4E}" dt="2020-03-24T13:58:17.099" v="1599" actId="1035"/>
          <ac:spMkLst>
            <pc:docMk/>
            <pc:sldMk cId="3912474819" sldId="2076136648"/>
            <ac:spMk id="33" creationId="{2279A206-F057-495E-89CB-D6ACC05C63AC}"/>
          </ac:spMkLst>
        </pc:spChg>
        <pc:spChg chg="add">
          <ac:chgData name="Renata Festa" userId="6f22df47-533b-4c2a-a3c1-7f9ad1d63e10" providerId="ADAL" clId="{7D997690-04A4-4675-83D7-2E1CC2ED1A4E}" dt="2020-03-24T13:57:45.844" v="1589"/>
          <ac:spMkLst>
            <pc:docMk/>
            <pc:sldMk cId="3912474819" sldId="2076136648"/>
            <ac:spMk id="35" creationId="{8C8FC641-E600-4ADC-BCAF-6686E25C966F}"/>
          </ac:spMkLst>
        </pc:spChg>
        <pc:spChg chg="add mod">
          <ac:chgData name="Renata Festa" userId="6f22df47-533b-4c2a-a3c1-7f9ad1d63e10" providerId="ADAL" clId="{7D997690-04A4-4675-83D7-2E1CC2ED1A4E}" dt="2020-03-24T13:58:30.530" v="1603" actId="1035"/>
          <ac:spMkLst>
            <pc:docMk/>
            <pc:sldMk cId="3912474819" sldId="2076136648"/>
            <ac:spMk id="37" creationId="{25E2F294-BAE0-4A9F-9636-DD939DFFF644}"/>
          </ac:spMkLst>
        </pc:spChg>
        <pc:spChg chg="add mod">
          <ac:chgData name="Renata Festa" userId="6f22df47-533b-4c2a-a3c1-7f9ad1d63e10" providerId="ADAL" clId="{7D997690-04A4-4675-83D7-2E1CC2ED1A4E}" dt="2020-03-24T13:58:30.530" v="1603" actId="1035"/>
          <ac:spMkLst>
            <pc:docMk/>
            <pc:sldMk cId="3912474819" sldId="2076136648"/>
            <ac:spMk id="38" creationId="{DD0CD82C-9AD9-4793-8106-D52B17E2A820}"/>
          </ac:spMkLst>
        </pc:spChg>
        <pc:spChg chg="add mod">
          <ac:chgData name="Renata Festa" userId="6f22df47-533b-4c2a-a3c1-7f9ad1d63e10" providerId="ADAL" clId="{7D997690-04A4-4675-83D7-2E1CC2ED1A4E}" dt="2020-03-24T13:58:30.530" v="1603" actId="1035"/>
          <ac:spMkLst>
            <pc:docMk/>
            <pc:sldMk cId="3912474819" sldId="2076136648"/>
            <ac:spMk id="39" creationId="{4FF91FB2-420D-4B07-A8A6-882D9363A241}"/>
          </ac:spMkLst>
        </pc:spChg>
        <pc:spChg chg="add mod">
          <ac:chgData name="Renata Festa" userId="6f22df47-533b-4c2a-a3c1-7f9ad1d63e10" providerId="ADAL" clId="{7D997690-04A4-4675-83D7-2E1CC2ED1A4E}" dt="2020-03-24T13:57:58.491" v="1593" actId="1076"/>
          <ac:spMkLst>
            <pc:docMk/>
            <pc:sldMk cId="3912474819" sldId="2076136648"/>
            <ac:spMk id="40" creationId="{F328055E-C54D-4BDD-924C-45CCF30FDE64}"/>
          </ac:spMkLst>
        </pc:spChg>
        <pc:spChg chg="add mod">
          <ac:chgData name="Renata Festa" userId="6f22df47-533b-4c2a-a3c1-7f9ad1d63e10" providerId="ADAL" clId="{7D997690-04A4-4675-83D7-2E1CC2ED1A4E}" dt="2020-03-24T13:58:25.925" v="1601" actId="1035"/>
          <ac:spMkLst>
            <pc:docMk/>
            <pc:sldMk cId="3912474819" sldId="2076136648"/>
            <ac:spMk id="41" creationId="{CAFEC835-E896-438A-BEFD-373C53A29909}"/>
          </ac:spMkLst>
        </pc:spChg>
        <pc:spChg chg="add">
          <ac:chgData name="Renata Festa" userId="6f22df47-533b-4c2a-a3c1-7f9ad1d63e10" providerId="ADAL" clId="{7D997690-04A4-4675-83D7-2E1CC2ED1A4E}" dt="2020-03-24T13:57:45.844" v="1589"/>
          <ac:spMkLst>
            <pc:docMk/>
            <pc:sldMk cId="3912474819" sldId="2076136648"/>
            <ac:spMk id="45" creationId="{32BD41BB-B1CC-4E30-8EB7-B5735E64530A}"/>
          </ac:spMkLst>
        </pc:spChg>
        <pc:spChg chg="add">
          <ac:chgData name="Renata Festa" userId="6f22df47-533b-4c2a-a3c1-7f9ad1d63e10" providerId="ADAL" clId="{7D997690-04A4-4675-83D7-2E1CC2ED1A4E}" dt="2020-03-24T13:57:45.844" v="1589"/>
          <ac:spMkLst>
            <pc:docMk/>
            <pc:sldMk cId="3912474819" sldId="2076136648"/>
            <ac:spMk id="46" creationId="{96B2AD80-DCB3-4B93-8019-C0BC6EE7F759}"/>
          </ac:spMkLst>
        </pc:spChg>
        <pc:spChg chg="add">
          <ac:chgData name="Renata Festa" userId="6f22df47-533b-4c2a-a3c1-7f9ad1d63e10" providerId="ADAL" clId="{7D997690-04A4-4675-83D7-2E1CC2ED1A4E}" dt="2020-03-24T13:57:45.844" v="1589"/>
          <ac:spMkLst>
            <pc:docMk/>
            <pc:sldMk cId="3912474819" sldId="2076136648"/>
            <ac:spMk id="47" creationId="{35DB58E8-771A-49A3-9E4A-BA5A11EAD6D5}"/>
          </ac:spMkLst>
        </pc:spChg>
        <pc:spChg chg="add mod">
          <ac:chgData name="Renata Festa" userId="6f22df47-533b-4c2a-a3c1-7f9ad1d63e10" providerId="ADAL" clId="{7D997690-04A4-4675-83D7-2E1CC2ED1A4E}" dt="2020-03-24T13:58:30.530" v="1603" actId="1035"/>
          <ac:spMkLst>
            <pc:docMk/>
            <pc:sldMk cId="3912474819" sldId="2076136648"/>
            <ac:spMk id="48" creationId="{B01364BC-ED4B-4082-AA0A-36E14785331E}"/>
          </ac:spMkLst>
        </pc:spChg>
        <pc:spChg chg="add mod">
          <ac:chgData name="Renata Festa" userId="6f22df47-533b-4c2a-a3c1-7f9ad1d63e10" providerId="ADAL" clId="{7D997690-04A4-4675-83D7-2E1CC2ED1A4E}" dt="2020-03-24T13:58:30.530" v="1603" actId="1035"/>
          <ac:spMkLst>
            <pc:docMk/>
            <pc:sldMk cId="3912474819" sldId="2076136648"/>
            <ac:spMk id="49" creationId="{F39D143D-E8EB-46A7-902A-E173B9DAC06A}"/>
          </ac:spMkLst>
        </pc:spChg>
        <pc:spChg chg="add mod">
          <ac:chgData name="Renata Festa" userId="6f22df47-533b-4c2a-a3c1-7f9ad1d63e10" providerId="ADAL" clId="{7D997690-04A4-4675-83D7-2E1CC2ED1A4E}" dt="2020-03-24T13:58:30.530" v="1603" actId="1035"/>
          <ac:spMkLst>
            <pc:docMk/>
            <pc:sldMk cId="3912474819" sldId="2076136648"/>
            <ac:spMk id="50" creationId="{0D406352-E44B-4461-B253-FEB5AAB5399B}"/>
          </ac:spMkLst>
        </pc:spChg>
        <pc:spChg chg="add mod">
          <ac:chgData name="Renata Festa" userId="6f22df47-533b-4c2a-a3c1-7f9ad1d63e10" providerId="ADAL" clId="{7D997690-04A4-4675-83D7-2E1CC2ED1A4E}" dt="2020-03-24T13:57:55.647" v="1591" actId="14100"/>
          <ac:spMkLst>
            <pc:docMk/>
            <pc:sldMk cId="3912474819" sldId="2076136648"/>
            <ac:spMk id="54" creationId="{D2666140-1842-489E-A63F-18AF0F32DF7A}"/>
          </ac:spMkLst>
        </pc:spChg>
        <pc:cxnChg chg="add del mod">
          <ac:chgData name="Renata Festa" userId="6f22df47-533b-4c2a-a3c1-7f9ad1d63e10" providerId="ADAL" clId="{7D997690-04A4-4675-83D7-2E1CC2ED1A4E}" dt="2020-03-24T13:57:43.493" v="1588"/>
          <ac:cxnSpMkLst>
            <pc:docMk/>
            <pc:sldMk cId="3912474819" sldId="2076136648"/>
            <ac:cxnSpMk id="9" creationId="{A6E6FE9B-8794-486A-B9B1-72BCFD6D6733}"/>
          </ac:cxnSpMkLst>
        </pc:cxnChg>
        <pc:cxnChg chg="add del mod">
          <ac:chgData name="Renata Festa" userId="6f22df47-533b-4c2a-a3c1-7f9ad1d63e10" providerId="ADAL" clId="{7D997690-04A4-4675-83D7-2E1CC2ED1A4E}" dt="2020-03-24T13:57:43.493" v="1588"/>
          <ac:cxnSpMkLst>
            <pc:docMk/>
            <pc:sldMk cId="3912474819" sldId="2076136648"/>
            <ac:cxnSpMk id="11" creationId="{983444F1-42A2-4983-895F-ADF355FBFC50}"/>
          </ac:cxnSpMkLst>
        </pc:cxnChg>
        <pc:cxnChg chg="add del mod">
          <ac:chgData name="Renata Festa" userId="6f22df47-533b-4c2a-a3c1-7f9ad1d63e10" providerId="ADAL" clId="{7D997690-04A4-4675-83D7-2E1CC2ED1A4E}" dt="2020-03-24T13:57:43.493" v="1588"/>
          <ac:cxnSpMkLst>
            <pc:docMk/>
            <pc:sldMk cId="3912474819" sldId="2076136648"/>
            <ac:cxnSpMk id="17" creationId="{9563DAE2-99DB-4248-96C1-774AE3E54547}"/>
          </ac:cxnSpMkLst>
        </pc:cxnChg>
        <pc:cxnChg chg="add del mod">
          <ac:chgData name="Renata Festa" userId="6f22df47-533b-4c2a-a3c1-7f9ad1d63e10" providerId="ADAL" clId="{7D997690-04A4-4675-83D7-2E1CC2ED1A4E}" dt="2020-03-24T13:57:43.493" v="1588"/>
          <ac:cxnSpMkLst>
            <pc:docMk/>
            <pc:sldMk cId="3912474819" sldId="2076136648"/>
            <ac:cxnSpMk id="18" creationId="{C1A26C5C-61C5-4A70-813C-95632845C7E6}"/>
          </ac:cxnSpMkLst>
        </pc:cxnChg>
        <pc:cxnChg chg="add del mod">
          <ac:chgData name="Renata Festa" userId="6f22df47-533b-4c2a-a3c1-7f9ad1d63e10" providerId="ADAL" clId="{7D997690-04A4-4675-83D7-2E1CC2ED1A4E}" dt="2020-03-24T13:57:43.493" v="1588"/>
          <ac:cxnSpMkLst>
            <pc:docMk/>
            <pc:sldMk cId="3912474819" sldId="2076136648"/>
            <ac:cxnSpMk id="19" creationId="{30F5E2BE-0ACA-4AAE-9993-BDC8297E709C}"/>
          </ac:cxnSpMkLst>
        </pc:cxnChg>
        <pc:cxnChg chg="add del mod">
          <ac:chgData name="Renata Festa" userId="6f22df47-533b-4c2a-a3c1-7f9ad1d63e10" providerId="ADAL" clId="{7D997690-04A4-4675-83D7-2E1CC2ED1A4E}" dt="2020-03-24T13:57:43.493" v="1588"/>
          <ac:cxnSpMkLst>
            <pc:docMk/>
            <pc:sldMk cId="3912474819" sldId="2076136648"/>
            <ac:cxnSpMk id="26" creationId="{AB5A8522-F2F5-4913-AE5E-BE4D335E6752}"/>
          </ac:cxnSpMkLst>
        </pc:cxnChg>
        <pc:cxnChg chg="add del mod">
          <ac:chgData name="Renata Festa" userId="6f22df47-533b-4c2a-a3c1-7f9ad1d63e10" providerId="ADAL" clId="{7D997690-04A4-4675-83D7-2E1CC2ED1A4E}" dt="2020-03-24T13:57:43.493" v="1588"/>
          <ac:cxnSpMkLst>
            <pc:docMk/>
            <pc:sldMk cId="3912474819" sldId="2076136648"/>
            <ac:cxnSpMk id="27" creationId="{0AEECB6C-E37C-4379-9EE5-C57EFEACD8D2}"/>
          </ac:cxnSpMkLst>
        </pc:cxnChg>
        <pc:cxnChg chg="add del mod">
          <ac:chgData name="Renata Festa" userId="6f22df47-533b-4c2a-a3c1-7f9ad1d63e10" providerId="ADAL" clId="{7D997690-04A4-4675-83D7-2E1CC2ED1A4E}" dt="2020-03-24T13:57:43.493" v="1588"/>
          <ac:cxnSpMkLst>
            <pc:docMk/>
            <pc:sldMk cId="3912474819" sldId="2076136648"/>
            <ac:cxnSpMk id="28" creationId="{7A6B8368-8A3B-4BC9-B457-6E9424538241}"/>
          </ac:cxnSpMkLst>
        </pc:cxnChg>
        <pc:cxnChg chg="add mod">
          <ac:chgData name="Renata Festa" userId="6f22df47-533b-4c2a-a3c1-7f9ad1d63e10" providerId="ADAL" clId="{7D997690-04A4-4675-83D7-2E1CC2ED1A4E}" dt="2020-03-24T13:58:21.732" v="1600" actId="14100"/>
          <ac:cxnSpMkLst>
            <pc:docMk/>
            <pc:sldMk cId="3912474819" sldId="2076136648"/>
            <ac:cxnSpMk id="34" creationId="{7BF7A291-CF6D-4FC4-84FD-E1B07A849365}"/>
          </ac:cxnSpMkLst>
        </pc:cxnChg>
        <pc:cxnChg chg="add mod">
          <ac:chgData name="Renata Festa" userId="6f22df47-533b-4c2a-a3c1-7f9ad1d63e10" providerId="ADAL" clId="{7D997690-04A4-4675-83D7-2E1CC2ED1A4E}" dt="2020-03-24T13:58:17.099" v="1599" actId="1035"/>
          <ac:cxnSpMkLst>
            <pc:docMk/>
            <pc:sldMk cId="3912474819" sldId="2076136648"/>
            <ac:cxnSpMk id="36" creationId="{5F897FC9-3B5F-4FAF-9286-8A4ECB56C4CF}"/>
          </ac:cxnSpMkLst>
        </pc:cxnChg>
        <pc:cxnChg chg="add mod">
          <ac:chgData name="Renata Festa" userId="6f22df47-533b-4c2a-a3c1-7f9ad1d63e10" providerId="ADAL" clId="{7D997690-04A4-4675-83D7-2E1CC2ED1A4E}" dt="2020-03-24T13:58:25.925" v="1601" actId="1035"/>
          <ac:cxnSpMkLst>
            <pc:docMk/>
            <pc:sldMk cId="3912474819" sldId="2076136648"/>
            <ac:cxnSpMk id="42" creationId="{DA01F0DD-CBEC-48EA-87F2-E6568C2D83E6}"/>
          </ac:cxnSpMkLst>
        </pc:cxnChg>
        <pc:cxnChg chg="add mod">
          <ac:chgData name="Renata Festa" userId="6f22df47-533b-4c2a-a3c1-7f9ad1d63e10" providerId="ADAL" clId="{7D997690-04A4-4675-83D7-2E1CC2ED1A4E}" dt="2020-03-24T13:57:58.491" v="1593" actId="1076"/>
          <ac:cxnSpMkLst>
            <pc:docMk/>
            <pc:sldMk cId="3912474819" sldId="2076136648"/>
            <ac:cxnSpMk id="43" creationId="{33AEE563-8B1C-4827-B981-6468AF0DEB29}"/>
          </ac:cxnSpMkLst>
        </pc:cxnChg>
        <pc:cxnChg chg="add mod">
          <ac:chgData name="Renata Festa" userId="6f22df47-533b-4c2a-a3c1-7f9ad1d63e10" providerId="ADAL" clId="{7D997690-04A4-4675-83D7-2E1CC2ED1A4E}" dt="2020-03-24T13:58:30.530" v="1603" actId="1035"/>
          <ac:cxnSpMkLst>
            <pc:docMk/>
            <pc:sldMk cId="3912474819" sldId="2076136648"/>
            <ac:cxnSpMk id="44" creationId="{6C8741AF-0FB5-44D6-9D9A-08536FE429E3}"/>
          </ac:cxnSpMkLst>
        </pc:cxnChg>
        <pc:cxnChg chg="add mod">
          <ac:chgData name="Renata Festa" userId="6f22df47-533b-4c2a-a3c1-7f9ad1d63e10" providerId="ADAL" clId="{7D997690-04A4-4675-83D7-2E1CC2ED1A4E}" dt="2020-03-24T13:58:30.530" v="1603" actId="1035"/>
          <ac:cxnSpMkLst>
            <pc:docMk/>
            <pc:sldMk cId="3912474819" sldId="2076136648"/>
            <ac:cxnSpMk id="51" creationId="{B4730560-1AC6-4003-AA19-BD16540AD008}"/>
          </ac:cxnSpMkLst>
        </pc:cxnChg>
        <pc:cxnChg chg="add mod">
          <ac:chgData name="Renata Festa" userId="6f22df47-533b-4c2a-a3c1-7f9ad1d63e10" providerId="ADAL" clId="{7D997690-04A4-4675-83D7-2E1CC2ED1A4E}" dt="2020-03-24T13:58:30.530" v="1603" actId="1035"/>
          <ac:cxnSpMkLst>
            <pc:docMk/>
            <pc:sldMk cId="3912474819" sldId="2076136648"/>
            <ac:cxnSpMk id="52" creationId="{668BA6B4-2BF5-47C5-84C3-53165B061637}"/>
          </ac:cxnSpMkLst>
        </pc:cxnChg>
        <pc:cxnChg chg="add mod">
          <ac:chgData name="Renata Festa" userId="6f22df47-533b-4c2a-a3c1-7f9ad1d63e10" providerId="ADAL" clId="{7D997690-04A4-4675-83D7-2E1CC2ED1A4E}" dt="2020-03-24T13:58:30.530" v="1603" actId="1035"/>
          <ac:cxnSpMkLst>
            <pc:docMk/>
            <pc:sldMk cId="3912474819" sldId="2076136648"/>
            <ac:cxnSpMk id="53" creationId="{DE4DF61B-13E1-40F8-9B94-EB8DF1882094}"/>
          </ac:cxnSpMkLst>
        </pc:cxnChg>
      </pc:sldChg>
      <pc:sldChg chg="addSp delSp modSp add mod modAnim modShow">
        <pc:chgData name="Renata Festa" userId="6f22df47-533b-4c2a-a3c1-7f9ad1d63e10" providerId="ADAL" clId="{7D997690-04A4-4675-83D7-2E1CC2ED1A4E}" dt="2020-03-24T14:02:52.354" v="1651" actId="729"/>
        <pc:sldMkLst>
          <pc:docMk/>
          <pc:sldMk cId="3350445597" sldId="2076136649"/>
        </pc:sldMkLst>
        <pc:spChg chg="mod">
          <ac:chgData name="Renata Festa" userId="6f22df47-533b-4c2a-a3c1-7f9ad1d63e10" providerId="ADAL" clId="{7D997690-04A4-4675-83D7-2E1CC2ED1A4E}" dt="2020-03-24T14:01:53.172" v="1644"/>
          <ac:spMkLst>
            <pc:docMk/>
            <pc:sldMk cId="3350445597" sldId="2076136649"/>
            <ac:spMk id="2" creationId="{EB67312A-9819-43C6-8D84-D9136E6CFFCC}"/>
          </ac:spMkLst>
        </pc:spChg>
        <pc:spChg chg="del">
          <ac:chgData name="Renata Festa" userId="6f22df47-533b-4c2a-a3c1-7f9ad1d63e10" providerId="ADAL" clId="{7D997690-04A4-4675-83D7-2E1CC2ED1A4E}" dt="2020-03-24T14:01:54.651" v="1645" actId="478"/>
          <ac:spMkLst>
            <pc:docMk/>
            <pc:sldMk cId="3350445597" sldId="2076136649"/>
            <ac:spMk id="3" creationId="{F35E8CBB-5A7D-4DEF-BAF7-8DD5D042F9E0}"/>
          </ac:spMkLst>
        </pc:spChg>
        <pc:spChg chg="del">
          <ac:chgData name="Renata Festa" userId="6f22df47-533b-4c2a-a3c1-7f9ad1d63e10" providerId="ADAL" clId="{7D997690-04A4-4675-83D7-2E1CC2ED1A4E}" dt="2020-03-24T14:02:28.591" v="1650" actId="478"/>
          <ac:spMkLst>
            <pc:docMk/>
            <pc:sldMk cId="3350445597" sldId="2076136649"/>
            <ac:spMk id="4" creationId="{F3616A99-090F-45E1-9334-58D58B148205}"/>
          </ac:spMkLst>
        </pc:spChg>
        <pc:spChg chg="add mod">
          <ac:chgData name="Renata Festa" userId="6f22df47-533b-4c2a-a3c1-7f9ad1d63e10" providerId="ADAL" clId="{7D997690-04A4-4675-83D7-2E1CC2ED1A4E}" dt="2020-03-24T14:02:13.063" v="1647" actId="1076"/>
          <ac:spMkLst>
            <pc:docMk/>
            <pc:sldMk cId="3350445597" sldId="2076136649"/>
            <ac:spMk id="5" creationId="{648960F2-D710-4705-A24E-4C05C0D0285D}"/>
          </ac:spMkLst>
        </pc:spChg>
        <pc:spChg chg="add mod">
          <ac:chgData name="Renata Festa" userId="6f22df47-533b-4c2a-a3c1-7f9ad1d63e10" providerId="ADAL" clId="{7D997690-04A4-4675-83D7-2E1CC2ED1A4E}" dt="2020-03-24T14:02:13.063" v="1647" actId="1076"/>
          <ac:spMkLst>
            <pc:docMk/>
            <pc:sldMk cId="3350445597" sldId="2076136649"/>
            <ac:spMk id="6" creationId="{EDDF3216-0C76-4C81-81F5-920D7D639465}"/>
          </ac:spMkLst>
        </pc:spChg>
        <pc:spChg chg="add mod">
          <ac:chgData name="Renata Festa" userId="6f22df47-533b-4c2a-a3c1-7f9ad1d63e10" providerId="ADAL" clId="{7D997690-04A4-4675-83D7-2E1CC2ED1A4E}" dt="2020-03-24T14:02:13.063" v="1647" actId="1076"/>
          <ac:spMkLst>
            <pc:docMk/>
            <pc:sldMk cId="3350445597" sldId="2076136649"/>
            <ac:spMk id="7" creationId="{5F9ED4D4-DD2C-45CE-8865-0430E02CB99E}"/>
          </ac:spMkLst>
        </pc:spChg>
        <pc:spChg chg="add mod">
          <ac:chgData name="Renata Festa" userId="6f22df47-533b-4c2a-a3c1-7f9ad1d63e10" providerId="ADAL" clId="{7D997690-04A4-4675-83D7-2E1CC2ED1A4E}" dt="2020-03-24T14:02:13.063" v="1647" actId="1076"/>
          <ac:spMkLst>
            <pc:docMk/>
            <pc:sldMk cId="3350445597" sldId="2076136649"/>
            <ac:spMk id="8" creationId="{FB341D55-2AD7-4ED8-935F-9D242F0F8BA8}"/>
          </ac:spMkLst>
        </pc:spChg>
        <pc:spChg chg="add mod">
          <ac:chgData name="Renata Festa" userId="6f22df47-533b-4c2a-a3c1-7f9ad1d63e10" providerId="ADAL" clId="{7D997690-04A4-4675-83D7-2E1CC2ED1A4E}" dt="2020-03-24T14:02:13.063" v="1647" actId="1076"/>
          <ac:spMkLst>
            <pc:docMk/>
            <pc:sldMk cId="3350445597" sldId="2076136649"/>
            <ac:spMk id="9" creationId="{E9B946C4-DAEF-4CFE-8552-4E5319A2FB5A}"/>
          </ac:spMkLst>
        </pc:spChg>
        <pc:spChg chg="add mod">
          <ac:chgData name="Renata Festa" userId="6f22df47-533b-4c2a-a3c1-7f9ad1d63e10" providerId="ADAL" clId="{7D997690-04A4-4675-83D7-2E1CC2ED1A4E}" dt="2020-03-24T14:02:13.063" v="1647" actId="1076"/>
          <ac:spMkLst>
            <pc:docMk/>
            <pc:sldMk cId="3350445597" sldId="2076136649"/>
            <ac:spMk id="10" creationId="{A02B509C-35B9-40CD-829B-F28209A9B084}"/>
          </ac:spMkLst>
        </pc:spChg>
        <pc:spChg chg="add mod">
          <ac:chgData name="Renata Festa" userId="6f22df47-533b-4c2a-a3c1-7f9ad1d63e10" providerId="ADAL" clId="{7D997690-04A4-4675-83D7-2E1CC2ED1A4E}" dt="2020-03-24T14:02:13.063" v="1647" actId="1076"/>
          <ac:spMkLst>
            <pc:docMk/>
            <pc:sldMk cId="3350445597" sldId="2076136649"/>
            <ac:spMk id="11" creationId="{0E97386B-C314-42EB-85EA-ECA14F775054}"/>
          </ac:spMkLst>
        </pc:spChg>
        <pc:spChg chg="add mod">
          <ac:chgData name="Renata Festa" userId="6f22df47-533b-4c2a-a3c1-7f9ad1d63e10" providerId="ADAL" clId="{7D997690-04A4-4675-83D7-2E1CC2ED1A4E}" dt="2020-03-24T14:02:13.063" v="1647" actId="1076"/>
          <ac:spMkLst>
            <pc:docMk/>
            <pc:sldMk cId="3350445597" sldId="2076136649"/>
            <ac:spMk id="12" creationId="{589FC2AE-5687-426E-95E9-DCFF411AFA67}"/>
          </ac:spMkLst>
        </pc:spChg>
        <pc:spChg chg="add mod">
          <ac:chgData name="Renata Festa" userId="6f22df47-533b-4c2a-a3c1-7f9ad1d63e10" providerId="ADAL" clId="{7D997690-04A4-4675-83D7-2E1CC2ED1A4E}" dt="2020-03-24T14:02:13.063" v="1647" actId="1076"/>
          <ac:spMkLst>
            <pc:docMk/>
            <pc:sldMk cId="3350445597" sldId="2076136649"/>
            <ac:spMk id="13" creationId="{14929ED8-8CAC-4A2A-969C-B752C037E9D8}"/>
          </ac:spMkLst>
        </pc:spChg>
        <pc:spChg chg="add mod">
          <ac:chgData name="Renata Festa" userId="6f22df47-533b-4c2a-a3c1-7f9ad1d63e10" providerId="ADAL" clId="{7D997690-04A4-4675-83D7-2E1CC2ED1A4E}" dt="2020-03-24T14:02:13.063" v="1647" actId="1076"/>
          <ac:spMkLst>
            <pc:docMk/>
            <pc:sldMk cId="3350445597" sldId="2076136649"/>
            <ac:spMk id="14" creationId="{E2CECF42-F8F0-476C-BD4F-29FFEC4F4146}"/>
          </ac:spMkLst>
        </pc:spChg>
        <pc:spChg chg="add mod">
          <ac:chgData name="Renata Festa" userId="6f22df47-533b-4c2a-a3c1-7f9ad1d63e10" providerId="ADAL" clId="{7D997690-04A4-4675-83D7-2E1CC2ED1A4E}" dt="2020-03-24T14:02:13.063" v="1647" actId="1076"/>
          <ac:spMkLst>
            <pc:docMk/>
            <pc:sldMk cId="3350445597" sldId="2076136649"/>
            <ac:spMk id="15" creationId="{7F3F0D34-001E-4C21-9FC7-ED6B08377D32}"/>
          </ac:spMkLst>
        </pc:spChg>
        <pc:spChg chg="add mod">
          <ac:chgData name="Renata Festa" userId="6f22df47-533b-4c2a-a3c1-7f9ad1d63e10" providerId="ADAL" clId="{7D997690-04A4-4675-83D7-2E1CC2ED1A4E}" dt="2020-03-24T14:02:13.063" v="1647" actId="1076"/>
          <ac:spMkLst>
            <pc:docMk/>
            <pc:sldMk cId="3350445597" sldId="2076136649"/>
            <ac:spMk id="27" creationId="{2C27524F-3E01-4BEF-AFB4-7130EF28FA46}"/>
          </ac:spMkLst>
        </pc:spChg>
        <pc:spChg chg="add mod">
          <ac:chgData name="Renata Festa" userId="6f22df47-533b-4c2a-a3c1-7f9ad1d63e10" providerId="ADAL" clId="{7D997690-04A4-4675-83D7-2E1CC2ED1A4E}" dt="2020-03-24T14:02:13.063" v="1647" actId="1076"/>
          <ac:spMkLst>
            <pc:docMk/>
            <pc:sldMk cId="3350445597" sldId="2076136649"/>
            <ac:spMk id="28" creationId="{D40B245B-EE14-4DE2-8282-EAC72C1D33D2}"/>
          </ac:spMkLst>
        </pc:spChg>
        <pc:spChg chg="add mod">
          <ac:chgData name="Renata Festa" userId="6f22df47-533b-4c2a-a3c1-7f9ad1d63e10" providerId="ADAL" clId="{7D997690-04A4-4675-83D7-2E1CC2ED1A4E}" dt="2020-03-24T14:02:13.063" v="1647" actId="1076"/>
          <ac:spMkLst>
            <pc:docMk/>
            <pc:sldMk cId="3350445597" sldId="2076136649"/>
            <ac:spMk id="29" creationId="{2719EC51-A1C0-4710-9249-4671A6C998E7}"/>
          </ac:spMkLst>
        </pc:spChg>
        <pc:spChg chg="add mod">
          <ac:chgData name="Renata Festa" userId="6f22df47-533b-4c2a-a3c1-7f9ad1d63e10" providerId="ADAL" clId="{7D997690-04A4-4675-83D7-2E1CC2ED1A4E}" dt="2020-03-24T14:02:13.063" v="1647" actId="1076"/>
          <ac:spMkLst>
            <pc:docMk/>
            <pc:sldMk cId="3350445597" sldId="2076136649"/>
            <ac:spMk id="30" creationId="{1B478718-4532-4715-A801-0CF4D19E14B6}"/>
          </ac:spMkLst>
        </pc:spChg>
        <pc:spChg chg="add mod">
          <ac:chgData name="Renata Festa" userId="6f22df47-533b-4c2a-a3c1-7f9ad1d63e10" providerId="ADAL" clId="{7D997690-04A4-4675-83D7-2E1CC2ED1A4E}" dt="2020-03-24T14:02:13.063" v="1647" actId="1076"/>
          <ac:spMkLst>
            <pc:docMk/>
            <pc:sldMk cId="3350445597" sldId="2076136649"/>
            <ac:spMk id="31" creationId="{A5F5E7FD-9596-4FA5-8EEF-EF42481CD757}"/>
          </ac:spMkLst>
        </pc:spChg>
        <pc:spChg chg="add mod">
          <ac:chgData name="Renata Festa" userId="6f22df47-533b-4c2a-a3c1-7f9ad1d63e10" providerId="ADAL" clId="{7D997690-04A4-4675-83D7-2E1CC2ED1A4E}" dt="2020-03-24T14:02:13.063" v="1647" actId="1076"/>
          <ac:spMkLst>
            <pc:docMk/>
            <pc:sldMk cId="3350445597" sldId="2076136649"/>
            <ac:spMk id="32" creationId="{BC2A9929-3CFE-40BE-9535-ED449ACBDE9C}"/>
          </ac:spMkLst>
        </pc:spChg>
        <pc:spChg chg="add mod">
          <ac:chgData name="Renata Festa" userId="6f22df47-533b-4c2a-a3c1-7f9ad1d63e10" providerId="ADAL" clId="{7D997690-04A4-4675-83D7-2E1CC2ED1A4E}" dt="2020-03-24T14:02:13.063" v="1647" actId="1076"/>
          <ac:spMkLst>
            <pc:docMk/>
            <pc:sldMk cId="3350445597" sldId="2076136649"/>
            <ac:spMk id="33" creationId="{2B672D20-F961-47C1-A317-214FA2599D94}"/>
          </ac:spMkLst>
        </pc:spChg>
        <pc:spChg chg="add mod">
          <ac:chgData name="Renata Festa" userId="6f22df47-533b-4c2a-a3c1-7f9ad1d63e10" providerId="ADAL" clId="{7D997690-04A4-4675-83D7-2E1CC2ED1A4E}" dt="2020-03-24T14:02:13.063" v="1647" actId="1076"/>
          <ac:spMkLst>
            <pc:docMk/>
            <pc:sldMk cId="3350445597" sldId="2076136649"/>
            <ac:spMk id="34" creationId="{F84A8B63-9873-4248-938E-E0666430308D}"/>
          </ac:spMkLst>
        </pc:spChg>
        <pc:spChg chg="add mod">
          <ac:chgData name="Renata Festa" userId="6f22df47-533b-4c2a-a3c1-7f9ad1d63e10" providerId="ADAL" clId="{7D997690-04A4-4675-83D7-2E1CC2ED1A4E}" dt="2020-03-24T14:02:13.063" v="1647" actId="1076"/>
          <ac:spMkLst>
            <pc:docMk/>
            <pc:sldMk cId="3350445597" sldId="2076136649"/>
            <ac:spMk id="35" creationId="{D62F7DA1-8C30-49BF-915C-8E1EED0C7E00}"/>
          </ac:spMkLst>
        </pc:spChg>
        <pc:spChg chg="add mod">
          <ac:chgData name="Renata Festa" userId="6f22df47-533b-4c2a-a3c1-7f9ad1d63e10" providerId="ADAL" clId="{7D997690-04A4-4675-83D7-2E1CC2ED1A4E}" dt="2020-03-24T14:02:13.063" v="1647" actId="1076"/>
          <ac:spMkLst>
            <pc:docMk/>
            <pc:sldMk cId="3350445597" sldId="2076136649"/>
            <ac:spMk id="36" creationId="{BFC0E118-879A-45A0-BEE6-C437D4FE73C3}"/>
          </ac:spMkLst>
        </pc:spChg>
        <pc:spChg chg="add mod">
          <ac:chgData name="Renata Festa" userId="6f22df47-533b-4c2a-a3c1-7f9ad1d63e10" providerId="ADAL" clId="{7D997690-04A4-4675-83D7-2E1CC2ED1A4E}" dt="2020-03-24T14:02:13.063" v="1647" actId="1076"/>
          <ac:spMkLst>
            <pc:docMk/>
            <pc:sldMk cId="3350445597" sldId="2076136649"/>
            <ac:spMk id="37" creationId="{97CE7372-E71F-43C2-AC3D-5FD059D08B01}"/>
          </ac:spMkLst>
        </pc:spChg>
        <pc:spChg chg="add mod">
          <ac:chgData name="Renata Festa" userId="6f22df47-533b-4c2a-a3c1-7f9ad1d63e10" providerId="ADAL" clId="{7D997690-04A4-4675-83D7-2E1CC2ED1A4E}" dt="2020-03-24T14:02:13.063" v="1647" actId="1076"/>
          <ac:spMkLst>
            <pc:docMk/>
            <pc:sldMk cId="3350445597" sldId="2076136649"/>
            <ac:spMk id="38" creationId="{44B34F95-425F-4B5A-86CE-0017BD57F01A}"/>
          </ac:spMkLst>
        </pc:spChg>
        <pc:spChg chg="add mod">
          <ac:chgData name="Renata Festa" userId="6f22df47-533b-4c2a-a3c1-7f9ad1d63e10" providerId="ADAL" clId="{7D997690-04A4-4675-83D7-2E1CC2ED1A4E}" dt="2020-03-24T14:02:13.063" v="1647" actId="1076"/>
          <ac:spMkLst>
            <pc:docMk/>
            <pc:sldMk cId="3350445597" sldId="2076136649"/>
            <ac:spMk id="39" creationId="{CDC5DFFA-903E-4360-8036-9AFD71F49303}"/>
          </ac:spMkLst>
        </pc:spChg>
        <pc:spChg chg="add mod">
          <ac:chgData name="Renata Festa" userId="6f22df47-533b-4c2a-a3c1-7f9ad1d63e10" providerId="ADAL" clId="{7D997690-04A4-4675-83D7-2E1CC2ED1A4E}" dt="2020-03-24T14:02:13.063" v="1647" actId="1076"/>
          <ac:spMkLst>
            <pc:docMk/>
            <pc:sldMk cId="3350445597" sldId="2076136649"/>
            <ac:spMk id="40" creationId="{3A80CF1D-0731-49AA-8787-0E4F5447659E}"/>
          </ac:spMkLst>
        </pc:spChg>
        <pc:spChg chg="add mod">
          <ac:chgData name="Renata Festa" userId="6f22df47-533b-4c2a-a3c1-7f9ad1d63e10" providerId="ADAL" clId="{7D997690-04A4-4675-83D7-2E1CC2ED1A4E}" dt="2020-03-24T14:02:13.063" v="1647" actId="1076"/>
          <ac:spMkLst>
            <pc:docMk/>
            <pc:sldMk cId="3350445597" sldId="2076136649"/>
            <ac:spMk id="41" creationId="{D34F226C-BFB7-429B-B4AE-EA6BAB063D93}"/>
          </ac:spMkLst>
        </pc:spChg>
        <pc:spChg chg="add mod">
          <ac:chgData name="Renata Festa" userId="6f22df47-533b-4c2a-a3c1-7f9ad1d63e10" providerId="ADAL" clId="{7D997690-04A4-4675-83D7-2E1CC2ED1A4E}" dt="2020-03-24T14:02:24.320" v="1649" actId="14100"/>
          <ac:spMkLst>
            <pc:docMk/>
            <pc:sldMk cId="3350445597" sldId="2076136649"/>
            <ac:spMk id="42" creationId="{7D9828DD-EF7F-470E-999D-FE57EC1FB43B}"/>
          </ac:spMkLst>
        </pc:spChg>
        <pc:grpChg chg="add mod">
          <ac:chgData name="Renata Festa" userId="6f22df47-533b-4c2a-a3c1-7f9ad1d63e10" providerId="ADAL" clId="{7D997690-04A4-4675-83D7-2E1CC2ED1A4E}" dt="2020-03-24T14:02:13.063" v="1647" actId="1076"/>
          <ac:grpSpMkLst>
            <pc:docMk/>
            <pc:sldMk cId="3350445597" sldId="2076136649"/>
            <ac:grpSpMk id="16" creationId="{1575FD2D-A647-49CA-AE6E-76AE3D1DA640}"/>
          </ac:grpSpMkLst>
        </pc:grpChg>
      </pc:sldChg>
      <pc:sldChg chg="addSp delSp modSp add mod">
        <pc:chgData name="Renata Festa" userId="6f22df47-533b-4c2a-a3c1-7f9ad1d63e10" providerId="ADAL" clId="{7D997690-04A4-4675-83D7-2E1CC2ED1A4E}" dt="2020-03-24T14:04:10.031" v="1679" actId="478"/>
        <pc:sldMkLst>
          <pc:docMk/>
          <pc:sldMk cId="1561879338" sldId="2076136650"/>
        </pc:sldMkLst>
        <pc:spChg chg="mod">
          <ac:chgData name="Renata Festa" userId="6f22df47-533b-4c2a-a3c1-7f9ad1d63e10" providerId="ADAL" clId="{7D997690-04A4-4675-83D7-2E1CC2ED1A4E}" dt="2020-03-24T14:03:03.870" v="1654"/>
          <ac:spMkLst>
            <pc:docMk/>
            <pc:sldMk cId="1561879338" sldId="2076136650"/>
            <ac:spMk id="2" creationId="{EB67312A-9819-43C6-8D84-D9136E6CFFCC}"/>
          </ac:spMkLst>
        </pc:spChg>
        <pc:spChg chg="del">
          <ac:chgData name="Renata Festa" userId="6f22df47-533b-4c2a-a3c1-7f9ad1d63e10" providerId="ADAL" clId="{7D997690-04A4-4675-83D7-2E1CC2ED1A4E}" dt="2020-03-24T14:03:05.331" v="1655" actId="478"/>
          <ac:spMkLst>
            <pc:docMk/>
            <pc:sldMk cId="1561879338" sldId="2076136650"/>
            <ac:spMk id="3" creationId="{F35E8CBB-5A7D-4DEF-BAF7-8DD5D042F9E0}"/>
          </ac:spMkLst>
        </pc:spChg>
        <pc:spChg chg="del">
          <ac:chgData name="Renata Festa" userId="6f22df47-533b-4c2a-a3c1-7f9ad1d63e10" providerId="ADAL" clId="{7D997690-04A4-4675-83D7-2E1CC2ED1A4E}" dt="2020-03-24T14:04:10.031" v="1679" actId="478"/>
          <ac:spMkLst>
            <pc:docMk/>
            <pc:sldMk cId="1561879338" sldId="2076136650"/>
            <ac:spMk id="4" creationId="{F3616A99-090F-45E1-9334-58D58B148205}"/>
          </ac:spMkLst>
        </pc:spChg>
        <pc:spChg chg="add del">
          <ac:chgData name="Renata Festa" userId="6f22df47-533b-4c2a-a3c1-7f9ad1d63e10" providerId="ADAL" clId="{7D997690-04A4-4675-83D7-2E1CC2ED1A4E}" dt="2020-03-24T14:03:11.922" v="1657"/>
          <ac:spMkLst>
            <pc:docMk/>
            <pc:sldMk cId="1561879338" sldId="2076136650"/>
            <ac:spMk id="5" creationId="{ECEA1298-D609-433A-9332-EDB462974260}"/>
          </ac:spMkLst>
        </pc:spChg>
        <pc:spChg chg="add del">
          <ac:chgData name="Renata Festa" userId="6f22df47-533b-4c2a-a3c1-7f9ad1d63e10" providerId="ADAL" clId="{7D997690-04A4-4675-83D7-2E1CC2ED1A4E}" dt="2020-03-24T14:03:11.922" v="1657"/>
          <ac:spMkLst>
            <pc:docMk/>
            <pc:sldMk cId="1561879338" sldId="2076136650"/>
            <ac:spMk id="6" creationId="{D50E67A9-1AB1-42B8-A5FA-7FADFED8FE01}"/>
          </ac:spMkLst>
        </pc:spChg>
        <pc:spChg chg="add del">
          <ac:chgData name="Renata Festa" userId="6f22df47-533b-4c2a-a3c1-7f9ad1d63e10" providerId="ADAL" clId="{7D997690-04A4-4675-83D7-2E1CC2ED1A4E}" dt="2020-03-24T14:03:11.922" v="1657"/>
          <ac:spMkLst>
            <pc:docMk/>
            <pc:sldMk cId="1561879338" sldId="2076136650"/>
            <ac:spMk id="7" creationId="{662E1CC2-CA80-4028-BAC2-9E9C0082A470}"/>
          </ac:spMkLst>
        </pc:spChg>
        <pc:spChg chg="add del">
          <ac:chgData name="Renata Festa" userId="6f22df47-533b-4c2a-a3c1-7f9ad1d63e10" providerId="ADAL" clId="{7D997690-04A4-4675-83D7-2E1CC2ED1A4E}" dt="2020-03-24T14:03:11.922" v="1657"/>
          <ac:spMkLst>
            <pc:docMk/>
            <pc:sldMk cId="1561879338" sldId="2076136650"/>
            <ac:spMk id="8" creationId="{F86C5AFE-02C0-45A8-B660-4BC27ABAFBE7}"/>
          </ac:spMkLst>
        </pc:spChg>
        <pc:spChg chg="add del">
          <ac:chgData name="Renata Festa" userId="6f22df47-533b-4c2a-a3c1-7f9ad1d63e10" providerId="ADAL" clId="{7D997690-04A4-4675-83D7-2E1CC2ED1A4E}" dt="2020-03-24T14:03:11.922" v="1657"/>
          <ac:spMkLst>
            <pc:docMk/>
            <pc:sldMk cId="1561879338" sldId="2076136650"/>
            <ac:spMk id="9" creationId="{1CF49188-1AD8-42B2-9C94-B7D25D935AC9}"/>
          </ac:spMkLst>
        </pc:spChg>
        <pc:spChg chg="add del">
          <ac:chgData name="Renata Festa" userId="6f22df47-533b-4c2a-a3c1-7f9ad1d63e10" providerId="ADAL" clId="{7D997690-04A4-4675-83D7-2E1CC2ED1A4E}" dt="2020-03-24T14:03:11.922" v="1657"/>
          <ac:spMkLst>
            <pc:docMk/>
            <pc:sldMk cId="1561879338" sldId="2076136650"/>
            <ac:spMk id="10" creationId="{69CC20DB-AA8B-4498-81B4-625BBEF560CB}"/>
          </ac:spMkLst>
        </pc:spChg>
        <pc:spChg chg="add del">
          <ac:chgData name="Renata Festa" userId="6f22df47-533b-4c2a-a3c1-7f9ad1d63e10" providerId="ADAL" clId="{7D997690-04A4-4675-83D7-2E1CC2ED1A4E}" dt="2020-03-24T14:03:11.922" v="1657"/>
          <ac:spMkLst>
            <pc:docMk/>
            <pc:sldMk cId="1561879338" sldId="2076136650"/>
            <ac:spMk id="46" creationId="{244024E6-1CD5-4D7F-BA32-15F159D8CD3F}"/>
          </ac:spMkLst>
        </pc:spChg>
        <pc:spChg chg="add del">
          <ac:chgData name="Renata Festa" userId="6f22df47-533b-4c2a-a3c1-7f9ad1d63e10" providerId="ADAL" clId="{7D997690-04A4-4675-83D7-2E1CC2ED1A4E}" dt="2020-03-24T14:03:11.922" v="1657"/>
          <ac:spMkLst>
            <pc:docMk/>
            <pc:sldMk cId="1561879338" sldId="2076136650"/>
            <ac:spMk id="58" creationId="{BF5391A7-E0ED-4E38-9793-E92FA76A2D02}"/>
          </ac:spMkLst>
        </pc:spChg>
        <pc:spChg chg="add del">
          <ac:chgData name="Renata Festa" userId="6f22df47-533b-4c2a-a3c1-7f9ad1d63e10" providerId="ADAL" clId="{7D997690-04A4-4675-83D7-2E1CC2ED1A4E}" dt="2020-03-24T14:03:11.922" v="1657"/>
          <ac:spMkLst>
            <pc:docMk/>
            <pc:sldMk cId="1561879338" sldId="2076136650"/>
            <ac:spMk id="65" creationId="{26A4A7D4-7876-412E-9E99-8B624A810376}"/>
          </ac:spMkLst>
        </pc:spChg>
        <pc:spChg chg="add del">
          <ac:chgData name="Renata Festa" userId="6f22df47-533b-4c2a-a3c1-7f9ad1d63e10" providerId="ADAL" clId="{7D997690-04A4-4675-83D7-2E1CC2ED1A4E}" dt="2020-03-24T14:03:11.922" v="1657"/>
          <ac:spMkLst>
            <pc:docMk/>
            <pc:sldMk cId="1561879338" sldId="2076136650"/>
            <ac:spMk id="67" creationId="{9FDE33B8-A699-4ABF-98CC-7CD4063ACE0F}"/>
          </ac:spMkLst>
        </pc:spChg>
        <pc:spChg chg="add mod">
          <ac:chgData name="Renata Festa" userId="6f22df47-533b-4c2a-a3c1-7f9ad1d63e10" providerId="ADAL" clId="{7D997690-04A4-4675-83D7-2E1CC2ED1A4E}" dt="2020-03-24T14:03:23.295" v="1659" actId="1076"/>
          <ac:spMkLst>
            <pc:docMk/>
            <pc:sldMk cId="1561879338" sldId="2076136650"/>
            <ac:spMk id="81" creationId="{7B9BBCC3-35E2-4586-8A00-048872DA3794}"/>
          </ac:spMkLst>
        </pc:spChg>
        <pc:spChg chg="add mod">
          <ac:chgData name="Renata Festa" userId="6f22df47-533b-4c2a-a3c1-7f9ad1d63e10" providerId="ADAL" clId="{7D997690-04A4-4675-83D7-2E1CC2ED1A4E}" dt="2020-03-24T14:03:57.412" v="1677" actId="1037"/>
          <ac:spMkLst>
            <pc:docMk/>
            <pc:sldMk cId="1561879338" sldId="2076136650"/>
            <ac:spMk id="82" creationId="{34EAAEEF-F189-400B-BD62-2F6B0E952EFA}"/>
          </ac:spMkLst>
        </pc:spChg>
        <pc:spChg chg="add mod">
          <ac:chgData name="Renata Festa" userId="6f22df47-533b-4c2a-a3c1-7f9ad1d63e10" providerId="ADAL" clId="{7D997690-04A4-4675-83D7-2E1CC2ED1A4E}" dt="2020-03-24T14:03:50.707" v="1675" actId="1037"/>
          <ac:spMkLst>
            <pc:docMk/>
            <pc:sldMk cId="1561879338" sldId="2076136650"/>
            <ac:spMk id="83" creationId="{B6165ED1-C1D4-44E3-A905-5993EDD6C5E0}"/>
          </ac:spMkLst>
        </pc:spChg>
        <pc:spChg chg="add mod">
          <ac:chgData name="Renata Festa" userId="6f22df47-533b-4c2a-a3c1-7f9ad1d63e10" providerId="ADAL" clId="{7D997690-04A4-4675-83D7-2E1CC2ED1A4E}" dt="2020-03-24T14:03:23.295" v="1659" actId="1076"/>
          <ac:spMkLst>
            <pc:docMk/>
            <pc:sldMk cId="1561879338" sldId="2076136650"/>
            <ac:spMk id="84" creationId="{B2AC7D1C-BA84-42F7-A231-621BC39940C7}"/>
          </ac:spMkLst>
        </pc:spChg>
        <pc:spChg chg="add mod">
          <ac:chgData name="Renata Festa" userId="6f22df47-533b-4c2a-a3c1-7f9ad1d63e10" providerId="ADAL" clId="{7D997690-04A4-4675-83D7-2E1CC2ED1A4E}" dt="2020-03-24T14:03:57.412" v="1677" actId="1037"/>
          <ac:spMkLst>
            <pc:docMk/>
            <pc:sldMk cId="1561879338" sldId="2076136650"/>
            <ac:spMk id="85" creationId="{6E464EA9-76D3-49BF-BB57-CC13C416E9FC}"/>
          </ac:spMkLst>
        </pc:spChg>
        <pc:spChg chg="add mod">
          <ac:chgData name="Renata Festa" userId="6f22df47-533b-4c2a-a3c1-7f9ad1d63e10" providerId="ADAL" clId="{7D997690-04A4-4675-83D7-2E1CC2ED1A4E}" dt="2020-03-24T14:03:50.707" v="1675" actId="1037"/>
          <ac:spMkLst>
            <pc:docMk/>
            <pc:sldMk cId="1561879338" sldId="2076136650"/>
            <ac:spMk id="86" creationId="{A5782B3D-0577-491C-A1B2-2A15B7ABBF9A}"/>
          </ac:spMkLst>
        </pc:spChg>
        <pc:spChg chg="add mod">
          <ac:chgData name="Renata Festa" userId="6f22df47-533b-4c2a-a3c1-7f9ad1d63e10" providerId="ADAL" clId="{7D997690-04A4-4675-83D7-2E1CC2ED1A4E}" dt="2020-03-24T14:04:02.858" v="1678" actId="1076"/>
          <ac:spMkLst>
            <pc:docMk/>
            <pc:sldMk cId="1561879338" sldId="2076136650"/>
            <ac:spMk id="122" creationId="{ACDBF215-2101-472D-B04B-A62C0F4CABA8}"/>
          </ac:spMkLst>
        </pc:spChg>
        <pc:spChg chg="add mod">
          <ac:chgData name="Renata Festa" userId="6f22df47-533b-4c2a-a3c1-7f9ad1d63e10" providerId="ADAL" clId="{7D997690-04A4-4675-83D7-2E1CC2ED1A4E}" dt="2020-03-24T14:03:50.707" v="1675" actId="1037"/>
          <ac:spMkLst>
            <pc:docMk/>
            <pc:sldMk cId="1561879338" sldId="2076136650"/>
            <ac:spMk id="134" creationId="{B66733A1-FDEF-4312-81B0-77DCF42050F3}"/>
          </ac:spMkLst>
        </pc:spChg>
        <pc:spChg chg="add mod">
          <ac:chgData name="Renata Festa" userId="6f22df47-533b-4c2a-a3c1-7f9ad1d63e10" providerId="ADAL" clId="{7D997690-04A4-4675-83D7-2E1CC2ED1A4E}" dt="2020-03-24T14:03:57.412" v="1677" actId="1037"/>
          <ac:spMkLst>
            <pc:docMk/>
            <pc:sldMk cId="1561879338" sldId="2076136650"/>
            <ac:spMk id="141" creationId="{2857A800-F8D2-4BAD-875D-7A136668CF39}"/>
          </ac:spMkLst>
        </pc:spChg>
        <pc:spChg chg="add mod">
          <ac:chgData name="Renata Festa" userId="6f22df47-533b-4c2a-a3c1-7f9ad1d63e10" providerId="ADAL" clId="{7D997690-04A4-4675-83D7-2E1CC2ED1A4E}" dt="2020-03-24T14:03:50.707" v="1675" actId="1037"/>
          <ac:spMkLst>
            <pc:docMk/>
            <pc:sldMk cId="1561879338" sldId="2076136650"/>
            <ac:spMk id="143" creationId="{30C9A96D-40B6-4769-BD26-1A5624D0C928}"/>
          </ac:spMkLst>
        </pc:spChg>
        <pc:grpChg chg="add del">
          <ac:chgData name="Renata Festa" userId="6f22df47-533b-4c2a-a3c1-7f9ad1d63e10" providerId="ADAL" clId="{7D997690-04A4-4675-83D7-2E1CC2ED1A4E}" dt="2020-03-24T14:03:11.922" v="1657"/>
          <ac:grpSpMkLst>
            <pc:docMk/>
            <pc:sldMk cId="1561879338" sldId="2076136650"/>
            <ac:grpSpMk id="11" creationId="{522F7A4A-C0DF-4201-AD14-2DBE05740C55}"/>
          </ac:grpSpMkLst>
        </pc:grpChg>
        <pc:grpChg chg="add del">
          <ac:chgData name="Renata Festa" userId="6f22df47-533b-4c2a-a3c1-7f9ad1d63e10" providerId="ADAL" clId="{7D997690-04A4-4675-83D7-2E1CC2ED1A4E}" dt="2020-03-24T14:03:11.922" v="1657"/>
          <ac:grpSpMkLst>
            <pc:docMk/>
            <pc:sldMk cId="1561879338" sldId="2076136650"/>
            <ac:grpSpMk id="15" creationId="{C6CA1C05-358A-438F-BD19-BF05322A7A86}"/>
          </ac:grpSpMkLst>
        </pc:grpChg>
        <pc:grpChg chg="add del">
          <ac:chgData name="Renata Festa" userId="6f22df47-533b-4c2a-a3c1-7f9ad1d63e10" providerId="ADAL" clId="{7D997690-04A4-4675-83D7-2E1CC2ED1A4E}" dt="2020-03-24T14:03:11.922" v="1657"/>
          <ac:grpSpMkLst>
            <pc:docMk/>
            <pc:sldMk cId="1561879338" sldId="2076136650"/>
            <ac:grpSpMk id="39" creationId="{DF3A27E9-2B4E-48FA-A798-BBED8AF3236A}"/>
          </ac:grpSpMkLst>
        </pc:grpChg>
        <pc:grpChg chg="add del">
          <ac:chgData name="Renata Festa" userId="6f22df47-533b-4c2a-a3c1-7f9ad1d63e10" providerId="ADAL" clId="{7D997690-04A4-4675-83D7-2E1CC2ED1A4E}" dt="2020-03-24T14:03:11.922" v="1657"/>
          <ac:grpSpMkLst>
            <pc:docMk/>
            <pc:sldMk cId="1561879338" sldId="2076136650"/>
            <ac:grpSpMk id="47" creationId="{26BB769F-1FE9-4CFE-ABB5-CD649A45A588}"/>
          </ac:grpSpMkLst>
        </pc:grpChg>
        <pc:grpChg chg="add del">
          <ac:chgData name="Renata Festa" userId="6f22df47-533b-4c2a-a3c1-7f9ad1d63e10" providerId="ADAL" clId="{7D997690-04A4-4675-83D7-2E1CC2ED1A4E}" dt="2020-03-24T14:03:11.922" v="1657"/>
          <ac:grpSpMkLst>
            <pc:docMk/>
            <pc:sldMk cId="1561879338" sldId="2076136650"/>
            <ac:grpSpMk id="59" creationId="{A981A1B6-5080-4ED2-B3ED-EE22C00BE057}"/>
          </ac:grpSpMkLst>
        </pc:grpChg>
        <pc:grpChg chg="add del">
          <ac:chgData name="Renata Festa" userId="6f22df47-533b-4c2a-a3c1-7f9ad1d63e10" providerId="ADAL" clId="{7D997690-04A4-4675-83D7-2E1CC2ED1A4E}" dt="2020-03-24T14:03:11.922" v="1657"/>
          <ac:grpSpMkLst>
            <pc:docMk/>
            <pc:sldMk cId="1561879338" sldId="2076136650"/>
            <ac:grpSpMk id="68" creationId="{7EDDB2AF-6B31-4454-B0BE-3E8805ABC750}"/>
          </ac:grpSpMkLst>
        </pc:grpChg>
        <pc:grpChg chg="add mod">
          <ac:chgData name="Renata Festa" userId="6f22df47-533b-4c2a-a3c1-7f9ad1d63e10" providerId="ADAL" clId="{7D997690-04A4-4675-83D7-2E1CC2ED1A4E}" dt="2020-03-24T14:03:23.295" v="1659" actId="1076"/>
          <ac:grpSpMkLst>
            <pc:docMk/>
            <pc:sldMk cId="1561879338" sldId="2076136650"/>
            <ac:grpSpMk id="87" creationId="{D457F020-40A5-4972-8FA4-D3C72C86C7F3}"/>
          </ac:grpSpMkLst>
        </pc:grpChg>
        <pc:grpChg chg="add mod">
          <ac:chgData name="Renata Festa" userId="6f22df47-533b-4c2a-a3c1-7f9ad1d63e10" providerId="ADAL" clId="{7D997690-04A4-4675-83D7-2E1CC2ED1A4E}" dt="2020-03-24T14:03:57.412" v="1677" actId="1037"/>
          <ac:grpSpMkLst>
            <pc:docMk/>
            <pc:sldMk cId="1561879338" sldId="2076136650"/>
            <ac:grpSpMk id="91" creationId="{4C00EDDE-C56F-4CFD-BAC2-8823CFBCDC7A}"/>
          </ac:grpSpMkLst>
        </pc:grpChg>
        <pc:grpChg chg="add mod">
          <ac:chgData name="Renata Festa" userId="6f22df47-533b-4c2a-a3c1-7f9ad1d63e10" providerId="ADAL" clId="{7D997690-04A4-4675-83D7-2E1CC2ED1A4E}" dt="2020-03-24T14:03:50.707" v="1675" actId="1037"/>
          <ac:grpSpMkLst>
            <pc:docMk/>
            <pc:sldMk cId="1561879338" sldId="2076136650"/>
            <ac:grpSpMk id="115" creationId="{283F12B4-FBF0-4BD4-A3ED-D7917575CA6E}"/>
          </ac:grpSpMkLst>
        </pc:grpChg>
        <pc:grpChg chg="add mod">
          <ac:chgData name="Renata Festa" userId="6f22df47-533b-4c2a-a3c1-7f9ad1d63e10" providerId="ADAL" clId="{7D997690-04A4-4675-83D7-2E1CC2ED1A4E}" dt="2020-03-24T14:03:50.707" v="1675" actId="1037"/>
          <ac:grpSpMkLst>
            <pc:docMk/>
            <pc:sldMk cId="1561879338" sldId="2076136650"/>
            <ac:grpSpMk id="123" creationId="{DA608B19-6265-4122-AD2A-AD6895FF6905}"/>
          </ac:grpSpMkLst>
        </pc:grpChg>
        <pc:grpChg chg="mod">
          <ac:chgData name="Renata Festa" userId="6f22df47-533b-4c2a-a3c1-7f9ad1d63e10" providerId="ADAL" clId="{7D997690-04A4-4675-83D7-2E1CC2ED1A4E}" dt="2020-03-24T14:03:50.707" v="1675" actId="1037"/>
          <ac:grpSpMkLst>
            <pc:docMk/>
            <pc:sldMk cId="1561879338" sldId="2076136650"/>
            <ac:grpSpMk id="125" creationId="{CD7DE1BA-F7A9-424D-9CF1-93AFF7CE99FD}"/>
          </ac:grpSpMkLst>
        </pc:grpChg>
        <pc:grpChg chg="add mod">
          <ac:chgData name="Renata Festa" userId="6f22df47-533b-4c2a-a3c1-7f9ad1d63e10" providerId="ADAL" clId="{7D997690-04A4-4675-83D7-2E1CC2ED1A4E}" dt="2020-03-24T14:03:57.412" v="1677" actId="1037"/>
          <ac:grpSpMkLst>
            <pc:docMk/>
            <pc:sldMk cId="1561879338" sldId="2076136650"/>
            <ac:grpSpMk id="135" creationId="{300587C1-56F7-4E61-91AE-5480031C2395}"/>
          </ac:grpSpMkLst>
        </pc:grpChg>
        <pc:grpChg chg="mod">
          <ac:chgData name="Renata Festa" userId="6f22df47-533b-4c2a-a3c1-7f9ad1d63e10" providerId="ADAL" clId="{7D997690-04A4-4675-83D7-2E1CC2ED1A4E}" dt="2020-03-24T14:03:57.412" v="1677" actId="1037"/>
          <ac:grpSpMkLst>
            <pc:docMk/>
            <pc:sldMk cId="1561879338" sldId="2076136650"/>
            <ac:grpSpMk id="137" creationId="{D23EF651-791C-4EE1-BC8F-A4D216A63563}"/>
          </ac:grpSpMkLst>
        </pc:grpChg>
        <pc:grpChg chg="add mod">
          <ac:chgData name="Renata Festa" userId="6f22df47-533b-4c2a-a3c1-7f9ad1d63e10" providerId="ADAL" clId="{7D997690-04A4-4675-83D7-2E1CC2ED1A4E}" dt="2020-03-24T14:03:50.707" v="1675" actId="1037"/>
          <ac:grpSpMkLst>
            <pc:docMk/>
            <pc:sldMk cId="1561879338" sldId="2076136650"/>
            <ac:grpSpMk id="144" creationId="{B210184B-9A3B-411F-AF59-351F4197EBC9}"/>
          </ac:grpSpMkLst>
        </pc:grpChg>
        <pc:grpChg chg="mod">
          <ac:chgData name="Renata Festa" userId="6f22df47-533b-4c2a-a3c1-7f9ad1d63e10" providerId="ADAL" clId="{7D997690-04A4-4675-83D7-2E1CC2ED1A4E}" dt="2020-03-24T14:03:50.707" v="1675" actId="1037"/>
          <ac:grpSpMkLst>
            <pc:docMk/>
            <pc:sldMk cId="1561879338" sldId="2076136650"/>
            <ac:grpSpMk id="146" creationId="{AB75F4D1-0E6E-46D1-9BC9-B5CB59429D56}"/>
          </ac:grpSpMkLst>
        </pc:grpChg>
        <pc:cxnChg chg="add del">
          <ac:chgData name="Renata Festa" userId="6f22df47-533b-4c2a-a3c1-7f9ad1d63e10" providerId="ADAL" clId="{7D997690-04A4-4675-83D7-2E1CC2ED1A4E}" dt="2020-03-24T14:03:11.922" v="1657"/>
          <ac:cxnSpMkLst>
            <pc:docMk/>
            <pc:sldMk cId="1561879338" sldId="2076136650"/>
            <ac:cxnSpMk id="66" creationId="{1F0E4900-76CF-4A01-8EC8-B5139799ACDD}"/>
          </ac:cxnSpMkLst>
        </pc:cxnChg>
        <pc:cxnChg chg="add del">
          <ac:chgData name="Renata Festa" userId="6f22df47-533b-4c2a-a3c1-7f9ad1d63e10" providerId="ADAL" clId="{7D997690-04A4-4675-83D7-2E1CC2ED1A4E}" dt="2020-03-24T14:03:11.922" v="1657"/>
          <ac:cxnSpMkLst>
            <pc:docMk/>
            <pc:sldMk cId="1561879338" sldId="2076136650"/>
            <ac:cxnSpMk id="79" creationId="{24D11FA6-9DB8-4A28-9FBF-90AC6C10955D}"/>
          </ac:cxnSpMkLst>
        </pc:cxnChg>
        <pc:cxnChg chg="add del">
          <ac:chgData name="Renata Festa" userId="6f22df47-533b-4c2a-a3c1-7f9ad1d63e10" providerId="ADAL" clId="{7D997690-04A4-4675-83D7-2E1CC2ED1A4E}" dt="2020-03-24T14:03:11.922" v="1657"/>
          <ac:cxnSpMkLst>
            <pc:docMk/>
            <pc:sldMk cId="1561879338" sldId="2076136650"/>
            <ac:cxnSpMk id="80" creationId="{E40E2B85-E54A-4133-9177-308611CD5C7B}"/>
          </ac:cxnSpMkLst>
        </pc:cxnChg>
        <pc:cxnChg chg="add mod">
          <ac:chgData name="Renata Festa" userId="6f22df47-533b-4c2a-a3c1-7f9ad1d63e10" providerId="ADAL" clId="{7D997690-04A4-4675-83D7-2E1CC2ED1A4E}" dt="2020-03-24T14:03:41.140" v="1671" actId="1037"/>
          <ac:cxnSpMkLst>
            <pc:docMk/>
            <pc:sldMk cId="1561879338" sldId="2076136650"/>
            <ac:cxnSpMk id="142" creationId="{C36C51C8-CC7C-49EF-811B-022D3B33BBA4}"/>
          </ac:cxnSpMkLst>
        </pc:cxnChg>
        <pc:cxnChg chg="add mod">
          <ac:chgData name="Renata Festa" userId="6f22df47-533b-4c2a-a3c1-7f9ad1d63e10" providerId="ADAL" clId="{7D997690-04A4-4675-83D7-2E1CC2ED1A4E}" dt="2020-03-24T14:03:50.707" v="1675" actId="1037"/>
          <ac:cxnSpMkLst>
            <pc:docMk/>
            <pc:sldMk cId="1561879338" sldId="2076136650"/>
            <ac:cxnSpMk id="155" creationId="{B1A7A6F9-B73E-4E45-B883-98ED00305FAF}"/>
          </ac:cxnSpMkLst>
        </pc:cxnChg>
        <pc:cxnChg chg="add mod">
          <ac:chgData name="Renata Festa" userId="6f22df47-533b-4c2a-a3c1-7f9ad1d63e10" providerId="ADAL" clId="{7D997690-04A4-4675-83D7-2E1CC2ED1A4E}" dt="2020-03-24T14:03:23.295" v="1659" actId="1076"/>
          <ac:cxnSpMkLst>
            <pc:docMk/>
            <pc:sldMk cId="1561879338" sldId="2076136650"/>
            <ac:cxnSpMk id="156" creationId="{E8F39CC5-7401-4DDE-AEE0-8EF1114EE8A5}"/>
          </ac:cxnSpMkLst>
        </pc:cxnChg>
      </pc:sldChg>
      <pc:sldChg chg="addSp delSp modSp add mod addCm modCm">
        <pc:chgData name="Renata Festa" userId="6f22df47-533b-4c2a-a3c1-7f9ad1d63e10" providerId="ADAL" clId="{7D997690-04A4-4675-83D7-2E1CC2ED1A4E}" dt="2020-03-24T14:06:09.961" v="1687"/>
        <pc:sldMkLst>
          <pc:docMk/>
          <pc:sldMk cId="2991361673" sldId="2076136651"/>
        </pc:sldMkLst>
        <pc:spChg chg="mod">
          <ac:chgData name="Renata Festa" userId="6f22df47-533b-4c2a-a3c1-7f9ad1d63e10" providerId="ADAL" clId="{7D997690-04A4-4675-83D7-2E1CC2ED1A4E}" dt="2020-03-24T14:04:31.450" v="1680"/>
          <ac:spMkLst>
            <pc:docMk/>
            <pc:sldMk cId="2991361673" sldId="2076136651"/>
            <ac:spMk id="2" creationId="{EB67312A-9819-43C6-8D84-D9136E6CFFCC}"/>
          </ac:spMkLst>
        </pc:spChg>
        <pc:spChg chg="mod">
          <ac:chgData name="Renata Festa" userId="6f22df47-533b-4c2a-a3c1-7f9ad1d63e10" providerId="ADAL" clId="{7D997690-04A4-4675-83D7-2E1CC2ED1A4E}" dt="2020-03-24T14:04:35.769" v="1681"/>
          <ac:spMkLst>
            <pc:docMk/>
            <pc:sldMk cId="2991361673" sldId="2076136651"/>
            <ac:spMk id="3" creationId="{F35E8CBB-5A7D-4DEF-BAF7-8DD5D042F9E0}"/>
          </ac:spMkLst>
        </pc:spChg>
        <pc:spChg chg="del">
          <ac:chgData name="Renata Festa" userId="6f22df47-533b-4c2a-a3c1-7f9ad1d63e10" providerId="ADAL" clId="{7D997690-04A4-4675-83D7-2E1CC2ED1A4E}" dt="2020-03-24T14:05:14.055" v="1684" actId="478"/>
          <ac:spMkLst>
            <pc:docMk/>
            <pc:sldMk cId="2991361673" sldId="2076136651"/>
            <ac:spMk id="4" creationId="{F3616A99-090F-45E1-9334-58D58B148205}"/>
          </ac:spMkLst>
        </pc:spChg>
        <pc:spChg chg="add mod">
          <ac:chgData name="Renata Festa" userId="6f22df47-533b-4c2a-a3c1-7f9ad1d63e10" providerId="ADAL" clId="{7D997690-04A4-4675-83D7-2E1CC2ED1A4E}" dt="2020-03-24T14:05:10.995" v="1683" actId="1076"/>
          <ac:spMkLst>
            <pc:docMk/>
            <pc:sldMk cId="2991361673" sldId="2076136651"/>
            <ac:spMk id="5" creationId="{5E5054A8-068C-4039-9AD0-83B203203CF3}"/>
          </ac:spMkLst>
        </pc:spChg>
        <pc:spChg chg="add mod">
          <ac:chgData name="Renata Festa" userId="6f22df47-533b-4c2a-a3c1-7f9ad1d63e10" providerId="ADAL" clId="{7D997690-04A4-4675-83D7-2E1CC2ED1A4E}" dt="2020-03-24T14:05:10.995" v="1683" actId="1076"/>
          <ac:spMkLst>
            <pc:docMk/>
            <pc:sldMk cId="2991361673" sldId="2076136651"/>
            <ac:spMk id="6" creationId="{9354CD68-1845-414D-9177-CF6F27DEE6C8}"/>
          </ac:spMkLst>
        </pc:spChg>
        <pc:spChg chg="add mod">
          <ac:chgData name="Renata Festa" userId="6f22df47-533b-4c2a-a3c1-7f9ad1d63e10" providerId="ADAL" clId="{7D997690-04A4-4675-83D7-2E1CC2ED1A4E}" dt="2020-03-24T14:05:42.132" v="1685" actId="33524"/>
          <ac:spMkLst>
            <pc:docMk/>
            <pc:sldMk cId="2991361673" sldId="2076136651"/>
            <ac:spMk id="7" creationId="{EB1C2D44-8D47-49D0-A313-EE015A33F673}"/>
          </ac:spMkLst>
        </pc:spChg>
        <pc:spChg chg="add mod">
          <ac:chgData name="Renata Festa" userId="6f22df47-533b-4c2a-a3c1-7f9ad1d63e10" providerId="ADAL" clId="{7D997690-04A4-4675-83D7-2E1CC2ED1A4E}" dt="2020-03-24T14:05:10.995" v="1683" actId="1076"/>
          <ac:spMkLst>
            <pc:docMk/>
            <pc:sldMk cId="2991361673" sldId="2076136651"/>
            <ac:spMk id="8" creationId="{F5D37C52-D790-4006-9F4E-701747614A1F}"/>
          </ac:spMkLst>
        </pc:spChg>
        <pc:spChg chg="add mod">
          <ac:chgData name="Renata Festa" userId="6f22df47-533b-4c2a-a3c1-7f9ad1d63e10" providerId="ADAL" clId="{7D997690-04A4-4675-83D7-2E1CC2ED1A4E}" dt="2020-03-24T14:05:10.995" v="1683" actId="1076"/>
          <ac:spMkLst>
            <pc:docMk/>
            <pc:sldMk cId="2991361673" sldId="2076136651"/>
            <ac:spMk id="9" creationId="{737B506D-E62B-44EA-A77C-B6A7A1075A01}"/>
          </ac:spMkLst>
        </pc:spChg>
        <pc:spChg chg="add mod">
          <ac:chgData name="Renata Festa" userId="6f22df47-533b-4c2a-a3c1-7f9ad1d63e10" providerId="ADAL" clId="{7D997690-04A4-4675-83D7-2E1CC2ED1A4E}" dt="2020-03-24T14:05:10.995" v="1683" actId="1076"/>
          <ac:spMkLst>
            <pc:docMk/>
            <pc:sldMk cId="2991361673" sldId="2076136651"/>
            <ac:spMk id="10" creationId="{ECF33CC8-CA5C-409F-8DCB-4EDBC558CD57}"/>
          </ac:spMkLst>
        </pc:spChg>
        <pc:spChg chg="add mod">
          <ac:chgData name="Renata Festa" userId="6f22df47-533b-4c2a-a3c1-7f9ad1d63e10" providerId="ADAL" clId="{7D997690-04A4-4675-83D7-2E1CC2ED1A4E}" dt="2020-03-24T14:05:10.995" v="1683" actId="1076"/>
          <ac:spMkLst>
            <pc:docMk/>
            <pc:sldMk cId="2991361673" sldId="2076136651"/>
            <ac:spMk id="11" creationId="{EF7E51C9-97A0-4CB6-9B96-851447BE2000}"/>
          </ac:spMkLst>
        </pc:spChg>
        <pc:spChg chg="add mod">
          <ac:chgData name="Renata Festa" userId="6f22df47-533b-4c2a-a3c1-7f9ad1d63e10" providerId="ADAL" clId="{7D997690-04A4-4675-83D7-2E1CC2ED1A4E}" dt="2020-03-24T14:05:10.995" v="1683" actId="1076"/>
          <ac:spMkLst>
            <pc:docMk/>
            <pc:sldMk cId="2991361673" sldId="2076136651"/>
            <ac:spMk id="12" creationId="{CE3117BB-2D4A-4742-AFB1-E57C2D4357B4}"/>
          </ac:spMkLst>
        </pc:spChg>
        <pc:spChg chg="add mod">
          <ac:chgData name="Renata Festa" userId="6f22df47-533b-4c2a-a3c1-7f9ad1d63e10" providerId="ADAL" clId="{7D997690-04A4-4675-83D7-2E1CC2ED1A4E}" dt="2020-03-24T14:05:10.995" v="1683" actId="1076"/>
          <ac:spMkLst>
            <pc:docMk/>
            <pc:sldMk cId="2991361673" sldId="2076136651"/>
            <ac:spMk id="13" creationId="{BA28DA39-E18C-484E-83ED-01A92ED4457E}"/>
          </ac:spMkLst>
        </pc:spChg>
        <pc:spChg chg="add mod">
          <ac:chgData name="Renata Festa" userId="6f22df47-533b-4c2a-a3c1-7f9ad1d63e10" providerId="ADAL" clId="{7D997690-04A4-4675-83D7-2E1CC2ED1A4E}" dt="2020-03-24T14:05:10.995" v="1683" actId="1076"/>
          <ac:spMkLst>
            <pc:docMk/>
            <pc:sldMk cId="2991361673" sldId="2076136651"/>
            <ac:spMk id="14" creationId="{B609B650-4DF8-4A46-94AC-7AB92DD0DD0A}"/>
          </ac:spMkLst>
        </pc:spChg>
        <pc:spChg chg="add mod">
          <ac:chgData name="Renata Festa" userId="6f22df47-533b-4c2a-a3c1-7f9ad1d63e10" providerId="ADAL" clId="{7D997690-04A4-4675-83D7-2E1CC2ED1A4E}" dt="2020-03-24T14:05:10.995" v="1683" actId="1076"/>
          <ac:spMkLst>
            <pc:docMk/>
            <pc:sldMk cId="2991361673" sldId="2076136651"/>
            <ac:spMk id="15" creationId="{3C464D10-9567-4B14-8189-0DE2B7DAF07F}"/>
          </ac:spMkLst>
        </pc:spChg>
        <pc:spChg chg="add mod">
          <ac:chgData name="Renata Festa" userId="6f22df47-533b-4c2a-a3c1-7f9ad1d63e10" providerId="ADAL" clId="{7D997690-04A4-4675-83D7-2E1CC2ED1A4E}" dt="2020-03-24T14:05:10.995" v="1683" actId="1076"/>
          <ac:spMkLst>
            <pc:docMk/>
            <pc:sldMk cId="2991361673" sldId="2076136651"/>
            <ac:spMk id="16" creationId="{D98DF606-3F54-495A-A4A7-0BB443098D6F}"/>
          </ac:spMkLst>
        </pc:spChg>
        <pc:grpChg chg="add mod">
          <ac:chgData name="Renata Festa" userId="6f22df47-533b-4c2a-a3c1-7f9ad1d63e10" providerId="ADAL" clId="{7D997690-04A4-4675-83D7-2E1CC2ED1A4E}" dt="2020-03-24T14:05:10.995" v="1683" actId="1076"/>
          <ac:grpSpMkLst>
            <pc:docMk/>
            <pc:sldMk cId="2991361673" sldId="2076136651"/>
            <ac:grpSpMk id="17" creationId="{987B2E9A-BBD2-453E-A030-7EF4917AC83A}"/>
          </ac:grpSpMkLst>
        </pc:grpChg>
        <pc:grpChg chg="add mod">
          <ac:chgData name="Renata Festa" userId="6f22df47-533b-4c2a-a3c1-7f9ad1d63e10" providerId="ADAL" clId="{7D997690-04A4-4675-83D7-2E1CC2ED1A4E}" dt="2020-03-24T14:05:10.995" v="1683" actId="1076"/>
          <ac:grpSpMkLst>
            <pc:docMk/>
            <pc:sldMk cId="2991361673" sldId="2076136651"/>
            <ac:grpSpMk id="20" creationId="{F61796CB-F8EC-4E8C-A600-74A83002B88C}"/>
          </ac:grpSpMkLst>
        </pc:grpChg>
      </pc:sldChg>
      <pc:sldChg chg="addSp delSp modSp add mod modAnim">
        <pc:chgData name="Renata Festa" userId="6f22df47-533b-4c2a-a3c1-7f9ad1d63e10" providerId="ADAL" clId="{7D997690-04A4-4675-83D7-2E1CC2ED1A4E}" dt="2020-03-24T14:07:59.099" v="1726" actId="478"/>
        <pc:sldMkLst>
          <pc:docMk/>
          <pc:sldMk cId="2575335592" sldId="2076136652"/>
        </pc:sldMkLst>
        <pc:spChg chg="mod">
          <ac:chgData name="Renata Festa" userId="6f22df47-533b-4c2a-a3c1-7f9ad1d63e10" providerId="ADAL" clId="{7D997690-04A4-4675-83D7-2E1CC2ED1A4E}" dt="2020-03-24T14:06:32.676" v="1697"/>
          <ac:spMkLst>
            <pc:docMk/>
            <pc:sldMk cId="2575335592" sldId="2076136652"/>
            <ac:spMk id="2" creationId="{EB67312A-9819-43C6-8D84-D9136E6CFFCC}"/>
          </ac:spMkLst>
        </pc:spChg>
        <pc:spChg chg="del">
          <ac:chgData name="Renata Festa" userId="6f22df47-533b-4c2a-a3c1-7f9ad1d63e10" providerId="ADAL" clId="{7D997690-04A4-4675-83D7-2E1CC2ED1A4E}" dt="2020-03-24T14:07:59.099" v="1726" actId="478"/>
          <ac:spMkLst>
            <pc:docMk/>
            <pc:sldMk cId="2575335592" sldId="2076136652"/>
            <ac:spMk id="3" creationId="{F35E8CBB-5A7D-4DEF-BAF7-8DD5D042F9E0}"/>
          </ac:spMkLst>
        </pc:spChg>
        <pc:spChg chg="del">
          <ac:chgData name="Renata Festa" userId="6f22df47-533b-4c2a-a3c1-7f9ad1d63e10" providerId="ADAL" clId="{7D997690-04A4-4675-83D7-2E1CC2ED1A4E}" dt="2020-03-24T14:07:57.798" v="1725" actId="478"/>
          <ac:spMkLst>
            <pc:docMk/>
            <pc:sldMk cId="2575335592" sldId="2076136652"/>
            <ac:spMk id="4" creationId="{F3616A99-090F-45E1-9334-58D58B148205}"/>
          </ac:spMkLst>
        </pc:spChg>
        <pc:grpChg chg="add mod">
          <ac:chgData name="Renata Festa" userId="6f22df47-533b-4c2a-a3c1-7f9ad1d63e10" providerId="ADAL" clId="{7D997690-04A4-4675-83D7-2E1CC2ED1A4E}" dt="2020-03-24T14:07:02.051" v="1711" actId="1035"/>
          <ac:grpSpMkLst>
            <pc:docMk/>
            <pc:sldMk cId="2575335592" sldId="2076136652"/>
            <ac:grpSpMk id="5" creationId="{8CA8FB75-65B7-4971-A08C-9BA868E0CBF3}"/>
          </ac:grpSpMkLst>
        </pc:grpChg>
        <pc:graphicFrameChg chg="add mod">
          <ac:chgData name="Renata Festa" userId="6f22df47-533b-4c2a-a3c1-7f9ad1d63e10" providerId="ADAL" clId="{7D997690-04A4-4675-83D7-2E1CC2ED1A4E}" dt="2020-03-24T14:07:53.725" v="1724" actId="14100"/>
          <ac:graphicFrameMkLst>
            <pc:docMk/>
            <pc:sldMk cId="2575335592" sldId="2076136652"/>
            <ac:graphicFrameMk id="87" creationId="{9792F5B8-D284-4E2F-8E89-9BB7C415AF50}"/>
          </ac:graphicFrameMkLst>
        </pc:graphicFrameChg>
      </pc:sldChg>
      <pc:sldChg chg="addSp delSp modSp add mod modShow">
        <pc:chgData name="Renata Festa" userId="6f22df47-533b-4c2a-a3c1-7f9ad1d63e10" providerId="ADAL" clId="{7D997690-04A4-4675-83D7-2E1CC2ED1A4E}" dt="2020-03-24T14:09:16.319" v="1752" actId="729"/>
        <pc:sldMkLst>
          <pc:docMk/>
          <pc:sldMk cId="3603536025" sldId="2076136653"/>
        </pc:sldMkLst>
        <pc:spChg chg="mod">
          <ac:chgData name="Renata Festa" userId="6f22df47-533b-4c2a-a3c1-7f9ad1d63e10" providerId="ADAL" clId="{7D997690-04A4-4675-83D7-2E1CC2ED1A4E}" dt="2020-03-24T14:08:14.806" v="1727"/>
          <ac:spMkLst>
            <pc:docMk/>
            <pc:sldMk cId="3603536025" sldId="2076136653"/>
            <ac:spMk id="2" creationId="{EB67312A-9819-43C6-8D84-D9136E6CFFCC}"/>
          </ac:spMkLst>
        </pc:spChg>
        <pc:spChg chg="del">
          <ac:chgData name="Renata Festa" userId="6f22df47-533b-4c2a-a3c1-7f9ad1d63e10" providerId="ADAL" clId="{7D997690-04A4-4675-83D7-2E1CC2ED1A4E}" dt="2020-03-24T14:08:36.098" v="1737" actId="478"/>
          <ac:spMkLst>
            <pc:docMk/>
            <pc:sldMk cId="3603536025" sldId="2076136653"/>
            <ac:spMk id="3" creationId="{F35E8CBB-5A7D-4DEF-BAF7-8DD5D042F9E0}"/>
          </ac:spMkLst>
        </pc:spChg>
        <pc:spChg chg="del">
          <ac:chgData name="Renata Festa" userId="6f22df47-533b-4c2a-a3c1-7f9ad1d63e10" providerId="ADAL" clId="{7D997690-04A4-4675-83D7-2E1CC2ED1A4E}" dt="2020-03-24T14:08:41.472" v="1738" actId="478"/>
          <ac:spMkLst>
            <pc:docMk/>
            <pc:sldMk cId="3603536025" sldId="2076136653"/>
            <ac:spMk id="4" creationId="{F3616A99-090F-45E1-9334-58D58B148205}"/>
          </ac:spMkLst>
        </pc:spChg>
        <pc:spChg chg="add mod">
          <ac:chgData name="Renata Festa" userId="6f22df47-533b-4c2a-a3c1-7f9ad1d63e10" providerId="ADAL" clId="{7D997690-04A4-4675-83D7-2E1CC2ED1A4E}" dt="2020-03-24T14:08:58.011" v="1750" actId="14100"/>
          <ac:spMkLst>
            <pc:docMk/>
            <pc:sldMk cId="3603536025" sldId="2076136653"/>
            <ac:spMk id="5" creationId="{EB804A8F-CAFE-4B2B-B34F-27C501ACD35A}"/>
          </ac:spMkLst>
        </pc:spChg>
        <pc:spChg chg="add mod">
          <ac:chgData name="Renata Festa" userId="6f22df47-533b-4c2a-a3c1-7f9ad1d63e10" providerId="ADAL" clId="{7D997690-04A4-4675-83D7-2E1CC2ED1A4E}" dt="2020-03-24T14:08:55.475" v="1749" actId="14100"/>
          <ac:spMkLst>
            <pc:docMk/>
            <pc:sldMk cId="3603536025" sldId="2076136653"/>
            <ac:spMk id="6" creationId="{AEB97432-1155-4267-9675-64EB1E428714}"/>
          </ac:spMkLst>
        </pc:spChg>
        <pc:spChg chg="add mod">
          <ac:chgData name="Renata Festa" userId="6f22df47-533b-4c2a-a3c1-7f9ad1d63e10" providerId="ADAL" clId="{7D997690-04A4-4675-83D7-2E1CC2ED1A4E}" dt="2020-03-24T14:09:00.203" v="1751" actId="14100"/>
          <ac:spMkLst>
            <pc:docMk/>
            <pc:sldMk cId="3603536025" sldId="2076136653"/>
            <ac:spMk id="7" creationId="{E8E90D33-0450-43EF-9771-6EB04916852A}"/>
          </ac:spMkLst>
        </pc:spChg>
        <pc:grpChg chg="add mod">
          <ac:chgData name="Renata Festa" userId="6f22df47-533b-4c2a-a3c1-7f9ad1d63e10" providerId="ADAL" clId="{7D997690-04A4-4675-83D7-2E1CC2ED1A4E}" dt="2020-03-24T14:08:50.905" v="1748" actId="1038"/>
          <ac:grpSpMkLst>
            <pc:docMk/>
            <pc:sldMk cId="3603536025" sldId="2076136653"/>
            <ac:grpSpMk id="8" creationId="{C095A3E0-15E5-46E5-9EBC-CCD30D28737C}"/>
          </ac:grpSpMkLst>
        </pc:grpChg>
        <pc:grpChg chg="mod">
          <ac:chgData name="Renata Festa" userId="6f22df47-533b-4c2a-a3c1-7f9ad1d63e10" providerId="ADAL" clId="{7D997690-04A4-4675-83D7-2E1CC2ED1A4E}" dt="2020-03-24T14:08:50.905" v="1748" actId="1038"/>
          <ac:grpSpMkLst>
            <pc:docMk/>
            <pc:sldMk cId="3603536025" sldId="2076136653"/>
            <ac:grpSpMk id="9" creationId="{CD5E3E01-1C87-4771-816F-122099EBB8A2}"/>
          </ac:grpSpMkLst>
        </pc:grpChg>
        <pc:grpChg chg="add mod">
          <ac:chgData name="Renata Festa" userId="6f22df47-533b-4c2a-a3c1-7f9ad1d63e10" providerId="ADAL" clId="{7D997690-04A4-4675-83D7-2E1CC2ED1A4E}" dt="2020-03-24T14:08:50.905" v="1748" actId="1038"/>
          <ac:grpSpMkLst>
            <pc:docMk/>
            <pc:sldMk cId="3603536025" sldId="2076136653"/>
            <ac:grpSpMk id="13" creationId="{7FCF5734-7361-47B4-9CED-8705B2DB03A8}"/>
          </ac:grpSpMkLst>
        </pc:grpChg>
        <pc:grpChg chg="mod">
          <ac:chgData name="Renata Festa" userId="6f22df47-533b-4c2a-a3c1-7f9ad1d63e10" providerId="ADAL" clId="{7D997690-04A4-4675-83D7-2E1CC2ED1A4E}" dt="2020-03-24T14:08:50.905" v="1748" actId="1038"/>
          <ac:grpSpMkLst>
            <pc:docMk/>
            <pc:sldMk cId="3603536025" sldId="2076136653"/>
            <ac:grpSpMk id="14" creationId="{06F5FA2E-E651-4B15-BC06-C24CDF8F1BA5}"/>
          </ac:grpSpMkLst>
        </pc:grpChg>
        <pc:grpChg chg="mod">
          <ac:chgData name="Renata Festa" userId="6f22df47-533b-4c2a-a3c1-7f9ad1d63e10" providerId="ADAL" clId="{7D997690-04A4-4675-83D7-2E1CC2ED1A4E}" dt="2020-03-24T14:08:50.905" v="1748" actId="1038"/>
          <ac:grpSpMkLst>
            <pc:docMk/>
            <pc:sldMk cId="3603536025" sldId="2076136653"/>
            <ac:grpSpMk id="21" creationId="{805CD25F-9E88-4D4F-8A12-C9313E121B86}"/>
          </ac:grpSpMkLst>
        </pc:grpChg>
        <pc:grpChg chg="mod">
          <ac:chgData name="Renata Festa" userId="6f22df47-533b-4c2a-a3c1-7f9ad1d63e10" providerId="ADAL" clId="{7D997690-04A4-4675-83D7-2E1CC2ED1A4E}" dt="2020-03-24T14:08:50.905" v="1748" actId="1038"/>
          <ac:grpSpMkLst>
            <pc:docMk/>
            <pc:sldMk cId="3603536025" sldId="2076136653"/>
            <ac:grpSpMk id="22" creationId="{782D93C1-42E9-4D25-B800-1FE52B4F1409}"/>
          </ac:grpSpMkLst>
        </pc:grpChg>
        <pc:grpChg chg="add mod">
          <ac:chgData name="Renata Festa" userId="6f22df47-533b-4c2a-a3c1-7f9ad1d63e10" providerId="ADAL" clId="{7D997690-04A4-4675-83D7-2E1CC2ED1A4E}" dt="2020-03-24T14:08:50.905" v="1748" actId="1038"/>
          <ac:grpSpMkLst>
            <pc:docMk/>
            <pc:sldMk cId="3603536025" sldId="2076136653"/>
            <ac:grpSpMk id="29" creationId="{CCB3FD96-1F91-4416-8465-321B28A1000F}"/>
          </ac:grpSpMkLst>
        </pc:grpChg>
        <pc:graphicFrameChg chg="add mod">
          <ac:chgData name="Renata Festa" userId="6f22df47-533b-4c2a-a3c1-7f9ad1d63e10" providerId="ADAL" clId="{7D997690-04A4-4675-83D7-2E1CC2ED1A4E}" dt="2020-03-24T14:08:34.509" v="1736" actId="1038"/>
          <ac:graphicFrameMkLst>
            <pc:docMk/>
            <pc:sldMk cId="3603536025" sldId="2076136653"/>
            <ac:graphicFrameMk id="32" creationId="{097FFDBD-561F-44BA-92DC-70CD33F4E8E6}"/>
          </ac:graphicFrameMkLst>
        </pc:graphicFrameChg>
      </pc:sldChg>
      <pc:sldChg chg="addSp delSp modSp add mod">
        <pc:chgData name="Renata Festa" userId="6f22df47-533b-4c2a-a3c1-7f9ad1d63e10" providerId="ADAL" clId="{7D997690-04A4-4675-83D7-2E1CC2ED1A4E}" dt="2020-03-24T14:22:49.134" v="1779" actId="478"/>
        <pc:sldMkLst>
          <pc:docMk/>
          <pc:sldMk cId="3992590962" sldId="2076136654"/>
        </pc:sldMkLst>
        <pc:spChg chg="mod">
          <ac:chgData name="Renata Festa" userId="6f22df47-533b-4c2a-a3c1-7f9ad1d63e10" providerId="ADAL" clId="{7D997690-04A4-4675-83D7-2E1CC2ED1A4E}" dt="2020-03-24T14:09:31.720" v="1754" actId="404"/>
          <ac:spMkLst>
            <pc:docMk/>
            <pc:sldMk cId="3992590962" sldId="2076136654"/>
            <ac:spMk id="2" creationId="{EB67312A-9819-43C6-8D84-D9136E6CFFCC}"/>
          </ac:spMkLst>
        </pc:spChg>
        <pc:spChg chg="del">
          <ac:chgData name="Renata Festa" userId="6f22df47-533b-4c2a-a3c1-7f9ad1d63e10" providerId="ADAL" clId="{7D997690-04A4-4675-83D7-2E1CC2ED1A4E}" dt="2020-03-24T14:09:39.737" v="1755" actId="478"/>
          <ac:spMkLst>
            <pc:docMk/>
            <pc:sldMk cId="3992590962" sldId="2076136654"/>
            <ac:spMk id="3" creationId="{F35E8CBB-5A7D-4DEF-BAF7-8DD5D042F9E0}"/>
          </ac:spMkLst>
        </pc:spChg>
        <pc:spChg chg="del mod">
          <ac:chgData name="Renata Festa" userId="6f22df47-533b-4c2a-a3c1-7f9ad1d63e10" providerId="ADAL" clId="{7D997690-04A4-4675-83D7-2E1CC2ED1A4E}" dt="2020-03-24T14:21:47.428" v="1768" actId="12084"/>
          <ac:spMkLst>
            <pc:docMk/>
            <pc:sldMk cId="3992590962" sldId="2076136654"/>
            <ac:spMk id="4" creationId="{F3616A99-090F-45E1-9334-58D58B148205}"/>
          </ac:spMkLst>
        </pc:spChg>
        <pc:spChg chg="add del mod">
          <ac:chgData name="Renata Festa" userId="6f22df47-533b-4c2a-a3c1-7f9ad1d63e10" providerId="ADAL" clId="{7D997690-04A4-4675-83D7-2E1CC2ED1A4E}" dt="2020-03-24T14:22:49.134" v="1779" actId="478"/>
          <ac:spMkLst>
            <pc:docMk/>
            <pc:sldMk cId="3992590962" sldId="2076136654"/>
            <ac:spMk id="6" creationId="{8C3DE97E-191F-4610-A22D-EB12E421AFB9}"/>
          </ac:spMkLst>
        </pc:spChg>
        <pc:graphicFrameChg chg="add mod">
          <ac:chgData name="Renata Festa" userId="6f22df47-533b-4c2a-a3c1-7f9ad1d63e10" providerId="ADAL" clId="{7D997690-04A4-4675-83D7-2E1CC2ED1A4E}" dt="2020-03-24T14:22:20.884" v="1777"/>
          <ac:graphicFrameMkLst>
            <pc:docMk/>
            <pc:sldMk cId="3992590962" sldId="2076136654"/>
            <ac:graphicFrameMk id="5" creationId="{ACFBD576-BC35-470F-AD93-9943AE29C551}"/>
          </ac:graphicFrameMkLst>
        </pc:graphicFrameChg>
        <pc:picChg chg="add mod">
          <ac:chgData name="Renata Festa" userId="6f22df47-533b-4c2a-a3c1-7f9ad1d63e10" providerId="ADAL" clId="{7D997690-04A4-4675-83D7-2E1CC2ED1A4E}" dt="2020-03-24T14:22:25.908" v="1778" actId="14100"/>
          <ac:picMkLst>
            <pc:docMk/>
            <pc:sldMk cId="3992590962" sldId="2076136654"/>
            <ac:picMk id="7" creationId="{981E1BA5-16D9-426B-9B9E-1E78119B58F9}"/>
          </ac:picMkLst>
        </pc:picChg>
      </pc:sldChg>
      <pc:sldChg chg="addSp delSp modSp add mod">
        <pc:chgData name="Renata Festa" userId="6f22df47-533b-4c2a-a3c1-7f9ad1d63e10" providerId="ADAL" clId="{7D997690-04A4-4675-83D7-2E1CC2ED1A4E}" dt="2020-03-24T14:23:56.272" v="1792" actId="1076"/>
        <pc:sldMkLst>
          <pc:docMk/>
          <pc:sldMk cId="4236357783" sldId="2076136655"/>
        </pc:sldMkLst>
        <pc:spChg chg="mod">
          <ac:chgData name="Renata Festa" userId="6f22df47-533b-4c2a-a3c1-7f9ad1d63e10" providerId="ADAL" clId="{7D997690-04A4-4675-83D7-2E1CC2ED1A4E}" dt="2020-03-24T14:22:57.391" v="1780"/>
          <ac:spMkLst>
            <pc:docMk/>
            <pc:sldMk cId="4236357783" sldId="2076136655"/>
            <ac:spMk id="2" creationId="{EB67312A-9819-43C6-8D84-D9136E6CFFCC}"/>
          </ac:spMkLst>
        </pc:spChg>
        <pc:spChg chg="del">
          <ac:chgData name="Renata Festa" userId="6f22df47-533b-4c2a-a3c1-7f9ad1d63e10" providerId="ADAL" clId="{7D997690-04A4-4675-83D7-2E1CC2ED1A4E}" dt="2020-03-24T14:23:04.244" v="1781" actId="478"/>
          <ac:spMkLst>
            <pc:docMk/>
            <pc:sldMk cId="4236357783" sldId="2076136655"/>
            <ac:spMk id="3" creationId="{F35E8CBB-5A7D-4DEF-BAF7-8DD5D042F9E0}"/>
          </ac:spMkLst>
        </pc:spChg>
        <pc:spChg chg="del mod">
          <ac:chgData name="Renata Festa" userId="6f22df47-533b-4c2a-a3c1-7f9ad1d63e10" providerId="ADAL" clId="{7D997690-04A4-4675-83D7-2E1CC2ED1A4E}" dt="2020-03-24T14:23:42.863" v="1787" actId="12084"/>
          <ac:spMkLst>
            <pc:docMk/>
            <pc:sldMk cId="4236357783" sldId="2076136655"/>
            <ac:spMk id="4" creationId="{F3616A99-090F-45E1-9334-58D58B148205}"/>
          </ac:spMkLst>
        </pc:spChg>
        <pc:graphicFrameChg chg="add mod">
          <ac:chgData name="Renata Festa" userId="6f22df47-533b-4c2a-a3c1-7f9ad1d63e10" providerId="ADAL" clId="{7D997690-04A4-4675-83D7-2E1CC2ED1A4E}" dt="2020-03-24T14:23:42.863" v="1787" actId="12084"/>
          <ac:graphicFrameMkLst>
            <pc:docMk/>
            <pc:sldMk cId="4236357783" sldId="2076136655"/>
            <ac:graphicFrameMk id="5" creationId="{99F96923-6F93-4314-845E-DE2C51DDCED2}"/>
          </ac:graphicFrameMkLst>
        </pc:graphicFrameChg>
        <pc:picChg chg="add mod">
          <ac:chgData name="Renata Festa" userId="6f22df47-533b-4c2a-a3c1-7f9ad1d63e10" providerId="ADAL" clId="{7D997690-04A4-4675-83D7-2E1CC2ED1A4E}" dt="2020-03-24T14:23:56.272" v="1792" actId="1076"/>
          <ac:picMkLst>
            <pc:docMk/>
            <pc:sldMk cId="4236357783" sldId="2076136655"/>
            <ac:picMk id="6" creationId="{D78615AF-EC7D-4D2C-AE5B-FBD591AB97D5}"/>
          </ac:picMkLst>
        </pc:picChg>
      </pc:sldChg>
      <pc:sldChg chg="add del">
        <pc:chgData name="Renata Festa" userId="6f22df47-533b-4c2a-a3c1-7f9ad1d63e10" providerId="ADAL" clId="{7D997690-04A4-4675-83D7-2E1CC2ED1A4E}" dt="2020-03-24T14:26:11.423" v="1812" actId="47"/>
        <pc:sldMkLst>
          <pc:docMk/>
          <pc:sldMk cId="2776068189" sldId="2076136656"/>
        </pc:sldMkLst>
      </pc:sldChg>
      <pc:sldChg chg="add del">
        <pc:chgData name="Renata Festa" userId="6f22df47-533b-4c2a-a3c1-7f9ad1d63e10" providerId="ADAL" clId="{7D997690-04A4-4675-83D7-2E1CC2ED1A4E}" dt="2020-03-24T14:26:11.847" v="1813" actId="47"/>
        <pc:sldMkLst>
          <pc:docMk/>
          <pc:sldMk cId="276951047" sldId="2076136657"/>
        </pc:sldMkLst>
      </pc:sldChg>
      <pc:sldChg chg="add del">
        <pc:chgData name="Renata Festa" userId="6f22df47-533b-4c2a-a3c1-7f9ad1d63e10" providerId="ADAL" clId="{7D997690-04A4-4675-83D7-2E1CC2ED1A4E}" dt="2020-03-24T14:26:12.307" v="1814" actId="47"/>
        <pc:sldMkLst>
          <pc:docMk/>
          <pc:sldMk cId="2954409032" sldId="2076136658"/>
        </pc:sldMkLst>
      </pc:sldChg>
      <pc:sldChg chg="add del">
        <pc:chgData name="Renata Festa" userId="6f22df47-533b-4c2a-a3c1-7f9ad1d63e10" providerId="ADAL" clId="{7D997690-04A4-4675-83D7-2E1CC2ED1A4E}" dt="2020-03-24T14:26:13.583" v="1815" actId="47"/>
        <pc:sldMkLst>
          <pc:docMk/>
          <pc:sldMk cId="2364849535" sldId="2076136659"/>
        </pc:sldMkLst>
      </pc:sldChg>
      <pc:sldChg chg="add del">
        <pc:chgData name="Renata Festa" userId="6f22df47-533b-4c2a-a3c1-7f9ad1d63e10" providerId="ADAL" clId="{7D997690-04A4-4675-83D7-2E1CC2ED1A4E}" dt="2020-03-24T14:26:14.059" v="1816" actId="47"/>
        <pc:sldMkLst>
          <pc:docMk/>
          <pc:sldMk cId="2697629418" sldId="2076136660"/>
        </pc:sldMkLst>
      </pc:sldChg>
      <pc:sldChg chg="add del">
        <pc:chgData name="Renata Festa" userId="6f22df47-533b-4c2a-a3c1-7f9ad1d63e10" providerId="ADAL" clId="{7D997690-04A4-4675-83D7-2E1CC2ED1A4E}" dt="2020-03-24T14:26:15.534" v="1817" actId="47"/>
        <pc:sldMkLst>
          <pc:docMk/>
          <pc:sldMk cId="1274441334" sldId="2076136661"/>
        </pc:sldMkLst>
      </pc:sldChg>
      <pc:sldChg chg="modSp add mod modAnim modShow">
        <pc:chgData name="Renata Festa" userId="6f22df47-533b-4c2a-a3c1-7f9ad1d63e10" providerId="ADAL" clId="{7D997690-04A4-4675-83D7-2E1CC2ED1A4E}" dt="2020-03-25T17:03:44.556" v="4937"/>
        <pc:sldMkLst>
          <pc:docMk/>
          <pc:sldMk cId="2622412200" sldId="2076136662"/>
        </pc:sldMkLst>
        <pc:graphicFrameChg chg="mod">
          <ac:chgData name="Renata Festa" userId="6f22df47-533b-4c2a-a3c1-7f9ad1d63e10" providerId="ADAL" clId="{7D997690-04A4-4675-83D7-2E1CC2ED1A4E}" dt="2020-03-24T14:25:20.578" v="1804" actId="12100"/>
          <ac:graphicFrameMkLst>
            <pc:docMk/>
            <pc:sldMk cId="2622412200" sldId="2076136662"/>
            <ac:graphicFrameMk id="3" creationId="{9484E1FE-7534-495E-863C-657A46F5E628}"/>
          </ac:graphicFrameMkLst>
        </pc:graphicFrameChg>
      </pc:sldChg>
      <pc:sldChg chg="addSp delSp modSp add mod delAnim modAnim">
        <pc:chgData name="Renata Festa" userId="6f22df47-533b-4c2a-a3c1-7f9ad1d63e10" providerId="ADAL" clId="{7D997690-04A4-4675-83D7-2E1CC2ED1A4E}" dt="2020-03-24T14:30:13.977" v="1862"/>
        <pc:sldMkLst>
          <pc:docMk/>
          <pc:sldMk cId="576151350" sldId="2076136663"/>
        </pc:sldMkLst>
        <pc:spChg chg="mod">
          <ac:chgData name="Renata Festa" userId="6f22df47-533b-4c2a-a3c1-7f9ad1d63e10" providerId="ADAL" clId="{7D997690-04A4-4675-83D7-2E1CC2ED1A4E}" dt="2020-03-24T14:28:15.987" v="1839"/>
          <ac:spMkLst>
            <pc:docMk/>
            <pc:sldMk cId="576151350" sldId="2076136663"/>
            <ac:spMk id="2" creationId="{EB67312A-9819-43C6-8D84-D9136E6CFFCC}"/>
          </ac:spMkLst>
        </pc:spChg>
        <pc:spChg chg="del">
          <ac:chgData name="Renata Festa" userId="6f22df47-533b-4c2a-a3c1-7f9ad1d63e10" providerId="ADAL" clId="{7D997690-04A4-4675-83D7-2E1CC2ED1A4E}" dt="2020-03-24T14:28:17.723" v="1840" actId="478"/>
          <ac:spMkLst>
            <pc:docMk/>
            <pc:sldMk cId="576151350" sldId="2076136663"/>
            <ac:spMk id="3" creationId="{F35E8CBB-5A7D-4DEF-BAF7-8DD5D042F9E0}"/>
          </ac:spMkLst>
        </pc:spChg>
        <pc:spChg chg="add del mod">
          <ac:chgData name="Renata Festa" userId="6f22df47-533b-4c2a-a3c1-7f9ad1d63e10" providerId="ADAL" clId="{7D997690-04A4-4675-83D7-2E1CC2ED1A4E}" dt="2020-03-24T14:29:00.310" v="1848" actId="12084"/>
          <ac:spMkLst>
            <pc:docMk/>
            <pc:sldMk cId="576151350" sldId="2076136663"/>
            <ac:spMk id="4" creationId="{F3616A99-090F-45E1-9334-58D58B148205}"/>
          </ac:spMkLst>
        </pc:spChg>
        <pc:graphicFrameChg chg="add del mod">
          <ac:chgData name="Renata Festa" userId="6f22df47-533b-4c2a-a3c1-7f9ad1d63e10" providerId="ADAL" clId="{7D997690-04A4-4675-83D7-2E1CC2ED1A4E}" dt="2020-03-24T14:28:52.771" v="1846" actId="12084"/>
          <ac:graphicFrameMkLst>
            <pc:docMk/>
            <pc:sldMk cId="576151350" sldId="2076136663"/>
            <ac:graphicFrameMk id="5" creationId="{EC7EBDF1-FFDF-43C9-84C2-EB7A13C60F4B}"/>
          </ac:graphicFrameMkLst>
        </pc:graphicFrameChg>
        <pc:graphicFrameChg chg="add mod">
          <ac:chgData name="Renata Festa" userId="6f22df47-533b-4c2a-a3c1-7f9ad1d63e10" providerId="ADAL" clId="{7D997690-04A4-4675-83D7-2E1CC2ED1A4E}" dt="2020-03-24T14:29:03.644" v="1849"/>
          <ac:graphicFrameMkLst>
            <pc:docMk/>
            <pc:sldMk cId="576151350" sldId="2076136663"/>
            <ac:graphicFrameMk id="6" creationId="{B0CC26BA-DFB8-43D6-B002-070DD5FC78D2}"/>
          </ac:graphicFrameMkLst>
        </pc:graphicFrameChg>
        <pc:picChg chg="add del mod">
          <ac:chgData name="Renata Festa" userId="6f22df47-533b-4c2a-a3c1-7f9ad1d63e10" providerId="ADAL" clId="{7D997690-04A4-4675-83D7-2E1CC2ED1A4E}" dt="2020-03-24T14:29:40.095" v="1853" actId="478"/>
          <ac:picMkLst>
            <pc:docMk/>
            <pc:sldMk cId="576151350" sldId="2076136663"/>
            <ac:picMk id="7" creationId="{09A17588-1B8B-4CC9-B57A-0CB297149C65}"/>
          </ac:picMkLst>
        </pc:picChg>
        <pc:picChg chg="add mod">
          <ac:chgData name="Renata Festa" userId="6f22df47-533b-4c2a-a3c1-7f9ad1d63e10" providerId="ADAL" clId="{7D997690-04A4-4675-83D7-2E1CC2ED1A4E}" dt="2020-03-24T14:29:44.552" v="1855" actId="1076"/>
          <ac:picMkLst>
            <pc:docMk/>
            <pc:sldMk cId="576151350" sldId="2076136663"/>
            <ac:picMk id="8" creationId="{2B73BF74-E397-4001-8709-3EF04EE5AAF5}"/>
          </ac:picMkLst>
        </pc:picChg>
        <pc:picChg chg="add mod">
          <ac:chgData name="Renata Festa" userId="6f22df47-533b-4c2a-a3c1-7f9ad1d63e10" providerId="ADAL" clId="{7D997690-04A4-4675-83D7-2E1CC2ED1A4E}" dt="2020-03-24T14:29:46.550" v="1856" actId="1076"/>
          <ac:picMkLst>
            <pc:docMk/>
            <pc:sldMk cId="576151350" sldId="2076136663"/>
            <ac:picMk id="9" creationId="{ACB00820-7537-4EA3-9ADD-D3AFC498FFFB}"/>
          </ac:picMkLst>
        </pc:picChg>
        <pc:picChg chg="add mod">
          <ac:chgData name="Renata Festa" userId="6f22df47-533b-4c2a-a3c1-7f9ad1d63e10" providerId="ADAL" clId="{7D997690-04A4-4675-83D7-2E1CC2ED1A4E}" dt="2020-03-24T14:29:53.519" v="1859" actId="1076"/>
          <ac:picMkLst>
            <pc:docMk/>
            <pc:sldMk cId="576151350" sldId="2076136663"/>
            <ac:picMk id="10" creationId="{40AE1FF2-9AE9-4DA6-9147-EF71D0D8249F}"/>
          </ac:picMkLst>
        </pc:picChg>
      </pc:sldChg>
      <pc:sldChg chg="addSp delSp modSp add mod">
        <pc:chgData name="Renata Festa" userId="6f22df47-533b-4c2a-a3c1-7f9ad1d63e10" providerId="ADAL" clId="{7D997690-04A4-4675-83D7-2E1CC2ED1A4E}" dt="2020-03-24T14:31:10.085" v="1868" actId="478"/>
        <pc:sldMkLst>
          <pc:docMk/>
          <pc:sldMk cId="3049863206" sldId="2076136664"/>
        </pc:sldMkLst>
        <pc:spChg chg="mod">
          <ac:chgData name="Renata Festa" userId="6f22df47-533b-4c2a-a3c1-7f9ad1d63e10" providerId="ADAL" clId="{7D997690-04A4-4675-83D7-2E1CC2ED1A4E}" dt="2020-03-24T14:30:38.369" v="1863"/>
          <ac:spMkLst>
            <pc:docMk/>
            <pc:sldMk cId="3049863206" sldId="2076136664"/>
            <ac:spMk id="2" creationId="{EB67312A-9819-43C6-8D84-D9136E6CFFCC}"/>
          </ac:spMkLst>
        </pc:spChg>
        <pc:spChg chg="del">
          <ac:chgData name="Renata Festa" userId="6f22df47-533b-4c2a-a3c1-7f9ad1d63e10" providerId="ADAL" clId="{7D997690-04A4-4675-83D7-2E1CC2ED1A4E}" dt="2020-03-24T14:30:40.385" v="1864" actId="478"/>
          <ac:spMkLst>
            <pc:docMk/>
            <pc:sldMk cId="3049863206" sldId="2076136664"/>
            <ac:spMk id="3" creationId="{F35E8CBB-5A7D-4DEF-BAF7-8DD5D042F9E0}"/>
          </ac:spMkLst>
        </pc:spChg>
        <pc:spChg chg="del">
          <ac:chgData name="Renata Festa" userId="6f22df47-533b-4c2a-a3c1-7f9ad1d63e10" providerId="ADAL" clId="{7D997690-04A4-4675-83D7-2E1CC2ED1A4E}" dt="2020-03-24T14:31:10.085" v="1868" actId="478"/>
          <ac:spMkLst>
            <pc:docMk/>
            <pc:sldMk cId="3049863206" sldId="2076136664"/>
            <ac:spMk id="4" creationId="{F3616A99-090F-45E1-9334-58D58B148205}"/>
          </ac:spMkLst>
        </pc:spChg>
        <pc:grpChg chg="add mod">
          <ac:chgData name="Renata Festa" userId="6f22df47-533b-4c2a-a3c1-7f9ad1d63e10" providerId="ADAL" clId="{7D997690-04A4-4675-83D7-2E1CC2ED1A4E}" dt="2020-03-24T14:31:06.192" v="1867" actId="1076"/>
          <ac:grpSpMkLst>
            <pc:docMk/>
            <pc:sldMk cId="3049863206" sldId="2076136664"/>
            <ac:grpSpMk id="6" creationId="{FEB1A156-ED79-4838-A564-8DC6D6BE9B89}"/>
          </ac:grpSpMkLst>
        </pc:grpChg>
        <pc:picChg chg="add mod">
          <ac:chgData name="Renata Festa" userId="6f22df47-533b-4c2a-a3c1-7f9ad1d63e10" providerId="ADAL" clId="{7D997690-04A4-4675-83D7-2E1CC2ED1A4E}" dt="2020-03-24T14:31:06.192" v="1867" actId="1076"/>
          <ac:picMkLst>
            <pc:docMk/>
            <pc:sldMk cId="3049863206" sldId="2076136664"/>
            <ac:picMk id="5" creationId="{95C89BAA-9700-4A56-BF3F-1F548076870A}"/>
          </ac:picMkLst>
        </pc:picChg>
      </pc:sldChg>
      <pc:sldChg chg="addSp delSp modSp add mod">
        <pc:chgData name="Renata Festa" userId="6f22df47-533b-4c2a-a3c1-7f9ad1d63e10" providerId="ADAL" clId="{7D997690-04A4-4675-83D7-2E1CC2ED1A4E}" dt="2020-03-24T14:34:38.596" v="1903" actId="478"/>
        <pc:sldMkLst>
          <pc:docMk/>
          <pc:sldMk cId="1771447696" sldId="2076136665"/>
        </pc:sldMkLst>
        <pc:spChg chg="mod">
          <ac:chgData name="Renata Festa" userId="6f22df47-533b-4c2a-a3c1-7f9ad1d63e10" providerId="ADAL" clId="{7D997690-04A4-4675-83D7-2E1CC2ED1A4E}" dt="2020-03-24T14:31:23.263" v="1869"/>
          <ac:spMkLst>
            <pc:docMk/>
            <pc:sldMk cId="1771447696" sldId="2076136665"/>
            <ac:spMk id="2" creationId="{EB67312A-9819-43C6-8D84-D9136E6CFFCC}"/>
          </ac:spMkLst>
        </pc:spChg>
        <pc:spChg chg="del">
          <ac:chgData name="Renata Festa" userId="6f22df47-533b-4c2a-a3c1-7f9ad1d63e10" providerId="ADAL" clId="{7D997690-04A4-4675-83D7-2E1CC2ED1A4E}" dt="2020-03-24T14:32:04.038" v="1871" actId="478"/>
          <ac:spMkLst>
            <pc:docMk/>
            <pc:sldMk cId="1771447696" sldId="2076136665"/>
            <ac:spMk id="3" creationId="{F35E8CBB-5A7D-4DEF-BAF7-8DD5D042F9E0}"/>
          </ac:spMkLst>
        </pc:spChg>
        <pc:spChg chg="del">
          <ac:chgData name="Renata Festa" userId="6f22df47-533b-4c2a-a3c1-7f9ad1d63e10" providerId="ADAL" clId="{7D997690-04A4-4675-83D7-2E1CC2ED1A4E}" dt="2020-03-24T14:34:38.596" v="1903" actId="478"/>
          <ac:spMkLst>
            <pc:docMk/>
            <pc:sldMk cId="1771447696" sldId="2076136665"/>
            <ac:spMk id="4" creationId="{F3616A99-090F-45E1-9334-58D58B148205}"/>
          </ac:spMkLst>
        </pc:spChg>
        <pc:spChg chg="add mod">
          <ac:chgData name="Renata Festa" userId="6f22df47-533b-4c2a-a3c1-7f9ad1d63e10" providerId="ADAL" clId="{7D997690-04A4-4675-83D7-2E1CC2ED1A4E}" dt="2020-03-24T14:34:10.190" v="1899" actId="255"/>
          <ac:spMkLst>
            <pc:docMk/>
            <pc:sldMk cId="1771447696" sldId="2076136665"/>
            <ac:spMk id="5" creationId="{1B692013-58F1-4632-9235-6717EE2F51AE}"/>
          </ac:spMkLst>
        </pc:spChg>
        <pc:spChg chg="add mod">
          <ac:chgData name="Renata Festa" userId="6f22df47-533b-4c2a-a3c1-7f9ad1d63e10" providerId="ADAL" clId="{7D997690-04A4-4675-83D7-2E1CC2ED1A4E}" dt="2020-03-24T14:34:22.257" v="1902" actId="1035"/>
          <ac:spMkLst>
            <pc:docMk/>
            <pc:sldMk cId="1771447696" sldId="2076136665"/>
            <ac:spMk id="6" creationId="{66466FC2-9E0C-4FEC-8A90-3FC7EE50CB7B}"/>
          </ac:spMkLst>
        </pc:spChg>
        <pc:graphicFrameChg chg="add mod">
          <ac:chgData name="Renata Festa" userId="6f22df47-533b-4c2a-a3c1-7f9ad1d63e10" providerId="ADAL" clId="{7D997690-04A4-4675-83D7-2E1CC2ED1A4E}" dt="2020-03-24T14:32:09.234" v="1873" actId="14100"/>
          <ac:graphicFrameMkLst>
            <pc:docMk/>
            <pc:sldMk cId="1771447696" sldId="2076136665"/>
            <ac:graphicFrameMk id="7" creationId="{64378160-055A-44F2-8448-BDD4510F54B6}"/>
          </ac:graphicFrameMkLst>
        </pc:graphicFrameChg>
        <pc:picChg chg="add mod">
          <ac:chgData name="Renata Festa" userId="6f22df47-533b-4c2a-a3c1-7f9ad1d63e10" providerId="ADAL" clId="{7D997690-04A4-4675-83D7-2E1CC2ED1A4E}" dt="2020-03-24T14:32:17.426" v="1874" actId="14100"/>
          <ac:picMkLst>
            <pc:docMk/>
            <pc:sldMk cId="1771447696" sldId="2076136665"/>
            <ac:picMk id="8" creationId="{DB20293E-6905-4CEF-B912-B88E0BF99EC3}"/>
          </ac:picMkLst>
        </pc:picChg>
      </pc:sldChg>
      <pc:sldChg chg="add del">
        <pc:chgData name="Renata Festa" userId="6f22df47-533b-4c2a-a3c1-7f9ad1d63e10" providerId="ADAL" clId="{7D997690-04A4-4675-83D7-2E1CC2ED1A4E}" dt="2020-03-24T14:36:05.716" v="1919" actId="47"/>
        <pc:sldMkLst>
          <pc:docMk/>
          <pc:sldMk cId="998567750" sldId="2076136666"/>
        </pc:sldMkLst>
      </pc:sldChg>
      <pc:sldChg chg="add del">
        <pc:chgData name="Renata Festa" userId="6f22df47-533b-4c2a-a3c1-7f9ad1d63e10" providerId="ADAL" clId="{7D997690-04A4-4675-83D7-2E1CC2ED1A4E}" dt="2020-03-24T14:36:05.993" v="1920" actId="47"/>
        <pc:sldMkLst>
          <pc:docMk/>
          <pc:sldMk cId="3989791203" sldId="2076136667"/>
        </pc:sldMkLst>
      </pc:sldChg>
      <pc:sldChg chg="modSp add mod modNotesTx">
        <pc:chgData name="Renata Festa" userId="6f22df47-533b-4c2a-a3c1-7f9ad1d63e10" providerId="ADAL" clId="{7D997690-04A4-4675-83D7-2E1CC2ED1A4E}" dt="2020-03-24T14:35:11.403" v="1910" actId="20577"/>
        <pc:sldMkLst>
          <pc:docMk/>
          <pc:sldMk cId="2839060334" sldId="2076136668"/>
        </pc:sldMkLst>
        <pc:spChg chg="mod">
          <ac:chgData name="Renata Festa" userId="6f22df47-533b-4c2a-a3c1-7f9ad1d63e10" providerId="ADAL" clId="{7D997690-04A4-4675-83D7-2E1CC2ED1A4E}" dt="2020-03-24T14:34:57.380" v="1906"/>
          <ac:spMkLst>
            <pc:docMk/>
            <pc:sldMk cId="2839060334" sldId="2076136668"/>
            <ac:spMk id="3" creationId="{8F64A22E-2B43-4FC6-AF08-0CDB3F9E9269}"/>
          </ac:spMkLst>
        </pc:spChg>
        <pc:spChg chg="mod">
          <ac:chgData name="Renata Festa" userId="6f22df47-533b-4c2a-a3c1-7f9ad1d63e10" providerId="ADAL" clId="{7D997690-04A4-4675-83D7-2E1CC2ED1A4E}" dt="2020-03-24T14:35:04.791" v="1907" actId="12"/>
          <ac:spMkLst>
            <pc:docMk/>
            <pc:sldMk cId="2839060334" sldId="2076136668"/>
            <ac:spMk id="6" creationId="{637E159C-9ACF-48AE-927A-D5FB13695C7F}"/>
          </ac:spMkLst>
        </pc:spChg>
      </pc:sldChg>
      <pc:sldChg chg="modSp add mod">
        <pc:chgData name="Renata Festa" userId="6f22df47-533b-4c2a-a3c1-7f9ad1d63e10" providerId="ADAL" clId="{7D997690-04A4-4675-83D7-2E1CC2ED1A4E}" dt="2020-03-24T14:35:42.622" v="1918" actId="20577"/>
        <pc:sldMkLst>
          <pc:docMk/>
          <pc:sldMk cId="2024735957" sldId="2076136669"/>
        </pc:sldMkLst>
        <pc:spChg chg="mod">
          <ac:chgData name="Renata Festa" userId="6f22df47-533b-4c2a-a3c1-7f9ad1d63e10" providerId="ADAL" clId="{7D997690-04A4-4675-83D7-2E1CC2ED1A4E}" dt="2020-03-24T14:35:28.997" v="1912"/>
          <ac:spMkLst>
            <pc:docMk/>
            <pc:sldMk cId="2024735957" sldId="2076136669"/>
            <ac:spMk id="2" creationId="{BC57B38C-8413-4861-A4F5-7DF656AEAD0D}"/>
          </ac:spMkLst>
        </pc:spChg>
        <pc:spChg chg="mod">
          <ac:chgData name="Renata Festa" userId="6f22df47-533b-4c2a-a3c1-7f9ad1d63e10" providerId="ADAL" clId="{7D997690-04A4-4675-83D7-2E1CC2ED1A4E}" dt="2020-03-24T14:35:42.622" v="1918" actId="20577"/>
          <ac:spMkLst>
            <pc:docMk/>
            <pc:sldMk cId="2024735957" sldId="2076136669"/>
            <ac:spMk id="3" creationId="{4897B8F8-26DF-42FB-ACB0-59929F1C2344}"/>
          </ac:spMkLst>
        </pc:spChg>
      </pc:sldChg>
      <pc:sldChg chg="addSp delSp modSp add mod modAnim">
        <pc:chgData name="Renata Festa" userId="6f22df47-533b-4c2a-a3c1-7f9ad1d63e10" providerId="ADAL" clId="{7D997690-04A4-4675-83D7-2E1CC2ED1A4E}" dt="2020-03-24T15:51:46.850" v="1955" actId="478"/>
        <pc:sldMkLst>
          <pc:docMk/>
          <pc:sldMk cId="2879606409" sldId="2076136670"/>
        </pc:sldMkLst>
        <pc:spChg chg="mod">
          <ac:chgData name="Renata Festa" userId="6f22df47-533b-4c2a-a3c1-7f9ad1d63e10" providerId="ADAL" clId="{7D997690-04A4-4675-83D7-2E1CC2ED1A4E}" dt="2020-03-24T15:51:00.981" v="1947"/>
          <ac:spMkLst>
            <pc:docMk/>
            <pc:sldMk cId="2879606409" sldId="2076136670"/>
            <ac:spMk id="2" creationId="{EB67312A-9819-43C6-8D84-D9136E6CFFCC}"/>
          </ac:spMkLst>
        </pc:spChg>
        <pc:spChg chg="del">
          <ac:chgData name="Renata Festa" userId="6f22df47-533b-4c2a-a3c1-7f9ad1d63e10" providerId="ADAL" clId="{7D997690-04A4-4675-83D7-2E1CC2ED1A4E}" dt="2020-03-24T15:51:02.484" v="1948" actId="478"/>
          <ac:spMkLst>
            <pc:docMk/>
            <pc:sldMk cId="2879606409" sldId="2076136670"/>
            <ac:spMk id="3" creationId="{F35E8CBB-5A7D-4DEF-BAF7-8DD5D042F9E0}"/>
          </ac:spMkLst>
        </pc:spChg>
        <pc:spChg chg="del">
          <ac:chgData name="Renata Festa" userId="6f22df47-533b-4c2a-a3c1-7f9ad1d63e10" providerId="ADAL" clId="{7D997690-04A4-4675-83D7-2E1CC2ED1A4E}" dt="2020-03-24T15:51:46.850" v="1955" actId="478"/>
          <ac:spMkLst>
            <pc:docMk/>
            <pc:sldMk cId="2879606409" sldId="2076136670"/>
            <ac:spMk id="4" creationId="{F3616A99-090F-45E1-9334-58D58B148205}"/>
          </ac:spMkLst>
        </pc:spChg>
        <pc:graphicFrameChg chg="add del">
          <ac:chgData name="Renata Festa" userId="6f22df47-533b-4c2a-a3c1-7f9ad1d63e10" providerId="ADAL" clId="{7D997690-04A4-4675-83D7-2E1CC2ED1A4E}" dt="2020-03-24T15:51:09.547" v="1950"/>
          <ac:graphicFrameMkLst>
            <pc:docMk/>
            <pc:sldMk cId="2879606409" sldId="2076136670"/>
            <ac:graphicFrameMk id="5" creationId="{9FBD9263-4749-47A2-95C1-2524443E8FA6}"/>
          </ac:graphicFrameMkLst>
        </pc:graphicFrameChg>
        <pc:graphicFrameChg chg="add mod">
          <ac:chgData name="Renata Festa" userId="6f22df47-533b-4c2a-a3c1-7f9ad1d63e10" providerId="ADAL" clId="{7D997690-04A4-4675-83D7-2E1CC2ED1A4E}" dt="2020-03-24T15:51:43.539" v="1954" actId="12100"/>
          <ac:graphicFrameMkLst>
            <pc:docMk/>
            <pc:sldMk cId="2879606409" sldId="2076136670"/>
            <ac:graphicFrameMk id="6" creationId="{B68167DA-22DB-4214-BAC5-D22824BDF6AC}"/>
          </ac:graphicFrameMkLst>
        </pc:graphicFrameChg>
      </pc:sldChg>
      <pc:sldChg chg="addSp delSp modSp add mod">
        <pc:chgData name="Renata Festa" userId="6f22df47-533b-4c2a-a3c1-7f9ad1d63e10" providerId="ADAL" clId="{7D997690-04A4-4675-83D7-2E1CC2ED1A4E}" dt="2020-03-24T15:54:26.523" v="2000" actId="1076"/>
        <pc:sldMkLst>
          <pc:docMk/>
          <pc:sldMk cId="664316681" sldId="2076136671"/>
        </pc:sldMkLst>
        <pc:spChg chg="mod">
          <ac:chgData name="Renata Festa" userId="6f22df47-533b-4c2a-a3c1-7f9ad1d63e10" providerId="ADAL" clId="{7D997690-04A4-4675-83D7-2E1CC2ED1A4E}" dt="2020-03-24T15:51:55.723" v="1956"/>
          <ac:spMkLst>
            <pc:docMk/>
            <pc:sldMk cId="664316681" sldId="2076136671"/>
            <ac:spMk id="2" creationId="{EB67312A-9819-43C6-8D84-D9136E6CFFCC}"/>
          </ac:spMkLst>
        </pc:spChg>
        <pc:spChg chg="del">
          <ac:chgData name="Renata Festa" userId="6f22df47-533b-4c2a-a3c1-7f9ad1d63e10" providerId="ADAL" clId="{7D997690-04A4-4675-83D7-2E1CC2ED1A4E}" dt="2020-03-24T15:53:22.384" v="1981" actId="478"/>
          <ac:spMkLst>
            <pc:docMk/>
            <pc:sldMk cId="664316681" sldId="2076136671"/>
            <ac:spMk id="3" creationId="{F35E8CBB-5A7D-4DEF-BAF7-8DD5D042F9E0}"/>
          </ac:spMkLst>
        </pc:spChg>
        <pc:spChg chg="del">
          <ac:chgData name="Renata Festa" userId="6f22df47-533b-4c2a-a3c1-7f9ad1d63e10" providerId="ADAL" clId="{7D997690-04A4-4675-83D7-2E1CC2ED1A4E}" dt="2020-03-24T15:53:38.777" v="1985" actId="478"/>
          <ac:spMkLst>
            <pc:docMk/>
            <pc:sldMk cId="664316681" sldId="2076136671"/>
            <ac:spMk id="4" creationId="{F3616A99-090F-45E1-9334-58D58B148205}"/>
          </ac:spMkLst>
        </pc:spChg>
        <pc:spChg chg="add del mod">
          <ac:chgData name="Renata Festa" userId="6f22df47-533b-4c2a-a3c1-7f9ad1d63e10" providerId="ADAL" clId="{7D997690-04A4-4675-83D7-2E1CC2ED1A4E}" dt="2020-03-24T15:53:55.533" v="1992" actId="478"/>
          <ac:spMkLst>
            <pc:docMk/>
            <pc:sldMk cId="664316681" sldId="2076136671"/>
            <ac:spMk id="6" creationId="{01E4C36C-2A9B-4E6A-8E78-9EEEEB99D856}"/>
          </ac:spMkLst>
        </pc:spChg>
        <pc:spChg chg="add mod">
          <ac:chgData name="Renata Festa" userId="6f22df47-533b-4c2a-a3c1-7f9ad1d63e10" providerId="ADAL" clId="{7D997690-04A4-4675-83D7-2E1CC2ED1A4E}" dt="2020-03-24T15:53:48.945" v="1989"/>
          <ac:spMkLst>
            <pc:docMk/>
            <pc:sldMk cId="664316681" sldId="2076136671"/>
            <ac:spMk id="7" creationId="{C67BE61E-29F5-4FAD-8EE0-9646617BD1DB}"/>
          </ac:spMkLst>
        </pc:spChg>
        <pc:spChg chg="add mod">
          <ac:chgData name="Renata Festa" userId="6f22df47-533b-4c2a-a3c1-7f9ad1d63e10" providerId="ADAL" clId="{7D997690-04A4-4675-83D7-2E1CC2ED1A4E}" dt="2020-03-24T15:54:26.523" v="2000" actId="1076"/>
          <ac:spMkLst>
            <pc:docMk/>
            <pc:sldMk cId="664316681" sldId="2076136671"/>
            <ac:spMk id="8" creationId="{8AF1641E-23D0-4B65-A1FB-048F880B4FF4}"/>
          </ac:spMkLst>
        </pc:spChg>
        <pc:graphicFrameChg chg="add del mod modGraphic">
          <ac:chgData name="Renata Festa" userId="6f22df47-533b-4c2a-a3c1-7f9ad1d63e10" providerId="ADAL" clId="{7D997690-04A4-4675-83D7-2E1CC2ED1A4E}" dt="2020-03-24T15:54:11.149" v="1998" actId="572"/>
          <ac:graphicFrameMkLst>
            <pc:docMk/>
            <pc:sldMk cId="664316681" sldId="2076136671"/>
            <ac:graphicFrameMk id="5" creationId="{C08CE232-D447-467A-942B-7BF0381757EE}"/>
          </ac:graphicFrameMkLst>
        </pc:graphicFrameChg>
      </pc:sldChg>
      <pc:sldChg chg="addSp delSp modSp add mod">
        <pc:chgData name="Renata Festa" userId="6f22df47-533b-4c2a-a3c1-7f9ad1d63e10" providerId="ADAL" clId="{7D997690-04A4-4675-83D7-2E1CC2ED1A4E}" dt="2020-03-24T15:55:30.010" v="2018" actId="1076"/>
        <pc:sldMkLst>
          <pc:docMk/>
          <pc:sldMk cId="357102091" sldId="2076136672"/>
        </pc:sldMkLst>
        <pc:spChg chg="mod">
          <ac:chgData name="Renata Festa" userId="6f22df47-533b-4c2a-a3c1-7f9ad1d63e10" providerId="ADAL" clId="{7D997690-04A4-4675-83D7-2E1CC2ED1A4E}" dt="2020-03-24T15:54:48.939" v="2001"/>
          <ac:spMkLst>
            <pc:docMk/>
            <pc:sldMk cId="357102091" sldId="2076136672"/>
            <ac:spMk id="2" creationId="{EB67312A-9819-43C6-8D84-D9136E6CFFCC}"/>
          </ac:spMkLst>
        </pc:spChg>
        <pc:spChg chg="del">
          <ac:chgData name="Renata Festa" userId="6f22df47-533b-4c2a-a3c1-7f9ad1d63e10" providerId="ADAL" clId="{7D997690-04A4-4675-83D7-2E1CC2ED1A4E}" dt="2020-03-24T15:54:51.082" v="2002" actId="478"/>
          <ac:spMkLst>
            <pc:docMk/>
            <pc:sldMk cId="357102091" sldId="2076136672"/>
            <ac:spMk id="3" creationId="{F35E8CBB-5A7D-4DEF-BAF7-8DD5D042F9E0}"/>
          </ac:spMkLst>
        </pc:spChg>
        <pc:spChg chg="mod">
          <ac:chgData name="Renata Festa" userId="6f22df47-533b-4c2a-a3c1-7f9ad1d63e10" providerId="ADAL" clId="{7D997690-04A4-4675-83D7-2E1CC2ED1A4E}" dt="2020-03-24T15:55:08.671" v="2013"/>
          <ac:spMkLst>
            <pc:docMk/>
            <pc:sldMk cId="357102091" sldId="2076136672"/>
            <ac:spMk id="4" creationId="{F3616A99-090F-45E1-9334-58D58B148205}"/>
          </ac:spMkLst>
        </pc:spChg>
        <pc:spChg chg="add mod">
          <ac:chgData name="Renata Festa" userId="6f22df47-533b-4c2a-a3c1-7f9ad1d63e10" providerId="ADAL" clId="{7D997690-04A4-4675-83D7-2E1CC2ED1A4E}" dt="2020-03-24T15:55:30.010" v="2018" actId="1076"/>
          <ac:spMkLst>
            <pc:docMk/>
            <pc:sldMk cId="357102091" sldId="2076136672"/>
            <ac:spMk id="7" creationId="{88B10235-2D67-43D5-AC42-1C99431C3D93}"/>
          </ac:spMkLst>
        </pc:spChg>
        <pc:graphicFrameChg chg="add del">
          <ac:chgData name="Renata Festa" userId="6f22df47-533b-4c2a-a3c1-7f9ad1d63e10" providerId="ADAL" clId="{7D997690-04A4-4675-83D7-2E1CC2ED1A4E}" dt="2020-03-24T15:55:04.382" v="2004"/>
          <ac:graphicFrameMkLst>
            <pc:docMk/>
            <pc:sldMk cId="357102091" sldId="2076136672"/>
            <ac:graphicFrameMk id="5" creationId="{7D5FC0E9-A25F-4E62-ACD9-9F9311D8905C}"/>
          </ac:graphicFrameMkLst>
        </pc:graphicFrameChg>
        <pc:graphicFrameChg chg="add mod modGraphic">
          <ac:chgData name="Renata Festa" userId="6f22df47-533b-4c2a-a3c1-7f9ad1d63e10" providerId="ADAL" clId="{7D997690-04A4-4675-83D7-2E1CC2ED1A4E}" dt="2020-03-24T15:55:17.898" v="2016" actId="14100"/>
          <ac:graphicFrameMkLst>
            <pc:docMk/>
            <pc:sldMk cId="357102091" sldId="2076136672"/>
            <ac:graphicFrameMk id="6" creationId="{40D25BCA-181A-4CF5-B031-3C6F0F7350DA}"/>
          </ac:graphicFrameMkLst>
        </pc:graphicFrameChg>
      </pc:sldChg>
      <pc:sldChg chg="addSp delSp modSp add mod">
        <pc:chgData name="Renata Festa" userId="6f22df47-533b-4c2a-a3c1-7f9ad1d63e10" providerId="ADAL" clId="{7D997690-04A4-4675-83D7-2E1CC2ED1A4E}" dt="2020-03-24T15:56:18.851" v="2027" actId="478"/>
        <pc:sldMkLst>
          <pc:docMk/>
          <pc:sldMk cId="1100248008" sldId="2076136673"/>
        </pc:sldMkLst>
        <pc:spChg chg="mod">
          <ac:chgData name="Renata Festa" userId="6f22df47-533b-4c2a-a3c1-7f9ad1d63e10" providerId="ADAL" clId="{7D997690-04A4-4675-83D7-2E1CC2ED1A4E}" dt="2020-03-24T15:55:52.174" v="2021"/>
          <ac:spMkLst>
            <pc:docMk/>
            <pc:sldMk cId="1100248008" sldId="2076136673"/>
            <ac:spMk id="2" creationId="{EB67312A-9819-43C6-8D84-D9136E6CFFCC}"/>
          </ac:spMkLst>
        </pc:spChg>
        <pc:spChg chg="del">
          <ac:chgData name="Renata Festa" userId="6f22df47-533b-4c2a-a3c1-7f9ad1d63e10" providerId="ADAL" clId="{7D997690-04A4-4675-83D7-2E1CC2ED1A4E}" dt="2020-03-24T15:56:18.851" v="2027" actId="478"/>
          <ac:spMkLst>
            <pc:docMk/>
            <pc:sldMk cId="1100248008" sldId="2076136673"/>
            <ac:spMk id="3" creationId="{F35E8CBB-5A7D-4DEF-BAF7-8DD5D042F9E0}"/>
          </ac:spMkLst>
        </pc:spChg>
        <pc:spChg chg="add">
          <ac:chgData name="Renata Festa" userId="6f22df47-533b-4c2a-a3c1-7f9ad1d63e10" providerId="ADAL" clId="{7D997690-04A4-4675-83D7-2E1CC2ED1A4E}" dt="2020-03-24T15:56:11.708" v="2026"/>
          <ac:spMkLst>
            <pc:docMk/>
            <pc:sldMk cId="1100248008" sldId="2076136673"/>
            <ac:spMk id="7" creationId="{DAE99AA9-F838-4078-8117-D495A500AF58}"/>
          </ac:spMkLst>
        </pc:spChg>
        <pc:graphicFrameChg chg="add mod modGraphic">
          <ac:chgData name="Renata Festa" userId="6f22df47-533b-4c2a-a3c1-7f9ad1d63e10" providerId="ADAL" clId="{7D997690-04A4-4675-83D7-2E1CC2ED1A4E}" dt="2020-03-24T15:56:07.391" v="2025" actId="14100"/>
          <ac:graphicFrameMkLst>
            <pc:docMk/>
            <pc:sldMk cId="1100248008" sldId="2076136673"/>
            <ac:graphicFrameMk id="6" creationId="{EA658248-1496-4FAD-9CFE-BAE13B30DA44}"/>
          </ac:graphicFrameMkLst>
        </pc:graphicFrameChg>
        <pc:picChg chg="add del">
          <ac:chgData name="Renata Festa" userId="6f22df47-533b-4c2a-a3c1-7f9ad1d63e10" providerId="ADAL" clId="{7D997690-04A4-4675-83D7-2E1CC2ED1A4E}" dt="2020-03-24T15:55:49.490" v="2020"/>
          <ac:picMkLst>
            <pc:docMk/>
            <pc:sldMk cId="1100248008" sldId="2076136673"/>
            <ac:picMk id="5" creationId="{C016A3BA-EA1B-479E-BE85-5A0AB53B847B}"/>
          </ac:picMkLst>
        </pc:picChg>
      </pc:sldChg>
      <pc:sldChg chg="addSp delSp modSp add mod modAnim">
        <pc:chgData name="Renata Festa" userId="6f22df47-533b-4c2a-a3c1-7f9ad1d63e10" providerId="ADAL" clId="{7D997690-04A4-4675-83D7-2E1CC2ED1A4E}" dt="2020-03-24T15:58:18.970" v="2047"/>
        <pc:sldMkLst>
          <pc:docMk/>
          <pc:sldMk cId="1400860027" sldId="2076136674"/>
        </pc:sldMkLst>
        <pc:spChg chg="mod">
          <ac:chgData name="Renata Festa" userId="6f22df47-533b-4c2a-a3c1-7f9ad1d63e10" providerId="ADAL" clId="{7D997690-04A4-4675-83D7-2E1CC2ED1A4E}" dt="2020-03-24T15:56:35.406" v="2028"/>
          <ac:spMkLst>
            <pc:docMk/>
            <pc:sldMk cId="1400860027" sldId="2076136674"/>
            <ac:spMk id="2" creationId="{EB67312A-9819-43C6-8D84-D9136E6CFFCC}"/>
          </ac:spMkLst>
        </pc:spChg>
        <pc:spChg chg="del">
          <ac:chgData name="Renata Festa" userId="6f22df47-533b-4c2a-a3c1-7f9ad1d63e10" providerId="ADAL" clId="{7D997690-04A4-4675-83D7-2E1CC2ED1A4E}" dt="2020-03-24T15:56:45.781" v="2029" actId="478"/>
          <ac:spMkLst>
            <pc:docMk/>
            <pc:sldMk cId="1400860027" sldId="2076136674"/>
            <ac:spMk id="3" creationId="{F35E8CBB-5A7D-4DEF-BAF7-8DD5D042F9E0}"/>
          </ac:spMkLst>
        </pc:spChg>
        <pc:spChg chg="del mod">
          <ac:chgData name="Renata Festa" userId="6f22df47-533b-4c2a-a3c1-7f9ad1d63e10" providerId="ADAL" clId="{7D997690-04A4-4675-83D7-2E1CC2ED1A4E}" dt="2020-03-24T15:57:18.045" v="2032" actId="12084"/>
          <ac:spMkLst>
            <pc:docMk/>
            <pc:sldMk cId="1400860027" sldId="2076136674"/>
            <ac:spMk id="4" creationId="{F3616A99-090F-45E1-9334-58D58B148205}"/>
          </ac:spMkLst>
        </pc:spChg>
        <pc:graphicFrameChg chg="add mod">
          <ac:chgData name="Renata Festa" userId="6f22df47-533b-4c2a-a3c1-7f9ad1d63e10" providerId="ADAL" clId="{7D997690-04A4-4675-83D7-2E1CC2ED1A4E}" dt="2020-03-24T15:57:27.714" v="2037" actId="14100"/>
          <ac:graphicFrameMkLst>
            <pc:docMk/>
            <pc:sldMk cId="1400860027" sldId="2076136674"/>
            <ac:graphicFrameMk id="5" creationId="{44C78A62-EAD4-4FB9-BEC8-25D4F06D852F}"/>
          </ac:graphicFrameMkLst>
        </pc:graphicFrameChg>
        <pc:picChg chg="add mod">
          <ac:chgData name="Renata Festa" userId="6f22df47-533b-4c2a-a3c1-7f9ad1d63e10" providerId="ADAL" clId="{7D997690-04A4-4675-83D7-2E1CC2ED1A4E}" dt="2020-03-24T15:57:54.479" v="2042" actId="1076"/>
          <ac:picMkLst>
            <pc:docMk/>
            <pc:sldMk cId="1400860027" sldId="2076136674"/>
            <ac:picMk id="6" creationId="{E66EA2D7-AED2-4652-8892-180336D938C4}"/>
          </ac:picMkLst>
        </pc:picChg>
        <pc:picChg chg="add mod">
          <ac:chgData name="Renata Festa" userId="6f22df47-533b-4c2a-a3c1-7f9ad1d63e10" providerId="ADAL" clId="{7D997690-04A4-4675-83D7-2E1CC2ED1A4E}" dt="2020-03-24T15:57:58.224" v="2043" actId="1076"/>
          <ac:picMkLst>
            <pc:docMk/>
            <pc:sldMk cId="1400860027" sldId="2076136674"/>
            <ac:picMk id="7" creationId="{EC37E3C9-455E-4A08-8E01-D42330900664}"/>
          </ac:picMkLst>
        </pc:picChg>
        <pc:picChg chg="add mod">
          <ac:chgData name="Renata Festa" userId="6f22df47-533b-4c2a-a3c1-7f9ad1d63e10" providerId="ADAL" clId="{7D997690-04A4-4675-83D7-2E1CC2ED1A4E}" dt="2020-03-24T15:58:01.023" v="2044" actId="1076"/>
          <ac:picMkLst>
            <pc:docMk/>
            <pc:sldMk cId="1400860027" sldId="2076136674"/>
            <ac:picMk id="8" creationId="{B2E57862-4703-4437-A014-D74FBEE2DE8B}"/>
          </ac:picMkLst>
        </pc:picChg>
      </pc:sldChg>
      <pc:sldChg chg="addSp delSp modSp add mod modAnim">
        <pc:chgData name="Renata Festa" userId="6f22df47-533b-4c2a-a3c1-7f9ad1d63e10" providerId="ADAL" clId="{7D997690-04A4-4675-83D7-2E1CC2ED1A4E}" dt="2020-03-24T16:00:30.315" v="2066" actId="207"/>
        <pc:sldMkLst>
          <pc:docMk/>
          <pc:sldMk cId="1054617868" sldId="2076136675"/>
        </pc:sldMkLst>
        <pc:spChg chg="mod">
          <ac:chgData name="Renata Festa" userId="6f22df47-533b-4c2a-a3c1-7f9ad1d63e10" providerId="ADAL" clId="{7D997690-04A4-4675-83D7-2E1CC2ED1A4E}" dt="2020-03-24T15:58:40.477" v="2048"/>
          <ac:spMkLst>
            <pc:docMk/>
            <pc:sldMk cId="1054617868" sldId="2076136675"/>
            <ac:spMk id="2" creationId="{EB67312A-9819-43C6-8D84-D9136E6CFFCC}"/>
          </ac:spMkLst>
        </pc:spChg>
        <pc:spChg chg="del">
          <ac:chgData name="Renata Festa" userId="6f22df47-533b-4c2a-a3c1-7f9ad1d63e10" providerId="ADAL" clId="{7D997690-04A4-4675-83D7-2E1CC2ED1A4E}" dt="2020-03-24T15:58:43.721" v="2049" actId="478"/>
          <ac:spMkLst>
            <pc:docMk/>
            <pc:sldMk cId="1054617868" sldId="2076136675"/>
            <ac:spMk id="3" creationId="{F35E8CBB-5A7D-4DEF-BAF7-8DD5D042F9E0}"/>
          </ac:spMkLst>
        </pc:spChg>
        <pc:spChg chg="del">
          <ac:chgData name="Renata Festa" userId="6f22df47-533b-4c2a-a3c1-7f9ad1d63e10" providerId="ADAL" clId="{7D997690-04A4-4675-83D7-2E1CC2ED1A4E}" dt="2020-03-24T15:59:43.628" v="2062" actId="478"/>
          <ac:spMkLst>
            <pc:docMk/>
            <pc:sldMk cId="1054617868" sldId="2076136675"/>
            <ac:spMk id="4" creationId="{F3616A99-090F-45E1-9334-58D58B148205}"/>
          </ac:spMkLst>
        </pc:spChg>
        <pc:spChg chg="add mod">
          <ac:chgData name="Renata Festa" userId="6f22df47-533b-4c2a-a3c1-7f9ad1d63e10" providerId="ADAL" clId="{7D997690-04A4-4675-83D7-2E1CC2ED1A4E}" dt="2020-03-24T15:59:34.340" v="2060" actId="1076"/>
          <ac:spMkLst>
            <pc:docMk/>
            <pc:sldMk cId="1054617868" sldId="2076136675"/>
            <ac:spMk id="6" creationId="{3CFE9213-1A71-4679-841F-E6CBB3120C13}"/>
          </ac:spMkLst>
        </pc:spChg>
        <pc:spChg chg="add mod">
          <ac:chgData name="Renata Festa" userId="6f22df47-533b-4c2a-a3c1-7f9ad1d63e10" providerId="ADAL" clId="{7D997690-04A4-4675-83D7-2E1CC2ED1A4E}" dt="2020-03-24T15:59:22.063" v="2059" actId="1036"/>
          <ac:spMkLst>
            <pc:docMk/>
            <pc:sldMk cId="1054617868" sldId="2076136675"/>
            <ac:spMk id="7" creationId="{DCE0CE41-4385-4376-8F60-CAD13D6DD112}"/>
          </ac:spMkLst>
        </pc:spChg>
        <pc:spChg chg="add mod">
          <ac:chgData name="Renata Festa" userId="6f22df47-533b-4c2a-a3c1-7f9ad1d63e10" providerId="ADAL" clId="{7D997690-04A4-4675-83D7-2E1CC2ED1A4E}" dt="2020-03-24T15:59:08.401" v="2055" actId="14100"/>
          <ac:spMkLst>
            <pc:docMk/>
            <pc:sldMk cId="1054617868" sldId="2076136675"/>
            <ac:spMk id="8" creationId="{142B4518-06DA-4861-AD4A-A9FE019AFD30}"/>
          </ac:spMkLst>
        </pc:spChg>
        <pc:spChg chg="add mod">
          <ac:chgData name="Renata Festa" userId="6f22df47-533b-4c2a-a3c1-7f9ad1d63e10" providerId="ADAL" clId="{7D997690-04A4-4675-83D7-2E1CC2ED1A4E}" dt="2020-03-24T15:59:39.589" v="2061" actId="1076"/>
          <ac:spMkLst>
            <pc:docMk/>
            <pc:sldMk cId="1054617868" sldId="2076136675"/>
            <ac:spMk id="9" creationId="{272882A4-8A9A-4948-A8FB-F4249FDF6B94}"/>
          </ac:spMkLst>
        </pc:spChg>
        <pc:graphicFrameChg chg="add mod">
          <ac:chgData name="Renata Festa" userId="6f22df47-533b-4c2a-a3c1-7f9ad1d63e10" providerId="ADAL" clId="{7D997690-04A4-4675-83D7-2E1CC2ED1A4E}" dt="2020-03-24T16:00:30.315" v="2066" actId="207"/>
          <ac:graphicFrameMkLst>
            <pc:docMk/>
            <pc:sldMk cId="1054617868" sldId="2076136675"/>
            <ac:graphicFrameMk id="5" creationId="{31C52AB4-1B8A-4E16-BFF8-15102DBA4177}"/>
          </ac:graphicFrameMkLst>
        </pc:graphicFrameChg>
      </pc:sldChg>
      <pc:sldChg chg="addSp delSp modSp add mod">
        <pc:chgData name="Renata Festa" userId="6f22df47-533b-4c2a-a3c1-7f9ad1d63e10" providerId="ADAL" clId="{7D997690-04A4-4675-83D7-2E1CC2ED1A4E}" dt="2020-03-24T16:01:33.207" v="2086" actId="478"/>
        <pc:sldMkLst>
          <pc:docMk/>
          <pc:sldMk cId="1776456625" sldId="2076136676"/>
        </pc:sldMkLst>
        <pc:spChg chg="mod">
          <ac:chgData name="Renata Festa" userId="6f22df47-533b-4c2a-a3c1-7f9ad1d63e10" providerId="ADAL" clId="{7D997690-04A4-4675-83D7-2E1CC2ED1A4E}" dt="2020-03-24T16:01:02.398" v="2081"/>
          <ac:spMkLst>
            <pc:docMk/>
            <pc:sldMk cId="1776456625" sldId="2076136676"/>
            <ac:spMk id="2" creationId="{EB67312A-9819-43C6-8D84-D9136E6CFFCC}"/>
          </ac:spMkLst>
        </pc:spChg>
        <pc:spChg chg="del">
          <ac:chgData name="Renata Festa" userId="6f22df47-533b-4c2a-a3c1-7f9ad1d63e10" providerId="ADAL" clId="{7D997690-04A4-4675-83D7-2E1CC2ED1A4E}" dt="2020-03-24T16:01:04.156" v="2082" actId="478"/>
          <ac:spMkLst>
            <pc:docMk/>
            <pc:sldMk cId="1776456625" sldId="2076136676"/>
            <ac:spMk id="3" creationId="{F35E8CBB-5A7D-4DEF-BAF7-8DD5D042F9E0}"/>
          </ac:spMkLst>
        </pc:spChg>
        <pc:spChg chg="del mod">
          <ac:chgData name="Renata Festa" userId="6f22df47-533b-4c2a-a3c1-7f9ad1d63e10" providerId="ADAL" clId="{7D997690-04A4-4675-83D7-2E1CC2ED1A4E}" dt="2020-03-24T16:01:21.985" v="2084" actId="12084"/>
          <ac:spMkLst>
            <pc:docMk/>
            <pc:sldMk cId="1776456625" sldId="2076136676"/>
            <ac:spMk id="4" creationId="{F3616A99-090F-45E1-9334-58D58B148205}"/>
          </ac:spMkLst>
        </pc:spChg>
        <pc:spChg chg="add del mod">
          <ac:chgData name="Renata Festa" userId="6f22df47-533b-4c2a-a3c1-7f9ad1d63e10" providerId="ADAL" clId="{7D997690-04A4-4675-83D7-2E1CC2ED1A4E}" dt="2020-03-24T16:01:33.207" v="2086" actId="478"/>
          <ac:spMkLst>
            <pc:docMk/>
            <pc:sldMk cId="1776456625" sldId="2076136676"/>
            <ac:spMk id="6" creationId="{38671183-4C86-4843-994D-CC01C7EA80EC}"/>
          </ac:spMkLst>
        </pc:spChg>
        <pc:graphicFrameChg chg="add mod">
          <ac:chgData name="Renata Festa" userId="6f22df47-533b-4c2a-a3c1-7f9ad1d63e10" providerId="ADAL" clId="{7D997690-04A4-4675-83D7-2E1CC2ED1A4E}" dt="2020-03-24T16:01:21.985" v="2084" actId="12084"/>
          <ac:graphicFrameMkLst>
            <pc:docMk/>
            <pc:sldMk cId="1776456625" sldId="2076136676"/>
            <ac:graphicFrameMk id="5" creationId="{4C9D9838-DDE5-46DA-820C-29D7C6E20381}"/>
          </ac:graphicFrameMkLst>
        </pc:graphicFrameChg>
      </pc:sldChg>
      <pc:sldChg chg="addSp delSp modSp add mod modAnim">
        <pc:chgData name="Renata Festa" userId="6f22df47-533b-4c2a-a3c1-7f9ad1d63e10" providerId="ADAL" clId="{7D997690-04A4-4675-83D7-2E1CC2ED1A4E}" dt="2020-03-27T17:23:44.570" v="5002" actId="12090"/>
        <pc:sldMkLst>
          <pc:docMk/>
          <pc:sldMk cId="710833818" sldId="2076136677"/>
        </pc:sldMkLst>
        <pc:spChg chg="mod">
          <ac:chgData name="Renata Festa" userId="6f22df47-533b-4c2a-a3c1-7f9ad1d63e10" providerId="ADAL" clId="{7D997690-04A4-4675-83D7-2E1CC2ED1A4E}" dt="2020-03-24T16:01:45.424" v="2087"/>
          <ac:spMkLst>
            <pc:docMk/>
            <pc:sldMk cId="710833818" sldId="2076136677"/>
            <ac:spMk id="2" creationId="{EB67312A-9819-43C6-8D84-D9136E6CFFCC}"/>
          </ac:spMkLst>
        </pc:spChg>
        <pc:spChg chg="del">
          <ac:chgData name="Renata Festa" userId="6f22df47-533b-4c2a-a3c1-7f9ad1d63e10" providerId="ADAL" clId="{7D997690-04A4-4675-83D7-2E1CC2ED1A4E}" dt="2020-03-24T16:02:09.188" v="2090" actId="478"/>
          <ac:spMkLst>
            <pc:docMk/>
            <pc:sldMk cId="710833818" sldId="2076136677"/>
            <ac:spMk id="3" creationId="{F35E8CBB-5A7D-4DEF-BAF7-8DD5D042F9E0}"/>
          </ac:spMkLst>
        </pc:spChg>
        <pc:spChg chg="del">
          <ac:chgData name="Renata Festa" userId="6f22df47-533b-4c2a-a3c1-7f9ad1d63e10" providerId="ADAL" clId="{7D997690-04A4-4675-83D7-2E1CC2ED1A4E}" dt="2020-03-24T16:01:58.560" v="2088"/>
          <ac:spMkLst>
            <pc:docMk/>
            <pc:sldMk cId="710833818" sldId="2076136677"/>
            <ac:spMk id="4" creationId="{F3616A99-090F-45E1-9334-58D58B148205}"/>
          </ac:spMkLst>
        </pc:spChg>
        <pc:graphicFrameChg chg="add mod">
          <ac:chgData name="Renata Festa" userId="6f22df47-533b-4c2a-a3c1-7f9ad1d63e10" providerId="ADAL" clId="{7D997690-04A4-4675-83D7-2E1CC2ED1A4E}" dt="2020-03-27T17:23:44.570" v="5002" actId="12090"/>
          <ac:graphicFrameMkLst>
            <pc:docMk/>
            <pc:sldMk cId="710833818" sldId="2076136677"/>
            <ac:graphicFrameMk id="5" creationId="{E418FE5C-9FD8-41E8-AB68-DD968373538F}"/>
          </ac:graphicFrameMkLst>
        </pc:graphicFrameChg>
      </pc:sldChg>
      <pc:sldChg chg="addSp delSp modSp add mod">
        <pc:chgData name="Renata Festa" userId="6f22df47-533b-4c2a-a3c1-7f9ad1d63e10" providerId="ADAL" clId="{7D997690-04A4-4675-83D7-2E1CC2ED1A4E}" dt="2020-03-26T23:24:05.243" v="4970" actId="20577"/>
        <pc:sldMkLst>
          <pc:docMk/>
          <pc:sldMk cId="2694391453" sldId="2076136678"/>
        </pc:sldMkLst>
        <pc:spChg chg="mod">
          <ac:chgData name="Renata Festa" userId="6f22df47-533b-4c2a-a3c1-7f9ad1d63e10" providerId="ADAL" clId="{7D997690-04A4-4675-83D7-2E1CC2ED1A4E}" dt="2020-03-24T16:02:45.622" v="2092" actId="20577"/>
          <ac:spMkLst>
            <pc:docMk/>
            <pc:sldMk cId="2694391453" sldId="2076136678"/>
            <ac:spMk id="2" creationId="{EB67312A-9819-43C6-8D84-D9136E6CFFCC}"/>
          </ac:spMkLst>
        </pc:spChg>
        <pc:spChg chg="del">
          <ac:chgData name="Renata Festa" userId="6f22df47-533b-4c2a-a3c1-7f9ad1d63e10" providerId="ADAL" clId="{7D997690-04A4-4675-83D7-2E1CC2ED1A4E}" dt="2020-03-24T16:03:24.688" v="2104" actId="478"/>
          <ac:spMkLst>
            <pc:docMk/>
            <pc:sldMk cId="2694391453" sldId="2076136678"/>
            <ac:spMk id="3" creationId="{F35E8CBB-5A7D-4DEF-BAF7-8DD5D042F9E0}"/>
          </ac:spMkLst>
        </pc:spChg>
        <pc:spChg chg="del mod">
          <ac:chgData name="Renata Festa" userId="6f22df47-533b-4c2a-a3c1-7f9ad1d63e10" providerId="ADAL" clId="{7D997690-04A4-4675-83D7-2E1CC2ED1A4E}" dt="2020-03-24T16:03:20.042" v="2103" actId="12084"/>
          <ac:spMkLst>
            <pc:docMk/>
            <pc:sldMk cId="2694391453" sldId="2076136678"/>
            <ac:spMk id="4" creationId="{F3616A99-090F-45E1-9334-58D58B148205}"/>
          </ac:spMkLst>
        </pc:spChg>
        <pc:graphicFrameChg chg="add mod">
          <ac:chgData name="Renata Festa" userId="6f22df47-533b-4c2a-a3c1-7f9ad1d63e10" providerId="ADAL" clId="{7D997690-04A4-4675-83D7-2E1CC2ED1A4E}" dt="2020-03-26T23:24:05.243" v="4970" actId="20577"/>
          <ac:graphicFrameMkLst>
            <pc:docMk/>
            <pc:sldMk cId="2694391453" sldId="2076136678"/>
            <ac:graphicFrameMk id="5" creationId="{3F0C86E6-FBC3-46E2-BD89-7A0FCECD7C9E}"/>
          </ac:graphicFrameMkLst>
        </pc:graphicFrameChg>
      </pc:sldChg>
      <pc:sldChg chg="add del">
        <pc:chgData name="Renata Festa" userId="6f22df47-533b-4c2a-a3c1-7f9ad1d63e10" providerId="ADAL" clId="{7D997690-04A4-4675-83D7-2E1CC2ED1A4E}" dt="2020-03-24T16:04:07.685" v="2113" actId="47"/>
        <pc:sldMkLst>
          <pc:docMk/>
          <pc:sldMk cId="1009980393" sldId="2076136679"/>
        </pc:sldMkLst>
      </pc:sldChg>
      <pc:sldChg chg="add del">
        <pc:chgData name="Renata Festa" userId="6f22df47-533b-4c2a-a3c1-7f9ad1d63e10" providerId="ADAL" clId="{7D997690-04A4-4675-83D7-2E1CC2ED1A4E}" dt="2020-03-24T16:04:07.685" v="2113" actId="47"/>
        <pc:sldMkLst>
          <pc:docMk/>
          <pc:sldMk cId="45993123" sldId="2076136680"/>
        </pc:sldMkLst>
      </pc:sldChg>
      <pc:sldChg chg="add del">
        <pc:chgData name="Renata Festa" userId="6f22df47-533b-4c2a-a3c1-7f9ad1d63e10" providerId="ADAL" clId="{7D997690-04A4-4675-83D7-2E1CC2ED1A4E}" dt="2020-03-24T16:04:07.685" v="2113" actId="47"/>
        <pc:sldMkLst>
          <pc:docMk/>
          <pc:sldMk cId="1640599349" sldId="2076136681"/>
        </pc:sldMkLst>
      </pc:sldChg>
      <pc:sldChg chg="add del">
        <pc:chgData name="Renata Festa" userId="6f22df47-533b-4c2a-a3c1-7f9ad1d63e10" providerId="ADAL" clId="{7D997690-04A4-4675-83D7-2E1CC2ED1A4E}" dt="2020-03-24T16:04:07.685" v="2113" actId="47"/>
        <pc:sldMkLst>
          <pc:docMk/>
          <pc:sldMk cId="2810347305" sldId="2076136682"/>
        </pc:sldMkLst>
      </pc:sldChg>
      <pc:sldChg chg="add del">
        <pc:chgData name="Renata Festa" userId="6f22df47-533b-4c2a-a3c1-7f9ad1d63e10" providerId="ADAL" clId="{7D997690-04A4-4675-83D7-2E1CC2ED1A4E}" dt="2020-03-24T16:04:07.685" v="2113" actId="47"/>
        <pc:sldMkLst>
          <pc:docMk/>
          <pc:sldMk cId="600226596" sldId="2076136683"/>
        </pc:sldMkLst>
      </pc:sldChg>
      <pc:sldChg chg="add del">
        <pc:chgData name="Renata Festa" userId="6f22df47-533b-4c2a-a3c1-7f9ad1d63e10" providerId="ADAL" clId="{7D997690-04A4-4675-83D7-2E1CC2ED1A4E}" dt="2020-03-24T16:04:07.685" v="2113" actId="47"/>
        <pc:sldMkLst>
          <pc:docMk/>
          <pc:sldMk cId="37754162" sldId="2076136684"/>
        </pc:sldMkLst>
      </pc:sldChg>
      <pc:sldChg chg="add del">
        <pc:chgData name="Renata Festa" userId="6f22df47-533b-4c2a-a3c1-7f9ad1d63e10" providerId="ADAL" clId="{7D997690-04A4-4675-83D7-2E1CC2ED1A4E}" dt="2020-03-24T16:04:07.685" v="2113" actId="47"/>
        <pc:sldMkLst>
          <pc:docMk/>
          <pc:sldMk cId="4149580000" sldId="2076136685"/>
        </pc:sldMkLst>
      </pc:sldChg>
      <pc:sldChg chg="add del">
        <pc:chgData name="Renata Festa" userId="6f22df47-533b-4c2a-a3c1-7f9ad1d63e10" providerId="ADAL" clId="{7D997690-04A4-4675-83D7-2E1CC2ED1A4E}" dt="2020-03-24T16:04:07.685" v="2113" actId="47"/>
        <pc:sldMkLst>
          <pc:docMk/>
          <pc:sldMk cId="2450168966" sldId="2076136686"/>
        </pc:sldMkLst>
      </pc:sldChg>
      <pc:sldChg chg="add del">
        <pc:chgData name="Renata Festa" userId="6f22df47-533b-4c2a-a3c1-7f9ad1d63e10" providerId="ADAL" clId="{7D997690-04A4-4675-83D7-2E1CC2ED1A4E}" dt="2020-03-24T16:04:07.685" v="2113" actId="47"/>
        <pc:sldMkLst>
          <pc:docMk/>
          <pc:sldMk cId="1715595429" sldId="2076136687"/>
        </pc:sldMkLst>
      </pc:sldChg>
      <pc:sldChg chg="add del">
        <pc:chgData name="Renata Festa" userId="6f22df47-533b-4c2a-a3c1-7f9ad1d63e10" providerId="ADAL" clId="{7D997690-04A4-4675-83D7-2E1CC2ED1A4E}" dt="2020-03-24T16:04:07.685" v="2113" actId="47"/>
        <pc:sldMkLst>
          <pc:docMk/>
          <pc:sldMk cId="36612684" sldId="2076136688"/>
        </pc:sldMkLst>
      </pc:sldChg>
      <pc:sldChg chg="add del">
        <pc:chgData name="Renata Festa" userId="6f22df47-533b-4c2a-a3c1-7f9ad1d63e10" providerId="ADAL" clId="{7D997690-04A4-4675-83D7-2E1CC2ED1A4E}" dt="2020-03-24T16:04:07.685" v="2113" actId="47"/>
        <pc:sldMkLst>
          <pc:docMk/>
          <pc:sldMk cId="2264769960" sldId="2076136689"/>
        </pc:sldMkLst>
      </pc:sldChg>
      <pc:sldChg chg="modSp add mod">
        <pc:chgData name="Renata Festa" userId="6f22df47-533b-4c2a-a3c1-7f9ad1d63e10" providerId="ADAL" clId="{7D997690-04A4-4675-83D7-2E1CC2ED1A4E}" dt="2020-03-24T16:03:58.153" v="2112" actId="20577"/>
        <pc:sldMkLst>
          <pc:docMk/>
          <pc:sldMk cId="2158697192" sldId="2076136690"/>
        </pc:sldMkLst>
        <pc:spChg chg="mod">
          <ac:chgData name="Renata Festa" userId="6f22df47-533b-4c2a-a3c1-7f9ad1d63e10" providerId="ADAL" clId="{7D997690-04A4-4675-83D7-2E1CC2ED1A4E}" dt="2020-03-24T16:03:58.153" v="2112" actId="20577"/>
          <ac:spMkLst>
            <pc:docMk/>
            <pc:sldMk cId="2158697192" sldId="2076136690"/>
            <ac:spMk id="3" creationId="{8F64A22E-2B43-4FC6-AF08-0CDB3F9E9269}"/>
          </ac:spMkLst>
        </pc:spChg>
        <pc:spChg chg="mod">
          <ac:chgData name="Renata Festa" userId="6f22df47-533b-4c2a-a3c1-7f9ad1d63e10" providerId="ADAL" clId="{7D997690-04A4-4675-83D7-2E1CC2ED1A4E}" dt="2020-03-24T16:03:45.674" v="2108" actId="20577"/>
          <ac:spMkLst>
            <pc:docMk/>
            <pc:sldMk cId="2158697192" sldId="2076136690"/>
            <ac:spMk id="6" creationId="{637E159C-9ACF-48AE-927A-D5FB13695C7F}"/>
          </ac:spMkLst>
        </pc:spChg>
      </pc:sldChg>
      <pc:sldChg chg="add ord">
        <pc:chgData name="Renata Festa" userId="6f22df47-533b-4c2a-a3c1-7f9ad1d63e10" providerId="ADAL" clId="{7D997690-04A4-4675-83D7-2E1CC2ED1A4E}" dt="2020-03-24T16:04:27.472" v="2118"/>
        <pc:sldMkLst>
          <pc:docMk/>
          <pc:sldMk cId="3914156018" sldId="2076136691"/>
        </pc:sldMkLst>
      </pc:sldChg>
      <pc:sldChg chg="addSp delSp modSp add mod modAnim">
        <pc:chgData name="Renata Festa" userId="6f22df47-533b-4c2a-a3c1-7f9ad1d63e10" providerId="ADAL" clId="{7D997690-04A4-4675-83D7-2E1CC2ED1A4E}" dt="2020-03-24T17:18:15.197" v="2213" actId="478"/>
        <pc:sldMkLst>
          <pc:docMk/>
          <pc:sldMk cId="664196446" sldId="2076136692"/>
        </pc:sldMkLst>
        <pc:spChg chg="add del mod">
          <ac:chgData name="Renata Festa" userId="6f22df47-533b-4c2a-a3c1-7f9ad1d63e10" providerId="ADAL" clId="{7D997690-04A4-4675-83D7-2E1CC2ED1A4E}" dt="2020-03-24T17:18:11.755" v="2211" actId="478"/>
          <ac:spMkLst>
            <pc:docMk/>
            <pc:sldMk cId="664196446" sldId="2076136692"/>
            <ac:spMk id="2" creationId="{EB67312A-9819-43C6-8D84-D9136E6CFFCC}"/>
          </ac:spMkLst>
        </pc:spChg>
        <pc:spChg chg="del">
          <ac:chgData name="Renata Festa" userId="6f22df47-533b-4c2a-a3c1-7f9ad1d63e10" providerId="ADAL" clId="{7D997690-04A4-4675-83D7-2E1CC2ED1A4E}" dt="2020-03-24T16:08:48.147" v="2180" actId="478"/>
          <ac:spMkLst>
            <pc:docMk/>
            <pc:sldMk cId="664196446" sldId="2076136692"/>
            <ac:spMk id="3" creationId="{F35E8CBB-5A7D-4DEF-BAF7-8DD5D042F9E0}"/>
          </ac:spMkLst>
        </pc:spChg>
        <pc:spChg chg="del">
          <ac:chgData name="Renata Festa" userId="6f22df47-533b-4c2a-a3c1-7f9ad1d63e10" providerId="ADAL" clId="{7D997690-04A4-4675-83D7-2E1CC2ED1A4E}" dt="2020-03-24T16:08:59.740" v="2182" actId="478"/>
          <ac:spMkLst>
            <pc:docMk/>
            <pc:sldMk cId="664196446" sldId="2076136692"/>
            <ac:spMk id="4" creationId="{F3616A99-090F-45E1-9334-58D58B148205}"/>
          </ac:spMkLst>
        </pc:spChg>
        <pc:spChg chg="add del">
          <ac:chgData name="Renata Festa" userId="6f22df47-533b-4c2a-a3c1-7f9ad1d63e10" providerId="ADAL" clId="{7D997690-04A4-4675-83D7-2E1CC2ED1A4E}" dt="2020-03-24T16:08:11.511" v="2169"/>
          <ac:spMkLst>
            <pc:docMk/>
            <pc:sldMk cId="664196446" sldId="2076136692"/>
            <ac:spMk id="5" creationId="{5283DE6B-2FFA-4ADB-B002-B1EF07BC2FC3}"/>
          </ac:spMkLst>
        </pc:spChg>
        <pc:spChg chg="add del mod">
          <ac:chgData name="Renata Festa" userId="6f22df47-533b-4c2a-a3c1-7f9ad1d63e10" providerId="ADAL" clId="{7D997690-04A4-4675-83D7-2E1CC2ED1A4E}" dt="2020-03-24T17:18:13.459" v="2212" actId="478"/>
          <ac:spMkLst>
            <pc:docMk/>
            <pc:sldMk cId="664196446" sldId="2076136692"/>
            <ac:spMk id="8" creationId="{FBC94B18-FD16-4DA5-B5C7-66F745A1622C}"/>
          </ac:spMkLst>
        </pc:spChg>
        <pc:spChg chg="add del mod">
          <ac:chgData name="Renata Festa" userId="6f22df47-533b-4c2a-a3c1-7f9ad1d63e10" providerId="ADAL" clId="{7D997690-04A4-4675-83D7-2E1CC2ED1A4E}" dt="2020-03-24T17:18:15.197" v="2213" actId="478"/>
          <ac:spMkLst>
            <pc:docMk/>
            <pc:sldMk cId="664196446" sldId="2076136692"/>
            <ac:spMk id="9" creationId="{996D839C-B330-4B9A-84FA-72810AB0149D}"/>
          </ac:spMkLst>
        </pc:spChg>
        <pc:spChg chg="add del mod">
          <ac:chgData name="Renata Festa" userId="6f22df47-533b-4c2a-a3c1-7f9ad1d63e10" providerId="ADAL" clId="{7D997690-04A4-4675-83D7-2E1CC2ED1A4E}" dt="2020-03-24T17:18:11.755" v="2211" actId="478"/>
          <ac:spMkLst>
            <pc:docMk/>
            <pc:sldMk cId="664196446" sldId="2076136692"/>
            <ac:spMk id="11" creationId="{6836716E-C933-43A9-A4A4-F77942C834AB}"/>
          </ac:spMkLst>
        </pc:spChg>
        <pc:graphicFrameChg chg="add del">
          <ac:chgData name="Renata Festa" userId="6f22df47-533b-4c2a-a3c1-7f9ad1d63e10" providerId="ADAL" clId="{7D997690-04A4-4675-83D7-2E1CC2ED1A4E}" dt="2020-03-24T16:08:17.282" v="2171"/>
          <ac:graphicFrameMkLst>
            <pc:docMk/>
            <pc:sldMk cId="664196446" sldId="2076136692"/>
            <ac:graphicFrameMk id="6" creationId="{A0039751-84D7-444F-870D-83547291F5BF}"/>
          </ac:graphicFrameMkLst>
        </pc:graphicFrameChg>
        <pc:graphicFrameChg chg="add mod">
          <ac:chgData name="Renata Festa" userId="6f22df47-533b-4c2a-a3c1-7f9ad1d63e10" providerId="ADAL" clId="{7D997690-04A4-4675-83D7-2E1CC2ED1A4E}" dt="2020-03-24T17:18:06.066" v="2209" actId="14100"/>
          <ac:graphicFrameMkLst>
            <pc:docMk/>
            <pc:sldMk cId="664196446" sldId="2076136692"/>
            <ac:graphicFrameMk id="7" creationId="{18FFD0BA-ED18-4F81-8C66-3DA154E8B166}"/>
          </ac:graphicFrameMkLst>
        </pc:graphicFrameChg>
      </pc:sldChg>
      <pc:sldChg chg="add del">
        <pc:chgData name="Renata Festa" userId="6f22df47-533b-4c2a-a3c1-7f9ad1d63e10" providerId="ADAL" clId="{7D997690-04A4-4675-83D7-2E1CC2ED1A4E}" dt="2020-03-24T16:06:14.303" v="2140" actId="47"/>
        <pc:sldMkLst>
          <pc:docMk/>
          <pc:sldMk cId="1999257701" sldId="2076136692"/>
        </pc:sldMkLst>
      </pc:sldChg>
      <pc:sldChg chg="addSp delSp modSp add mod">
        <pc:chgData name="Renata Festa" userId="6f22df47-533b-4c2a-a3c1-7f9ad1d63e10" providerId="ADAL" clId="{7D997690-04A4-4675-83D7-2E1CC2ED1A4E}" dt="2020-03-24T17:19:53.499" v="2227" actId="1076"/>
        <pc:sldMkLst>
          <pc:docMk/>
          <pc:sldMk cId="1957972205" sldId="2076136693"/>
        </pc:sldMkLst>
        <pc:spChg chg="mod">
          <ac:chgData name="Renata Festa" userId="6f22df47-533b-4c2a-a3c1-7f9ad1d63e10" providerId="ADAL" clId="{7D997690-04A4-4675-83D7-2E1CC2ED1A4E}" dt="2020-03-24T17:18:33.967" v="2214"/>
          <ac:spMkLst>
            <pc:docMk/>
            <pc:sldMk cId="1957972205" sldId="2076136693"/>
            <ac:spMk id="2" creationId="{EB67312A-9819-43C6-8D84-D9136E6CFFCC}"/>
          </ac:spMkLst>
        </pc:spChg>
        <pc:spChg chg="del">
          <ac:chgData name="Renata Festa" userId="6f22df47-533b-4c2a-a3c1-7f9ad1d63e10" providerId="ADAL" clId="{7D997690-04A4-4675-83D7-2E1CC2ED1A4E}" dt="2020-03-24T17:18:40.651" v="2217" actId="478"/>
          <ac:spMkLst>
            <pc:docMk/>
            <pc:sldMk cId="1957972205" sldId="2076136693"/>
            <ac:spMk id="3" creationId="{F35E8CBB-5A7D-4DEF-BAF7-8DD5D042F9E0}"/>
          </ac:spMkLst>
        </pc:spChg>
        <pc:spChg chg="add del mod">
          <ac:chgData name="Renata Festa" userId="6f22df47-533b-4c2a-a3c1-7f9ad1d63e10" providerId="ADAL" clId="{7D997690-04A4-4675-83D7-2E1CC2ED1A4E}" dt="2020-03-24T17:19:10.825" v="2222" actId="12084"/>
          <ac:spMkLst>
            <pc:docMk/>
            <pc:sldMk cId="1957972205" sldId="2076136693"/>
            <ac:spMk id="4" creationId="{F3616A99-090F-45E1-9334-58D58B148205}"/>
          </ac:spMkLst>
        </pc:spChg>
        <pc:grpChg chg="add mod">
          <ac:chgData name="Renata Festa" userId="6f22df47-533b-4c2a-a3c1-7f9ad1d63e10" providerId="ADAL" clId="{7D997690-04A4-4675-83D7-2E1CC2ED1A4E}" dt="2020-03-24T17:19:53.499" v="2227" actId="1076"/>
          <ac:grpSpMkLst>
            <pc:docMk/>
            <pc:sldMk cId="1957972205" sldId="2076136693"/>
            <ac:grpSpMk id="6" creationId="{3B63C99C-CF6A-4D3A-B915-D76E2B3A248C}"/>
          </ac:grpSpMkLst>
        </pc:grpChg>
        <pc:grpChg chg="mod">
          <ac:chgData name="Renata Festa" userId="6f22df47-533b-4c2a-a3c1-7f9ad1d63e10" providerId="ADAL" clId="{7D997690-04A4-4675-83D7-2E1CC2ED1A4E}" dt="2020-03-24T17:19:53.499" v="2227" actId="1076"/>
          <ac:grpSpMkLst>
            <pc:docMk/>
            <pc:sldMk cId="1957972205" sldId="2076136693"/>
            <ac:grpSpMk id="7" creationId="{F7E6ECA8-2816-4383-8732-73A0E5BD1B94}"/>
          </ac:grpSpMkLst>
        </pc:grpChg>
        <pc:grpChg chg="mod">
          <ac:chgData name="Renata Festa" userId="6f22df47-533b-4c2a-a3c1-7f9ad1d63e10" providerId="ADAL" clId="{7D997690-04A4-4675-83D7-2E1CC2ED1A4E}" dt="2020-03-24T17:19:53.499" v="2227" actId="1076"/>
          <ac:grpSpMkLst>
            <pc:docMk/>
            <pc:sldMk cId="1957972205" sldId="2076136693"/>
            <ac:grpSpMk id="8" creationId="{34B52F03-D4A1-49E4-A653-0EBFAE2DB5D7}"/>
          </ac:grpSpMkLst>
        </pc:grpChg>
        <pc:grpChg chg="mod">
          <ac:chgData name="Renata Festa" userId="6f22df47-533b-4c2a-a3c1-7f9ad1d63e10" providerId="ADAL" clId="{7D997690-04A4-4675-83D7-2E1CC2ED1A4E}" dt="2020-03-24T17:19:53.499" v="2227" actId="1076"/>
          <ac:grpSpMkLst>
            <pc:docMk/>
            <pc:sldMk cId="1957972205" sldId="2076136693"/>
            <ac:grpSpMk id="9" creationId="{34C272E7-6E04-4902-849A-16058487AF78}"/>
          </ac:grpSpMkLst>
        </pc:grpChg>
        <pc:grpChg chg="mod">
          <ac:chgData name="Renata Festa" userId="6f22df47-533b-4c2a-a3c1-7f9ad1d63e10" providerId="ADAL" clId="{7D997690-04A4-4675-83D7-2E1CC2ED1A4E}" dt="2020-03-24T17:19:53.499" v="2227" actId="1076"/>
          <ac:grpSpMkLst>
            <pc:docMk/>
            <pc:sldMk cId="1957972205" sldId="2076136693"/>
            <ac:grpSpMk id="12" creationId="{4097D510-C621-4D03-8639-54EFC0AD5D52}"/>
          </ac:grpSpMkLst>
        </pc:grpChg>
        <pc:grpChg chg="mod">
          <ac:chgData name="Renata Festa" userId="6f22df47-533b-4c2a-a3c1-7f9ad1d63e10" providerId="ADAL" clId="{7D997690-04A4-4675-83D7-2E1CC2ED1A4E}" dt="2020-03-24T17:19:53.499" v="2227" actId="1076"/>
          <ac:grpSpMkLst>
            <pc:docMk/>
            <pc:sldMk cId="1957972205" sldId="2076136693"/>
            <ac:grpSpMk id="13" creationId="{4F8710A4-284C-4D84-BAE3-B04759481D85}"/>
          </ac:grpSpMkLst>
        </pc:grpChg>
        <pc:grpChg chg="mod">
          <ac:chgData name="Renata Festa" userId="6f22df47-533b-4c2a-a3c1-7f9ad1d63e10" providerId="ADAL" clId="{7D997690-04A4-4675-83D7-2E1CC2ED1A4E}" dt="2020-03-24T17:19:53.499" v="2227" actId="1076"/>
          <ac:grpSpMkLst>
            <pc:docMk/>
            <pc:sldMk cId="1957972205" sldId="2076136693"/>
            <ac:grpSpMk id="14" creationId="{CF91C53A-5397-455F-BC4E-BDA95C6172A8}"/>
          </ac:grpSpMkLst>
        </pc:grpChg>
        <pc:grpChg chg="mod">
          <ac:chgData name="Renata Festa" userId="6f22df47-533b-4c2a-a3c1-7f9ad1d63e10" providerId="ADAL" clId="{7D997690-04A4-4675-83D7-2E1CC2ED1A4E}" dt="2020-03-24T17:19:53.499" v="2227" actId="1076"/>
          <ac:grpSpMkLst>
            <pc:docMk/>
            <pc:sldMk cId="1957972205" sldId="2076136693"/>
            <ac:grpSpMk id="15" creationId="{9F1EFAF1-A384-47F7-AAAD-7C1E1358A691}"/>
          </ac:grpSpMkLst>
        </pc:grpChg>
        <pc:grpChg chg="mod">
          <ac:chgData name="Renata Festa" userId="6f22df47-533b-4c2a-a3c1-7f9ad1d63e10" providerId="ADAL" clId="{7D997690-04A4-4675-83D7-2E1CC2ED1A4E}" dt="2020-03-24T17:19:53.499" v="2227" actId="1076"/>
          <ac:grpSpMkLst>
            <pc:docMk/>
            <pc:sldMk cId="1957972205" sldId="2076136693"/>
            <ac:grpSpMk id="16" creationId="{D78D878A-F190-4DA8-A002-BDB8AC719816}"/>
          </ac:grpSpMkLst>
        </pc:grpChg>
        <pc:grpChg chg="mod">
          <ac:chgData name="Renata Festa" userId="6f22df47-533b-4c2a-a3c1-7f9ad1d63e10" providerId="ADAL" clId="{7D997690-04A4-4675-83D7-2E1CC2ED1A4E}" dt="2020-03-24T17:19:53.499" v="2227" actId="1076"/>
          <ac:grpSpMkLst>
            <pc:docMk/>
            <pc:sldMk cId="1957972205" sldId="2076136693"/>
            <ac:grpSpMk id="31" creationId="{54B20ABA-78C1-4F3B-85A5-6D5A20FC2328}"/>
          </ac:grpSpMkLst>
        </pc:grpChg>
        <pc:grpChg chg="mod">
          <ac:chgData name="Renata Festa" userId="6f22df47-533b-4c2a-a3c1-7f9ad1d63e10" providerId="ADAL" clId="{7D997690-04A4-4675-83D7-2E1CC2ED1A4E}" dt="2020-03-24T17:19:53.499" v="2227" actId="1076"/>
          <ac:grpSpMkLst>
            <pc:docMk/>
            <pc:sldMk cId="1957972205" sldId="2076136693"/>
            <ac:grpSpMk id="32" creationId="{3278F111-9A26-4CEC-AA67-FFBDF2DC6417}"/>
          </ac:grpSpMkLst>
        </pc:grpChg>
        <pc:grpChg chg="mod">
          <ac:chgData name="Renata Festa" userId="6f22df47-533b-4c2a-a3c1-7f9ad1d63e10" providerId="ADAL" clId="{7D997690-04A4-4675-83D7-2E1CC2ED1A4E}" dt="2020-03-24T17:19:53.499" v="2227" actId="1076"/>
          <ac:grpSpMkLst>
            <pc:docMk/>
            <pc:sldMk cId="1957972205" sldId="2076136693"/>
            <ac:grpSpMk id="33" creationId="{87651AC2-0511-4AA7-BBD2-4C30A400246A}"/>
          </ac:grpSpMkLst>
        </pc:grpChg>
        <pc:grpChg chg="mod">
          <ac:chgData name="Renata Festa" userId="6f22df47-533b-4c2a-a3c1-7f9ad1d63e10" providerId="ADAL" clId="{7D997690-04A4-4675-83D7-2E1CC2ED1A4E}" dt="2020-03-24T17:19:53.499" v="2227" actId="1076"/>
          <ac:grpSpMkLst>
            <pc:docMk/>
            <pc:sldMk cId="1957972205" sldId="2076136693"/>
            <ac:grpSpMk id="34" creationId="{4721810F-C510-46FE-B0DF-0ADFA6B05D62}"/>
          </ac:grpSpMkLst>
        </pc:grpChg>
        <pc:grpChg chg="mod">
          <ac:chgData name="Renata Festa" userId="6f22df47-533b-4c2a-a3c1-7f9ad1d63e10" providerId="ADAL" clId="{7D997690-04A4-4675-83D7-2E1CC2ED1A4E}" dt="2020-03-24T17:19:53.499" v="2227" actId="1076"/>
          <ac:grpSpMkLst>
            <pc:docMk/>
            <pc:sldMk cId="1957972205" sldId="2076136693"/>
            <ac:grpSpMk id="42" creationId="{8D2DEC22-B208-478D-AB30-A50F7FDA74FB}"/>
          </ac:grpSpMkLst>
        </pc:grpChg>
        <pc:grpChg chg="mod">
          <ac:chgData name="Renata Festa" userId="6f22df47-533b-4c2a-a3c1-7f9ad1d63e10" providerId="ADAL" clId="{7D997690-04A4-4675-83D7-2E1CC2ED1A4E}" dt="2020-03-24T17:19:53.499" v="2227" actId="1076"/>
          <ac:grpSpMkLst>
            <pc:docMk/>
            <pc:sldMk cId="1957972205" sldId="2076136693"/>
            <ac:grpSpMk id="43" creationId="{939A4275-E425-4AC6-8B76-1749DE1046D9}"/>
          </ac:grpSpMkLst>
        </pc:grpChg>
        <pc:grpChg chg="mod">
          <ac:chgData name="Renata Festa" userId="6f22df47-533b-4c2a-a3c1-7f9ad1d63e10" providerId="ADAL" clId="{7D997690-04A4-4675-83D7-2E1CC2ED1A4E}" dt="2020-03-24T17:19:53.499" v="2227" actId="1076"/>
          <ac:grpSpMkLst>
            <pc:docMk/>
            <pc:sldMk cId="1957972205" sldId="2076136693"/>
            <ac:grpSpMk id="45" creationId="{45B6DEEC-154F-4B4B-A417-BFAEDAEB52F3}"/>
          </ac:grpSpMkLst>
        </pc:grpChg>
        <pc:grpChg chg="mod">
          <ac:chgData name="Renata Festa" userId="6f22df47-533b-4c2a-a3c1-7f9ad1d63e10" providerId="ADAL" clId="{7D997690-04A4-4675-83D7-2E1CC2ED1A4E}" dt="2020-03-24T17:19:53.499" v="2227" actId="1076"/>
          <ac:grpSpMkLst>
            <pc:docMk/>
            <pc:sldMk cId="1957972205" sldId="2076136693"/>
            <ac:grpSpMk id="84" creationId="{08B2A6B7-09DA-4631-A7BE-A2AB3AC7F0B6}"/>
          </ac:grpSpMkLst>
        </pc:grpChg>
        <pc:grpChg chg="mod">
          <ac:chgData name="Renata Festa" userId="6f22df47-533b-4c2a-a3c1-7f9ad1d63e10" providerId="ADAL" clId="{7D997690-04A4-4675-83D7-2E1CC2ED1A4E}" dt="2020-03-24T17:19:53.499" v="2227" actId="1076"/>
          <ac:grpSpMkLst>
            <pc:docMk/>
            <pc:sldMk cId="1957972205" sldId="2076136693"/>
            <ac:grpSpMk id="101" creationId="{60A26D64-C1BD-4A07-AE77-2B1550731D90}"/>
          </ac:grpSpMkLst>
        </pc:grpChg>
        <pc:grpChg chg="mod">
          <ac:chgData name="Renata Festa" userId="6f22df47-533b-4c2a-a3c1-7f9ad1d63e10" providerId="ADAL" clId="{7D997690-04A4-4675-83D7-2E1CC2ED1A4E}" dt="2020-03-24T17:19:53.499" v="2227" actId="1076"/>
          <ac:grpSpMkLst>
            <pc:docMk/>
            <pc:sldMk cId="1957972205" sldId="2076136693"/>
            <ac:grpSpMk id="111" creationId="{466551BB-958C-4994-8F85-C0D348197EDA}"/>
          </ac:grpSpMkLst>
        </pc:grpChg>
        <pc:grpChg chg="mod">
          <ac:chgData name="Renata Festa" userId="6f22df47-533b-4c2a-a3c1-7f9ad1d63e10" providerId="ADAL" clId="{7D997690-04A4-4675-83D7-2E1CC2ED1A4E}" dt="2020-03-24T17:19:53.499" v="2227" actId="1076"/>
          <ac:grpSpMkLst>
            <pc:docMk/>
            <pc:sldMk cId="1957972205" sldId="2076136693"/>
            <ac:grpSpMk id="123" creationId="{1D2C612B-9B79-47BE-8181-C7E3BC47B0B6}"/>
          </ac:grpSpMkLst>
        </pc:grpChg>
        <pc:grpChg chg="mod">
          <ac:chgData name="Renata Festa" userId="6f22df47-533b-4c2a-a3c1-7f9ad1d63e10" providerId="ADAL" clId="{7D997690-04A4-4675-83D7-2E1CC2ED1A4E}" dt="2020-03-24T17:19:53.499" v="2227" actId="1076"/>
          <ac:grpSpMkLst>
            <pc:docMk/>
            <pc:sldMk cId="1957972205" sldId="2076136693"/>
            <ac:grpSpMk id="130" creationId="{545D7CEB-AC95-49AC-9C3E-BC6A3EE25BF9}"/>
          </ac:grpSpMkLst>
        </pc:grpChg>
        <pc:grpChg chg="mod">
          <ac:chgData name="Renata Festa" userId="6f22df47-533b-4c2a-a3c1-7f9ad1d63e10" providerId="ADAL" clId="{7D997690-04A4-4675-83D7-2E1CC2ED1A4E}" dt="2020-03-24T17:19:53.499" v="2227" actId="1076"/>
          <ac:grpSpMkLst>
            <pc:docMk/>
            <pc:sldMk cId="1957972205" sldId="2076136693"/>
            <ac:grpSpMk id="163" creationId="{4E93630D-5CA7-450C-8B93-C0F73902102E}"/>
          </ac:grpSpMkLst>
        </pc:grpChg>
        <pc:grpChg chg="mod">
          <ac:chgData name="Renata Festa" userId="6f22df47-533b-4c2a-a3c1-7f9ad1d63e10" providerId="ADAL" clId="{7D997690-04A4-4675-83D7-2E1CC2ED1A4E}" dt="2020-03-24T17:19:53.499" v="2227" actId="1076"/>
          <ac:grpSpMkLst>
            <pc:docMk/>
            <pc:sldMk cId="1957972205" sldId="2076136693"/>
            <ac:grpSpMk id="164" creationId="{78C108D8-9D1F-4B59-9FE9-8AB3F8C66769}"/>
          </ac:grpSpMkLst>
        </pc:grpChg>
        <pc:graphicFrameChg chg="add mod">
          <ac:chgData name="Renata Festa" userId="6f22df47-533b-4c2a-a3c1-7f9ad1d63e10" providerId="ADAL" clId="{7D997690-04A4-4675-83D7-2E1CC2ED1A4E}" dt="2020-03-24T17:19:16.935" v="2223"/>
          <ac:graphicFrameMkLst>
            <pc:docMk/>
            <pc:sldMk cId="1957972205" sldId="2076136693"/>
            <ac:graphicFrameMk id="5" creationId="{18EC32A2-8227-4247-98A1-5CB56E85CDE5}"/>
          </ac:graphicFrameMkLst>
        </pc:graphicFrameChg>
      </pc:sldChg>
      <pc:sldChg chg="addSp delSp modSp add mod modAnim">
        <pc:chgData name="Renata Festa" userId="6f22df47-533b-4c2a-a3c1-7f9ad1d63e10" providerId="ADAL" clId="{7D997690-04A4-4675-83D7-2E1CC2ED1A4E}" dt="2020-03-24T17:22:15.511" v="2256" actId="478"/>
        <pc:sldMkLst>
          <pc:docMk/>
          <pc:sldMk cId="1830484860" sldId="2076136694"/>
        </pc:sldMkLst>
        <pc:spChg chg="mod">
          <ac:chgData name="Renata Festa" userId="6f22df47-533b-4c2a-a3c1-7f9ad1d63e10" providerId="ADAL" clId="{7D997690-04A4-4675-83D7-2E1CC2ED1A4E}" dt="2020-03-24T17:20:18.535" v="2229"/>
          <ac:spMkLst>
            <pc:docMk/>
            <pc:sldMk cId="1830484860" sldId="2076136694"/>
            <ac:spMk id="2" creationId="{EB67312A-9819-43C6-8D84-D9136E6CFFCC}"/>
          </ac:spMkLst>
        </pc:spChg>
        <pc:spChg chg="del">
          <ac:chgData name="Renata Festa" userId="6f22df47-533b-4c2a-a3c1-7f9ad1d63e10" providerId="ADAL" clId="{7D997690-04A4-4675-83D7-2E1CC2ED1A4E}" dt="2020-03-24T17:20:20.280" v="2230" actId="478"/>
          <ac:spMkLst>
            <pc:docMk/>
            <pc:sldMk cId="1830484860" sldId="2076136694"/>
            <ac:spMk id="3" creationId="{F35E8CBB-5A7D-4DEF-BAF7-8DD5D042F9E0}"/>
          </ac:spMkLst>
        </pc:spChg>
        <pc:spChg chg="del">
          <ac:chgData name="Renata Festa" userId="6f22df47-533b-4c2a-a3c1-7f9ad1d63e10" providerId="ADAL" clId="{7D997690-04A4-4675-83D7-2E1CC2ED1A4E}" dt="2020-03-24T17:22:15.511" v="2256" actId="478"/>
          <ac:spMkLst>
            <pc:docMk/>
            <pc:sldMk cId="1830484860" sldId="2076136694"/>
            <ac:spMk id="4" creationId="{F3616A99-090F-45E1-9334-58D58B148205}"/>
          </ac:spMkLst>
        </pc:spChg>
        <pc:grpChg chg="add mod">
          <ac:chgData name="Renata Festa" userId="6f22df47-533b-4c2a-a3c1-7f9ad1d63e10" providerId="ADAL" clId="{7D997690-04A4-4675-83D7-2E1CC2ED1A4E}" dt="2020-03-24T17:22:12.743" v="2255" actId="1076"/>
          <ac:grpSpMkLst>
            <pc:docMk/>
            <pc:sldMk cId="1830484860" sldId="2076136694"/>
            <ac:grpSpMk id="7" creationId="{355FAD7A-88F6-4FFB-ACC2-860764C043C8}"/>
          </ac:grpSpMkLst>
        </pc:grpChg>
        <pc:grpChg chg="add mod">
          <ac:chgData name="Renata Festa" userId="6f22df47-533b-4c2a-a3c1-7f9ad1d63e10" providerId="ADAL" clId="{7D997690-04A4-4675-83D7-2E1CC2ED1A4E}" dt="2020-03-24T17:21:57.079" v="2251" actId="1038"/>
          <ac:grpSpMkLst>
            <pc:docMk/>
            <pc:sldMk cId="1830484860" sldId="2076136694"/>
            <ac:grpSpMk id="14" creationId="{31A3734E-FA95-4D85-8F49-B012C0AF65BC}"/>
          </ac:grpSpMkLst>
        </pc:grpChg>
        <pc:grpChg chg="add mod">
          <ac:chgData name="Renata Festa" userId="6f22df47-533b-4c2a-a3c1-7f9ad1d63e10" providerId="ADAL" clId="{7D997690-04A4-4675-83D7-2E1CC2ED1A4E}" dt="2020-03-24T17:22:00.765" v="2252" actId="1076"/>
          <ac:grpSpMkLst>
            <pc:docMk/>
            <pc:sldMk cId="1830484860" sldId="2076136694"/>
            <ac:grpSpMk id="17" creationId="{689EBCCC-EE61-4A53-A09A-790272BE74E9}"/>
          </ac:grpSpMkLst>
        </pc:grpChg>
        <pc:grpChg chg="add mod">
          <ac:chgData name="Renata Festa" userId="6f22df47-533b-4c2a-a3c1-7f9ad1d63e10" providerId="ADAL" clId="{7D997690-04A4-4675-83D7-2E1CC2ED1A4E}" dt="2020-03-24T17:21:36.849" v="2245" actId="1076"/>
          <ac:grpSpMkLst>
            <pc:docMk/>
            <pc:sldMk cId="1830484860" sldId="2076136694"/>
            <ac:grpSpMk id="21" creationId="{CBB833B3-7B14-4E24-B93D-EAC298F5623B}"/>
          </ac:grpSpMkLst>
        </pc:grpChg>
        <pc:grpChg chg="mod">
          <ac:chgData name="Renata Festa" userId="6f22df47-533b-4c2a-a3c1-7f9ad1d63e10" providerId="ADAL" clId="{7D997690-04A4-4675-83D7-2E1CC2ED1A4E}" dt="2020-03-24T17:20:55.738" v="2236" actId="14100"/>
          <ac:grpSpMkLst>
            <pc:docMk/>
            <pc:sldMk cId="1830484860" sldId="2076136694"/>
            <ac:grpSpMk id="23" creationId="{55F742A4-D4E0-40CB-93FB-5DA335C204CC}"/>
          </ac:grpSpMkLst>
        </pc:grpChg>
        <pc:grpChg chg="add mod">
          <ac:chgData name="Renata Festa" userId="6f22df47-533b-4c2a-a3c1-7f9ad1d63e10" providerId="ADAL" clId="{7D997690-04A4-4675-83D7-2E1CC2ED1A4E}" dt="2020-03-24T17:21:20.537" v="2241" actId="1076"/>
          <ac:grpSpMkLst>
            <pc:docMk/>
            <pc:sldMk cId="1830484860" sldId="2076136694"/>
            <ac:grpSpMk id="26" creationId="{57A3976C-6B17-44E2-9734-15C4C6F3F990}"/>
          </ac:grpSpMkLst>
        </pc:grpChg>
        <pc:grpChg chg="mod">
          <ac:chgData name="Renata Festa" userId="6f22df47-533b-4c2a-a3c1-7f9ad1d63e10" providerId="ADAL" clId="{7D997690-04A4-4675-83D7-2E1CC2ED1A4E}" dt="2020-03-24T17:21:20.537" v="2241" actId="1076"/>
          <ac:grpSpMkLst>
            <pc:docMk/>
            <pc:sldMk cId="1830484860" sldId="2076136694"/>
            <ac:grpSpMk id="28" creationId="{0571BA1D-9659-4971-A09C-6231F73365F9}"/>
          </ac:grpSpMkLst>
        </pc:grpChg>
        <pc:grpChg chg="add mod">
          <ac:chgData name="Renata Festa" userId="6f22df47-533b-4c2a-a3c1-7f9ad1d63e10" providerId="ADAL" clId="{7D997690-04A4-4675-83D7-2E1CC2ED1A4E}" dt="2020-03-24T17:21:15.678" v="2239" actId="1076"/>
          <ac:grpSpMkLst>
            <pc:docMk/>
            <pc:sldMk cId="1830484860" sldId="2076136694"/>
            <ac:grpSpMk id="47" creationId="{CC3B5943-369A-4D70-9F89-E0EE96CFBC04}"/>
          </ac:grpSpMkLst>
        </pc:grpChg>
        <pc:grpChg chg="add mod">
          <ac:chgData name="Renata Festa" userId="6f22df47-533b-4c2a-a3c1-7f9ad1d63e10" providerId="ADAL" clId="{7D997690-04A4-4675-83D7-2E1CC2ED1A4E}" dt="2020-03-24T17:21:05.939" v="2238" actId="1076"/>
          <ac:grpSpMkLst>
            <pc:docMk/>
            <pc:sldMk cId="1830484860" sldId="2076136694"/>
            <ac:grpSpMk id="51" creationId="{D67EC277-CA81-4BF1-AD7D-6D6850630604}"/>
          </ac:grpSpMkLst>
        </pc:grpChg>
        <pc:grpChg chg="mod">
          <ac:chgData name="Renata Festa" userId="6f22df47-533b-4c2a-a3c1-7f9ad1d63e10" providerId="ADAL" clId="{7D997690-04A4-4675-83D7-2E1CC2ED1A4E}" dt="2020-03-24T17:20:58.446" v="2237" actId="14100"/>
          <ac:grpSpMkLst>
            <pc:docMk/>
            <pc:sldMk cId="1830484860" sldId="2076136694"/>
            <ac:grpSpMk id="55" creationId="{AA27661C-C894-4ECC-A060-7E6571F5BB50}"/>
          </ac:grpSpMkLst>
        </pc:grpChg>
        <pc:grpChg chg="mod">
          <ac:chgData name="Renata Festa" userId="6f22df47-533b-4c2a-a3c1-7f9ad1d63e10" providerId="ADAL" clId="{7D997690-04A4-4675-83D7-2E1CC2ED1A4E}" dt="2020-03-24T17:20:55.738" v="2236" actId="14100"/>
          <ac:grpSpMkLst>
            <pc:docMk/>
            <pc:sldMk cId="1830484860" sldId="2076136694"/>
            <ac:grpSpMk id="56" creationId="{20D3FCD0-5D6F-4288-951C-0B5045B704A8}"/>
          </ac:grpSpMkLst>
        </pc:grpChg>
        <pc:grpChg chg="mod">
          <ac:chgData name="Renata Festa" userId="6f22df47-533b-4c2a-a3c1-7f9ad1d63e10" providerId="ADAL" clId="{7D997690-04A4-4675-83D7-2E1CC2ED1A4E}" dt="2020-03-24T17:20:58.446" v="2237" actId="14100"/>
          <ac:grpSpMkLst>
            <pc:docMk/>
            <pc:sldMk cId="1830484860" sldId="2076136694"/>
            <ac:grpSpMk id="57" creationId="{54B9AC6F-81A1-47E2-B5C6-D1EC0B2F3EEC}"/>
          </ac:grpSpMkLst>
        </pc:grpChg>
        <pc:grpChg chg="add mod">
          <ac:chgData name="Renata Festa" userId="6f22df47-533b-4c2a-a3c1-7f9ad1d63e10" providerId="ADAL" clId="{7D997690-04A4-4675-83D7-2E1CC2ED1A4E}" dt="2020-03-24T17:21:29.567" v="2243" actId="1076"/>
          <ac:grpSpMkLst>
            <pc:docMk/>
            <pc:sldMk cId="1830484860" sldId="2076136694"/>
            <ac:grpSpMk id="67" creationId="{E8B4ED2E-0088-4D89-AFBA-81317431B300}"/>
          </ac:grpSpMkLst>
        </pc:grpChg>
        <pc:grpChg chg="add mod">
          <ac:chgData name="Renata Festa" userId="6f22df47-533b-4c2a-a3c1-7f9ad1d63e10" providerId="ADAL" clId="{7D997690-04A4-4675-83D7-2E1CC2ED1A4E}" dt="2020-03-24T17:21:25.616" v="2242" actId="1076"/>
          <ac:grpSpMkLst>
            <pc:docMk/>
            <pc:sldMk cId="1830484860" sldId="2076136694"/>
            <ac:grpSpMk id="71" creationId="{789B858B-56CA-44C8-AB23-EC137F0F3A01}"/>
          </ac:grpSpMkLst>
        </pc:grpChg>
        <pc:grpChg chg="add mod">
          <ac:chgData name="Renata Festa" userId="6f22df47-533b-4c2a-a3c1-7f9ad1d63e10" providerId="ADAL" clId="{7D997690-04A4-4675-83D7-2E1CC2ED1A4E}" dt="2020-03-24T17:22:09.719" v="2254" actId="1076"/>
          <ac:grpSpMkLst>
            <pc:docMk/>
            <pc:sldMk cId="1830484860" sldId="2076136694"/>
            <ac:grpSpMk id="79" creationId="{AF93591E-BE3D-46EB-AE24-85C1FBB4A67C}"/>
          </ac:grpSpMkLst>
        </pc:grpChg>
        <pc:graphicFrameChg chg="add mod">
          <ac:chgData name="Renata Festa" userId="6f22df47-533b-4c2a-a3c1-7f9ad1d63e10" providerId="ADAL" clId="{7D997690-04A4-4675-83D7-2E1CC2ED1A4E}" dt="2020-03-24T17:20:58.446" v="2237" actId="14100"/>
          <ac:graphicFrameMkLst>
            <pc:docMk/>
            <pc:sldMk cId="1830484860" sldId="2076136694"/>
            <ac:graphicFrameMk id="5" creationId="{10BDAC0E-EE5E-4586-A6C7-6F024454C575}"/>
          </ac:graphicFrameMkLst>
        </pc:graphicFrameChg>
        <pc:graphicFrameChg chg="add mod">
          <ac:chgData name="Renata Festa" userId="6f22df47-533b-4c2a-a3c1-7f9ad1d63e10" providerId="ADAL" clId="{7D997690-04A4-4675-83D7-2E1CC2ED1A4E}" dt="2020-03-24T17:21:45.276" v="2247"/>
          <ac:graphicFrameMkLst>
            <pc:docMk/>
            <pc:sldMk cId="1830484860" sldId="2076136694"/>
            <ac:graphicFrameMk id="6" creationId="{AFF37419-8D15-42A3-8891-36D6C9CA1502}"/>
          </ac:graphicFrameMkLst>
        </pc:graphicFrameChg>
      </pc:sldChg>
      <pc:sldChg chg="addSp delSp modSp add mod modAnim">
        <pc:chgData name="Renata Festa" userId="6f22df47-533b-4c2a-a3c1-7f9ad1d63e10" providerId="ADAL" clId="{7D997690-04A4-4675-83D7-2E1CC2ED1A4E}" dt="2020-03-24T17:24:41.886" v="2283" actId="478"/>
        <pc:sldMkLst>
          <pc:docMk/>
          <pc:sldMk cId="1360898273" sldId="2076136695"/>
        </pc:sldMkLst>
        <pc:spChg chg="mod">
          <ac:chgData name="Renata Festa" userId="6f22df47-533b-4c2a-a3c1-7f9ad1d63e10" providerId="ADAL" clId="{7D997690-04A4-4675-83D7-2E1CC2ED1A4E}" dt="2020-03-24T17:22:39.057" v="2257"/>
          <ac:spMkLst>
            <pc:docMk/>
            <pc:sldMk cId="1360898273" sldId="2076136695"/>
            <ac:spMk id="2" creationId="{EB67312A-9819-43C6-8D84-D9136E6CFFCC}"/>
          </ac:spMkLst>
        </pc:spChg>
        <pc:spChg chg="del">
          <ac:chgData name="Renata Festa" userId="6f22df47-533b-4c2a-a3c1-7f9ad1d63e10" providerId="ADAL" clId="{7D997690-04A4-4675-83D7-2E1CC2ED1A4E}" dt="2020-03-24T17:24:41.886" v="2283" actId="478"/>
          <ac:spMkLst>
            <pc:docMk/>
            <pc:sldMk cId="1360898273" sldId="2076136695"/>
            <ac:spMk id="3" creationId="{F35E8CBB-5A7D-4DEF-BAF7-8DD5D042F9E0}"/>
          </ac:spMkLst>
        </pc:spChg>
        <pc:spChg chg="del">
          <ac:chgData name="Renata Festa" userId="6f22df47-533b-4c2a-a3c1-7f9ad1d63e10" providerId="ADAL" clId="{7D997690-04A4-4675-83D7-2E1CC2ED1A4E}" dt="2020-03-24T17:24:39.364" v="2282" actId="478"/>
          <ac:spMkLst>
            <pc:docMk/>
            <pc:sldMk cId="1360898273" sldId="2076136695"/>
            <ac:spMk id="4" creationId="{F3616A99-090F-45E1-9334-58D58B148205}"/>
          </ac:spMkLst>
        </pc:spChg>
        <pc:spChg chg="add del">
          <ac:chgData name="Renata Festa" userId="6f22df47-533b-4c2a-a3c1-7f9ad1d63e10" providerId="ADAL" clId="{7D997690-04A4-4675-83D7-2E1CC2ED1A4E}" dt="2020-03-24T17:22:58.741" v="2259"/>
          <ac:spMkLst>
            <pc:docMk/>
            <pc:sldMk cId="1360898273" sldId="2076136695"/>
            <ac:spMk id="90" creationId="{48118F9B-7561-4F44-BD1B-5FD6C5EBBB7E}"/>
          </ac:spMkLst>
        </pc:spChg>
        <pc:spChg chg="add del">
          <ac:chgData name="Renata Festa" userId="6f22df47-533b-4c2a-a3c1-7f9ad1d63e10" providerId="ADAL" clId="{7D997690-04A4-4675-83D7-2E1CC2ED1A4E}" dt="2020-03-24T17:22:58.741" v="2259"/>
          <ac:spMkLst>
            <pc:docMk/>
            <pc:sldMk cId="1360898273" sldId="2076136695"/>
            <ac:spMk id="91" creationId="{80822A02-DBFF-46F7-A6E9-406E09F1C937}"/>
          </ac:spMkLst>
        </pc:spChg>
        <pc:spChg chg="add mod">
          <ac:chgData name="Renata Festa" userId="6f22df47-533b-4c2a-a3c1-7f9ad1d63e10" providerId="ADAL" clId="{7D997690-04A4-4675-83D7-2E1CC2ED1A4E}" dt="2020-03-24T17:23:22.153" v="2264" actId="1076"/>
          <ac:spMkLst>
            <pc:docMk/>
            <pc:sldMk cId="1360898273" sldId="2076136695"/>
            <ac:spMk id="177" creationId="{4FC2C164-7ED9-4DE7-8924-5D00951E70B1}"/>
          </ac:spMkLst>
        </pc:spChg>
        <pc:spChg chg="add mod">
          <ac:chgData name="Renata Festa" userId="6f22df47-533b-4c2a-a3c1-7f9ad1d63e10" providerId="ADAL" clId="{7D997690-04A4-4675-83D7-2E1CC2ED1A4E}" dt="2020-03-24T17:23:16.575" v="2263" actId="1076"/>
          <ac:spMkLst>
            <pc:docMk/>
            <pc:sldMk cId="1360898273" sldId="2076136695"/>
            <ac:spMk id="178" creationId="{4568ECFD-BA9E-4E99-955C-081E93FE0B92}"/>
          </ac:spMkLst>
        </pc:spChg>
        <pc:grpChg chg="add del">
          <ac:chgData name="Renata Festa" userId="6f22df47-533b-4c2a-a3c1-7f9ad1d63e10" providerId="ADAL" clId="{7D997690-04A4-4675-83D7-2E1CC2ED1A4E}" dt="2020-03-24T17:22:58.741" v="2259"/>
          <ac:grpSpMkLst>
            <pc:docMk/>
            <pc:sldMk cId="1360898273" sldId="2076136695"/>
            <ac:grpSpMk id="7" creationId="{1D72FCB2-4C78-46E9-B41C-5B6E53EB47BF}"/>
          </ac:grpSpMkLst>
        </pc:grpChg>
        <pc:grpChg chg="add del">
          <ac:chgData name="Renata Festa" userId="6f22df47-533b-4c2a-a3c1-7f9ad1d63e10" providerId="ADAL" clId="{7D997690-04A4-4675-83D7-2E1CC2ED1A4E}" dt="2020-03-24T17:22:58.741" v="2259"/>
          <ac:grpSpMkLst>
            <pc:docMk/>
            <pc:sldMk cId="1360898273" sldId="2076136695"/>
            <ac:grpSpMk id="14" creationId="{46410C18-AB0A-41C9-AADE-2C5F7F5298E9}"/>
          </ac:grpSpMkLst>
        </pc:grpChg>
        <pc:grpChg chg="add del">
          <ac:chgData name="Renata Festa" userId="6f22df47-533b-4c2a-a3c1-7f9ad1d63e10" providerId="ADAL" clId="{7D997690-04A4-4675-83D7-2E1CC2ED1A4E}" dt="2020-03-24T17:22:58.741" v="2259"/>
          <ac:grpSpMkLst>
            <pc:docMk/>
            <pc:sldMk cId="1360898273" sldId="2076136695"/>
            <ac:grpSpMk id="17" creationId="{86B04269-8380-4C27-B525-B0A79424BD4F}"/>
          </ac:grpSpMkLst>
        </pc:grpChg>
        <pc:grpChg chg="add del">
          <ac:chgData name="Renata Festa" userId="6f22df47-533b-4c2a-a3c1-7f9ad1d63e10" providerId="ADAL" clId="{7D997690-04A4-4675-83D7-2E1CC2ED1A4E}" dt="2020-03-24T17:22:58.741" v="2259"/>
          <ac:grpSpMkLst>
            <pc:docMk/>
            <pc:sldMk cId="1360898273" sldId="2076136695"/>
            <ac:grpSpMk id="21" creationId="{6B1855E8-C8D6-4AC2-9655-D50516FD0799}"/>
          </ac:grpSpMkLst>
        </pc:grpChg>
        <pc:grpChg chg="add del">
          <ac:chgData name="Renata Festa" userId="6f22df47-533b-4c2a-a3c1-7f9ad1d63e10" providerId="ADAL" clId="{7D997690-04A4-4675-83D7-2E1CC2ED1A4E}" dt="2020-03-24T17:22:58.741" v="2259"/>
          <ac:grpSpMkLst>
            <pc:docMk/>
            <pc:sldMk cId="1360898273" sldId="2076136695"/>
            <ac:grpSpMk id="26" creationId="{1B974FEC-CF7E-440D-9C2B-D9C8D453121D}"/>
          </ac:grpSpMkLst>
        </pc:grpChg>
        <pc:grpChg chg="add del">
          <ac:chgData name="Renata Festa" userId="6f22df47-533b-4c2a-a3c1-7f9ad1d63e10" providerId="ADAL" clId="{7D997690-04A4-4675-83D7-2E1CC2ED1A4E}" dt="2020-03-24T17:22:58.741" v="2259"/>
          <ac:grpSpMkLst>
            <pc:docMk/>
            <pc:sldMk cId="1360898273" sldId="2076136695"/>
            <ac:grpSpMk id="47" creationId="{412E7F64-7746-483B-BAC2-4438300B91E7}"/>
          </ac:grpSpMkLst>
        </pc:grpChg>
        <pc:grpChg chg="add del">
          <ac:chgData name="Renata Festa" userId="6f22df47-533b-4c2a-a3c1-7f9ad1d63e10" providerId="ADAL" clId="{7D997690-04A4-4675-83D7-2E1CC2ED1A4E}" dt="2020-03-24T17:22:58.741" v="2259"/>
          <ac:grpSpMkLst>
            <pc:docMk/>
            <pc:sldMk cId="1360898273" sldId="2076136695"/>
            <ac:grpSpMk id="51" creationId="{DFCA04BC-736A-442C-8D61-24C223EF3217}"/>
          </ac:grpSpMkLst>
        </pc:grpChg>
        <pc:grpChg chg="add del">
          <ac:chgData name="Renata Festa" userId="6f22df47-533b-4c2a-a3c1-7f9ad1d63e10" providerId="ADAL" clId="{7D997690-04A4-4675-83D7-2E1CC2ED1A4E}" dt="2020-03-24T17:22:58.741" v="2259"/>
          <ac:grpSpMkLst>
            <pc:docMk/>
            <pc:sldMk cId="1360898273" sldId="2076136695"/>
            <ac:grpSpMk id="67" creationId="{454D93BA-F7F8-4DAB-A811-45A7D08E497F}"/>
          </ac:grpSpMkLst>
        </pc:grpChg>
        <pc:grpChg chg="add del">
          <ac:chgData name="Renata Festa" userId="6f22df47-533b-4c2a-a3c1-7f9ad1d63e10" providerId="ADAL" clId="{7D997690-04A4-4675-83D7-2E1CC2ED1A4E}" dt="2020-03-24T17:22:58.741" v="2259"/>
          <ac:grpSpMkLst>
            <pc:docMk/>
            <pc:sldMk cId="1360898273" sldId="2076136695"/>
            <ac:grpSpMk id="71" creationId="{1E9F1A61-DEA2-4644-A431-DAAB491A866D}"/>
          </ac:grpSpMkLst>
        </pc:grpChg>
        <pc:grpChg chg="add del">
          <ac:chgData name="Renata Festa" userId="6f22df47-533b-4c2a-a3c1-7f9ad1d63e10" providerId="ADAL" clId="{7D997690-04A4-4675-83D7-2E1CC2ED1A4E}" dt="2020-03-24T17:22:58.741" v="2259"/>
          <ac:grpSpMkLst>
            <pc:docMk/>
            <pc:sldMk cId="1360898273" sldId="2076136695"/>
            <ac:grpSpMk id="79" creationId="{C8CADE06-FB4A-4B3B-B172-8EDB20C47589}"/>
          </ac:grpSpMkLst>
        </pc:grpChg>
        <pc:grpChg chg="add mod">
          <ac:chgData name="Renata Festa" userId="6f22df47-533b-4c2a-a3c1-7f9ad1d63e10" providerId="ADAL" clId="{7D997690-04A4-4675-83D7-2E1CC2ED1A4E}" dt="2020-03-24T17:23:58.767" v="2273" actId="1076"/>
          <ac:grpSpMkLst>
            <pc:docMk/>
            <pc:sldMk cId="1360898273" sldId="2076136695"/>
            <ac:grpSpMk id="94" creationId="{2207B0DF-63B9-49D5-92A4-53AFDA6D725B}"/>
          </ac:grpSpMkLst>
        </pc:grpChg>
        <pc:grpChg chg="add mod">
          <ac:chgData name="Renata Festa" userId="6f22df47-533b-4c2a-a3c1-7f9ad1d63e10" providerId="ADAL" clId="{7D997690-04A4-4675-83D7-2E1CC2ED1A4E}" dt="2020-03-24T17:23:11.730" v="2262" actId="14100"/>
          <ac:grpSpMkLst>
            <pc:docMk/>
            <pc:sldMk cId="1360898273" sldId="2076136695"/>
            <ac:grpSpMk id="101" creationId="{47472821-1132-4762-B775-C6929235F8F2}"/>
          </ac:grpSpMkLst>
        </pc:grpChg>
        <pc:grpChg chg="add mod">
          <ac:chgData name="Renata Festa" userId="6f22df47-533b-4c2a-a3c1-7f9ad1d63e10" providerId="ADAL" clId="{7D997690-04A4-4675-83D7-2E1CC2ED1A4E}" dt="2020-03-24T17:23:41.629" v="2270" actId="1076"/>
          <ac:grpSpMkLst>
            <pc:docMk/>
            <pc:sldMk cId="1360898273" sldId="2076136695"/>
            <ac:grpSpMk id="104" creationId="{E8DA4887-7DDE-4AF9-9C37-C52FD2E7A7B3}"/>
          </ac:grpSpMkLst>
        </pc:grpChg>
        <pc:grpChg chg="add mod">
          <ac:chgData name="Renata Festa" userId="6f22df47-533b-4c2a-a3c1-7f9ad1d63e10" providerId="ADAL" clId="{7D997690-04A4-4675-83D7-2E1CC2ED1A4E}" dt="2020-03-24T17:23:53.711" v="2272" actId="1076"/>
          <ac:grpSpMkLst>
            <pc:docMk/>
            <pc:sldMk cId="1360898273" sldId="2076136695"/>
            <ac:grpSpMk id="108" creationId="{D26C9917-D19F-4145-85B1-B06F41CDE89C}"/>
          </ac:grpSpMkLst>
        </pc:grpChg>
        <pc:grpChg chg="mod">
          <ac:chgData name="Renata Festa" userId="6f22df47-533b-4c2a-a3c1-7f9ad1d63e10" providerId="ADAL" clId="{7D997690-04A4-4675-83D7-2E1CC2ED1A4E}" dt="2020-03-24T17:23:11.730" v="2262" actId="14100"/>
          <ac:grpSpMkLst>
            <pc:docMk/>
            <pc:sldMk cId="1360898273" sldId="2076136695"/>
            <ac:grpSpMk id="110" creationId="{7FD82E05-DA11-4D08-A625-56FF89FAF092}"/>
          </ac:grpSpMkLst>
        </pc:grpChg>
        <pc:grpChg chg="add mod">
          <ac:chgData name="Renata Festa" userId="6f22df47-533b-4c2a-a3c1-7f9ad1d63e10" providerId="ADAL" clId="{7D997690-04A4-4675-83D7-2E1CC2ED1A4E}" dt="2020-03-24T17:23:32.653" v="2267" actId="1076"/>
          <ac:grpSpMkLst>
            <pc:docMk/>
            <pc:sldMk cId="1360898273" sldId="2076136695"/>
            <ac:grpSpMk id="113" creationId="{B4FE5B4F-9B50-4C66-9FED-8F542915878B}"/>
          </ac:grpSpMkLst>
        </pc:grpChg>
        <pc:grpChg chg="mod">
          <ac:chgData name="Renata Festa" userId="6f22df47-533b-4c2a-a3c1-7f9ad1d63e10" providerId="ADAL" clId="{7D997690-04A4-4675-83D7-2E1CC2ED1A4E}" dt="2020-03-24T17:23:32.653" v="2267" actId="1076"/>
          <ac:grpSpMkLst>
            <pc:docMk/>
            <pc:sldMk cId="1360898273" sldId="2076136695"/>
            <ac:grpSpMk id="115" creationId="{FCCFDD4B-596F-41BB-A755-921F96E8A43F}"/>
          </ac:grpSpMkLst>
        </pc:grpChg>
        <pc:grpChg chg="add mod">
          <ac:chgData name="Renata Festa" userId="6f22df47-533b-4c2a-a3c1-7f9ad1d63e10" providerId="ADAL" clId="{7D997690-04A4-4675-83D7-2E1CC2ED1A4E}" dt="2020-03-24T17:23:29.626" v="2266" actId="1076"/>
          <ac:grpSpMkLst>
            <pc:docMk/>
            <pc:sldMk cId="1360898273" sldId="2076136695"/>
            <ac:grpSpMk id="134" creationId="{19BA3833-860D-43E7-AD5A-CFB91817952A}"/>
          </ac:grpSpMkLst>
        </pc:grpChg>
        <pc:grpChg chg="add mod">
          <ac:chgData name="Renata Festa" userId="6f22df47-533b-4c2a-a3c1-7f9ad1d63e10" providerId="ADAL" clId="{7D997690-04A4-4675-83D7-2E1CC2ED1A4E}" dt="2020-03-24T17:23:25.185" v="2265" actId="1076"/>
          <ac:grpSpMkLst>
            <pc:docMk/>
            <pc:sldMk cId="1360898273" sldId="2076136695"/>
            <ac:grpSpMk id="138" creationId="{1E452A1A-0924-4D4A-B119-35BDD45BA966}"/>
          </ac:grpSpMkLst>
        </pc:grpChg>
        <pc:grpChg chg="mod">
          <ac:chgData name="Renata Festa" userId="6f22df47-533b-4c2a-a3c1-7f9ad1d63e10" providerId="ADAL" clId="{7D997690-04A4-4675-83D7-2E1CC2ED1A4E}" dt="2020-03-24T17:23:11.730" v="2262" actId="14100"/>
          <ac:grpSpMkLst>
            <pc:docMk/>
            <pc:sldMk cId="1360898273" sldId="2076136695"/>
            <ac:grpSpMk id="142" creationId="{4E70D212-69E9-4667-ACEC-5984D6A19DE1}"/>
          </ac:grpSpMkLst>
        </pc:grpChg>
        <pc:grpChg chg="mod">
          <ac:chgData name="Renata Festa" userId="6f22df47-533b-4c2a-a3c1-7f9ad1d63e10" providerId="ADAL" clId="{7D997690-04A4-4675-83D7-2E1CC2ED1A4E}" dt="2020-03-24T17:23:11.730" v="2262" actId="14100"/>
          <ac:grpSpMkLst>
            <pc:docMk/>
            <pc:sldMk cId="1360898273" sldId="2076136695"/>
            <ac:grpSpMk id="143" creationId="{6DC3F1A8-D1E5-4875-8478-FFC708E57757}"/>
          </ac:grpSpMkLst>
        </pc:grpChg>
        <pc:grpChg chg="mod">
          <ac:chgData name="Renata Festa" userId="6f22df47-533b-4c2a-a3c1-7f9ad1d63e10" providerId="ADAL" clId="{7D997690-04A4-4675-83D7-2E1CC2ED1A4E}" dt="2020-03-24T17:23:11.730" v="2262" actId="14100"/>
          <ac:grpSpMkLst>
            <pc:docMk/>
            <pc:sldMk cId="1360898273" sldId="2076136695"/>
            <ac:grpSpMk id="144" creationId="{D5F25705-1348-478F-B913-1211AACF3017}"/>
          </ac:grpSpMkLst>
        </pc:grpChg>
        <pc:grpChg chg="add mod">
          <ac:chgData name="Renata Festa" userId="6f22df47-533b-4c2a-a3c1-7f9ad1d63e10" providerId="ADAL" clId="{7D997690-04A4-4675-83D7-2E1CC2ED1A4E}" dt="2020-03-24T17:23:38.590" v="2269" actId="1076"/>
          <ac:grpSpMkLst>
            <pc:docMk/>
            <pc:sldMk cId="1360898273" sldId="2076136695"/>
            <ac:grpSpMk id="154" creationId="{EDFA523E-4C92-4E57-B963-16508BF65614}"/>
          </ac:grpSpMkLst>
        </pc:grpChg>
        <pc:grpChg chg="add mod">
          <ac:chgData name="Renata Festa" userId="6f22df47-533b-4c2a-a3c1-7f9ad1d63e10" providerId="ADAL" clId="{7D997690-04A4-4675-83D7-2E1CC2ED1A4E}" dt="2020-03-24T17:23:34.869" v="2268" actId="1076"/>
          <ac:grpSpMkLst>
            <pc:docMk/>
            <pc:sldMk cId="1360898273" sldId="2076136695"/>
            <ac:grpSpMk id="158" creationId="{31AA9634-8C49-4F59-96A4-A59ABA869C2A}"/>
          </ac:grpSpMkLst>
        </pc:grpChg>
        <pc:grpChg chg="add mod">
          <ac:chgData name="Renata Festa" userId="6f22df47-533b-4c2a-a3c1-7f9ad1d63e10" providerId="ADAL" clId="{7D997690-04A4-4675-83D7-2E1CC2ED1A4E}" dt="2020-03-24T17:23:50.702" v="2271" actId="1076"/>
          <ac:grpSpMkLst>
            <pc:docMk/>
            <pc:sldMk cId="1360898273" sldId="2076136695"/>
            <ac:grpSpMk id="166" creationId="{7A5BA2B0-2A01-4C55-BA3D-E1F93FE1D27B}"/>
          </ac:grpSpMkLst>
        </pc:grpChg>
        <pc:graphicFrameChg chg="add del">
          <ac:chgData name="Renata Festa" userId="6f22df47-533b-4c2a-a3c1-7f9ad1d63e10" providerId="ADAL" clId="{7D997690-04A4-4675-83D7-2E1CC2ED1A4E}" dt="2020-03-24T17:22:58.741" v="2259"/>
          <ac:graphicFrameMkLst>
            <pc:docMk/>
            <pc:sldMk cId="1360898273" sldId="2076136695"/>
            <ac:graphicFrameMk id="5" creationId="{671EDAE5-5DE9-465A-9146-207AA203B061}"/>
          </ac:graphicFrameMkLst>
        </pc:graphicFrameChg>
        <pc:graphicFrameChg chg="add del">
          <ac:chgData name="Renata Festa" userId="6f22df47-533b-4c2a-a3c1-7f9ad1d63e10" providerId="ADAL" clId="{7D997690-04A4-4675-83D7-2E1CC2ED1A4E}" dt="2020-03-24T17:22:58.741" v="2259"/>
          <ac:graphicFrameMkLst>
            <pc:docMk/>
            <pc:sldMk cId="1360898273" sldId="2076136695"/>
            <ac:graphicFrameMk id="6" creationId="{25F50544-E051-4F2C-85B7-03F27F01D0B5}"/>
          </ac:graphicFrameMkLst>
        </pc:graphicFrameChg>
        <pc:graphicFrameChg chg="add mod">
          <ac:chgData name="Renata Festa" userId="6f22df47-533b-4c2a-a3c1-7f9ad1d63e10" providerId="ADAL" clId="{7D997690-04A4-4675-83D7-2E1CC2ED1A4E}" dt="2020-03-24T17:23:11.730" v="2262" actId="14100"/>
          <ac:graphicFrameMkLst>
            <pc:docMk/>
            <pc:sldMk cId="1360898273" sldId="2076136695"/>
            <ac:graphicFrameMk id="92" creationId="{86D3A0DF-D1CF-4EC1-9563-C47B416D89EC}"/>
          </ac:graphicFrameMkLst>
        </pc:graphicFrameChg>
        <pc:graphicFrameChg chg="add mod">
          <ac:chgData name="Renata Festa" userId="6f22df47-533b-4c2a-a3c1-7f9ad1d63e10" providerId="ADAL" clId="{7D997690-04A4-4675-83D7-2E1CC2ED1A4E}" dt="2020-03-24T17:23:11.730" v="2262" actId="14100"/>
          <ac:graphicFrameMkLst>
            <pc:docMk/>
            <pc:sldMk cId="1360898273" sldId="2076136695"/>
            <ac:graphicFrameMk id="93" creationId="{7D66D5AF-A306-4D50-8528-637B69C93FB1}"/>
          </ac:graphicFrameMkLst>
        </pc:graphicFrameChg>
        <pc:picChg chg="add del">
          <ac:chgData name="Renata Festa" userId="6f22df47-533b-4c2a-a3c1-7f9ad1d63e10" providerId="ADAL" clId="{7D997690-04A4-4675-83D7-2E1CC2ED1A4E}" dt="2020-03-24T17:22:58.741" v="2259"/>
          <ac:picMkLst>
            <pc:docMk/>
            <pc:sldMk cId="1360898273" sldId="2076136695"/>
            <ac:picMk id="82" creationId="{1369DF61-C1F6-452C-90CD-67B91F9A8260}"/>
          </ac:picMkLst>
        </pc:picChg>
        <pc:picChg chg="add del">
          <ac:chgData name="Renata Festa" userId="6f22df47-533b-4c2a-a3c1-7f9ad1d63e10" providerId="ADAL" clId="{7D997690-04A4-4675-83D7-2E1CC2ED1A4E}" dt="2020-03-24T17:22:58.741" v="2259"/>
          <ac:picMkLst>
            <pc:docMk/>
            <pc:sldMk cId="1360898273" sldId="2076136695"/>
            <ac:picMk id="83" creationId="{58668E0C-002F-45F7-9851-6C16F3D58467}"/>
          </ac:picMkLst>
        </pc:picChg>
        <pc:picChg chg="add del">
          <ac:chgData name="Renata Festa" userId="6f22df47-533b-4c2a-a3c1-7f9ad1d63e10" providerId="ADAL" clId="{7D997690-04A4-4675-83D7-2E1CC2ED1A4E}" dt="2020-03-24T17:22:58.741" v="2259"/>
          <ac:picMkLst>
            <pc:docMk/>
            <pc:sldMk cId="1360898273" sldId="2076136695"/>
            <ac:picMk id="84" creationId="{AC7EBA72-3598-43B0-9AF5-25A6717C8C67}"/>
          </ac:picMkLst>
        </pc:picChg>
        <pc:picChg chg="add del">
          <ac:chgData name="Renata Festa" userId="6f22df47-533b-4c2a-a3c1-7f9ad1d63e10" providerId="ADAL" clId="{7D997690-04A4-4675-83D7-2E1CC2ED1A4E}" dt="2020-03-24T17:22:58.741" v="2259"/>
          <ac:picMkLst>
            <pc:docMk/>
            <pc:sldMk cId="1360898273" sldId="2076136695"/>
            <ac:picMk id="85" creationId="{9232E70A-9DF9-4657-AE72-61ECDEBAA8B2}"/>
          </ac:picMkLst>
        </pc:picChg>
        <pc:picChg chg="add del">
          <ac:chgData name="Renata Festa" userId="6f22df47-533b-4c2a-a3c1-7f9ad1d63e10" providerId="ADAL" clId="{7D997690-04A4-4675-83D7-2E1CC2ED1A4E}" dt="2020-03-24T17:22:58.741" v="2259"/>
          <ac:picMkLst>
            <pc:docMk/>
            <pc:sldMk cId="1360898273" sldId="2076136695"/>
            <ac:picMk id="86" creationId="{1F2DFAA7-0B9C-47F7-BC88-1EFB8F02278D}"/>
          </ac:picMkLst>
        </pc:picChg>
        <pc:picChg chg="add del">
          <ac:chgData name="Renata Festa" userId="6f22df47-533b-4c2a-a3c1-7f9ad1d63e10" providerId="ADAL" clId="{7D997690-04A4-4675-83D7-2E1CC2ED1A4E}" dt="2020-03-24T17:22:58.741" v="2259"/>
          <ac:picMkLst>
            <pc:docMk/>
            <pc:sldMk cId="1360898273" sldId="2076136695"/>
            <ac:picMk id="87" creationId="{3521965B-C3EF-452D-B88A-CED83FC74045}"/>
          </ac:picMkLst>
        </pc:picChg>
        <pc:picChg chg="add del">
          <ac:chgData name="Renata Festa" userId="6f22df47-533b-4c2a-a3c1-7f9ad1d63e10" providerId="ADAL" clId="{7D997690-04A4-4675-83D7-2E1CC2ED1A4E}" dt="2020-03-24T17:22:58.741" v="2259"/>
          <ac:picMkLst>
            <pc:docMk/>
            <pc:sldMk cId="1360898273" sldId="2076136695"/>
            <ac:picMk id="88" creationId="{D6F83BAB-4566-4AB3-A0A6-7C978BBEC594}"/>
          </ac:picMkLst>
        </pc:picChg>
        <pc:picChg chg="add del">
          <ac:chgData name="Renata Festa" userId="6f22df47-533b-4c2a-a3c1-7f9ad1d63e10" providerId="ADAL" clId="{7D997690-04A4-4675-83D7-2E1CC2ED1A4E}" dt="2020-03-24T17:22:58.741" v="2259"/>
          <ac:picMkLst>
            <pc:docMk/>
            <pc:sldMk cId="1360898273" sldId="2076136695"/>
            <ac:picMk id="89" creationId="{76593E8D-59FC-4AAB-BCD2-AB4B82E176A0}"/>
          </ac:picMkLst>
        </pc:picChg>
        <pc:picChg chg="add mod">
          <ac:chgData name="Renata Festa" userId="6f22df47-533b-4c2a-a3c1-7f9ad1d63e10" providerId="ADAL" clId="{7D997690-04A4-4675-83D7-2E1CC2ED1A4E}" dt="2020-03-24T17:24:17.513" v="2278" actId="1076"/>
          <ac:picMkLst>
            <pc:docMk/>
            <pc:sldMk cId="1360898273" sldId="2076136695"/>
            <ac:picMk id="169" creationId="{8A06B8E6-C8A6-4770-B997-169CF19B28EB}"/>
          </ac:picMkLst>
        </pc:picChg>
        <pc:picChg chg="add mod">
          <ac:chgData name="Renata Festa" userId="6f22df47-533b-4c2a-a3c1-7f9ad1d63e10" providerId="ADAL" clId="{7D997690-04A4-4675-83D7-2E1CC2ED1A4E}" dt="2020-03-24T17:24:20.031" v="2279" actId="1076"/>
          <ac:picMkLst>
            <pc:docMk/>
            <pc:sldMk cId="1360898273" sldId="2076136695"/>
            <ac:picMk id="170" creationId="{171EFB51-3FE9-4728-A54E-32CAACE8FE52}"/>
          </ac:picMkLst>
        </pc:picChg>
        <pc:picChg chg="add mod">
          <ac:chgData name="Renata Festa" userId="6f22df47-533b-4c2a-a3c1-7f9ad1d63e10" providerId="ADAL" clId="{7D997690-04A4-4675-83D7-2E1CC2ED1A4E}" dt="2020-03-24T17:24:14.468" v="2277" actId="1076"/>
          <ac:picMkLst>
            <pc:docMk/>
            <pc:sldMk cId="1360898273" sldId="2076136695"/>
            <ac:picMk id="171" creationId="{7BAB161A-FBCD-4824-8394-91FF3EEC7CB6}"/>
          </ac:picMkLst>
        </pc:picChg>
        <pc:picChg chg="add mod">
          <ac:chgData name="Renata Festa" userId="6f22df47-533b-4c2a-a3c1-7f9ad1d63e10" providerId="ADAL" clId="{7D997690-04A4-4675-83D7-2E1CC2ED1A4E}" dt="2020-03-24T17:24:07.648" v="2276" actId="1076"/>
          <ac:picMkLst>
            <pc:docMk/>
            <pc:sldMk cId="1360898273" sldId="2076136695"/>
            <ac:picMk id="172" creationId="{6E77864B-72F4-4A96-BD49-1D4EDB945F64}"/>
          </ac:picMkLst>
        </pc:picChg>
        <pc:picChg chg="add mod">
          <ac:chgData name="Renata Festa" userId="6f22df47-533b-4c2a-a3c1-7f9ad1d63e10" providerId="ADAL" clId="{7D997690-04A4-4675-83D7-2E1CC2ED1A4E}" dt="2020-03-24T17:24:05.401" v="2275" actId="1076"/>
          <ac:picMkLst>
            <pc:docMk/>
            <pc:sldMk cId="1360898273" sldId="2076136695"/>
            <ac:picMk id="173" creationId="{49C789FE-A794-4F26-8357-8420E09DD439}"/>
          </ac:picMkLst>
        </pc:picChg>
        <pc:picChg chg="add mod">
          <ac:chgData name="Renata Festa" userId="6f22df47-533b-4c2a-a3c1-7f9ad1d63e10" providerId="ADAL" clId="{7D997690-04A4-4675-83D7-2E1CC2ED1A4E}" dt="2020-03-24T17:24:03.447" v="2274" actId="1076"/>
          <ac:picMkLst>
            <pc:docMk/>
            <pc:sldMk cId="1360898273" sldId="2076136695"/>
            <ac:picMk id="174" creationId="{33CFBD55-50F0-4F1C-BA34-5B93DEE725C9}"/>
          </ac:picMkLst>
        </pc:picChg>
        <pc:picChg chg="add mod">
          <ac:chgData name="Renata Festa" userId="6f22df47-533b-4c2a-a3c1-7f9ad1d63e10" providerId="ADAL" clId="{7D997690-04A4-4675-83D7-2E1CC2ED1A4E}" dt="2020-03-24T17:24:30.162" v="2280" actId="1076"/>
          <ac:picMkLst>
            <pc:docMk/>
            <pc:sldMk cId="1360898273" sldId="2076136695"/>
            <ac:picMk id="175" creationId="{70F8E466-4725-4143-8C22-B679DF42B521}"/>
          </ac:picMkLst>
        </pc:picChg>
        <pc:picChg chg="add mod">
          <ac:chgData name="Renata Festa" userId="6f22df47-533b-4c2a-a3c1-7f9ad1d63e10" providerId="ADAL" clId="{7D997690-04A4-4675-83D7-2E1CC2ED1A4E}" dt="2020-03-24T17:24:33.764" v="2281" actId="1076"/>
          <ac:picMkLst>
            <pc:docMk/>
            <pc:sldMk cId="1360898273" sldId="2076136695"/>
            <ac:picMk id="176" creationId="{17BE04AC-E692-4300-90F2-94EE4B46987C}"/>
          </ac:picMkLst>
        </pc:picChg>
      </pc:sldChg>
      <pc:sldChg chg="addSp delSp modSp add mod modAnim">
        <pc:chgData name="Renata Festa" userId="6f22df47-533b-4c2a-a3c1-7f9ad1d63e10" providerId="ADAL" clId="{7D997690-04A4-4675-83D7-2E1CC2ED1A4E}" dt="2020-03-24T17:25:42.272" v="2292" actId="1037"/>
        <pc:sldMkLst>
          <pc:docMk/>
          <pc:sldMk cId="3225198365" sldId="2076136696"/>
        </pc:sldMkLst>
        <pc:spChg chg="mod">
          <ac:chgData name="Renata Festa" userId="6f22df47-533b-4c2a-a3c1-7f9ad1d63e10" providerId="ADAL" clId="{7D997690-04A4-4675-83D7-2E1CC2ED1A4E}" dt="2020-03-24T17:25:23.993" v="2284"/>
          <ac:spMkLst>
            <pc:docMk/>
            <pc:sldMk cId="3225198365" sldId="2076136696"/>
            <ac:spMk id="2" creationId="{EB67312A-9819-43C6-8D84-D9136E6CFFCC}"/>
          </ac:spMkLst>
        </pc:spChg>
        <pc:spChg chg="del">
          <ac:chgData name="Renata Festa" userId="6f22df47-533b-4c2a-a3c1-7f9ad1d63e10" providerId="ADAL" clId="{7D997690-04A4-4675-83D7-2E1CC2ED1A4E}" dt="2020-03-24T17:25:25.495" v="2285" actId="478"/>
          <ac:spMkLst>
            <pc:docMk/>
            <pc:sldMk cId="3225198365" sldId="2076136696"/>
            <ac:spMk id="3" creationId="{F35E8CBB-5A7D-4DEF-BAF7-8DD5D042F9E0}"/>
          </ac:spMkLst>
        </pc:spChg>
        <pc:spChg chg="del">
          <ac:chgData name="Renata Festa" userId="6f22df47-533b-4c2a-a3c1-7f9ad1d63e10" providerId="ADAL" clId="{7D997690-04A4-4675-83D7-2E1CC2ED1A4E}" dt="2020-03-24T17:25:37.654" v="2288" actId="478"/>
          <ac:spMkLst>
            <pc:docMk/>
            <pc:sldMk cId="3225198365" sldId="2076136696"/>
            <ac:spMk id="4" creationId="{F3616A99-090F-45E1-9334-58D58B148205}"/>
          </ac:spMkLst>
        </pc:spChg>
        <pc:spChg chg="add mod">
          <ac:chgData name="Renata Festa" userId="6f22df47-533b-4c2a-a3c1-7f9ad1d63e10" providerId="ADAL" clId="{7D997690-04A4-4675-83D7-2E1CC2ED1A4E}" dt="2020-03-24T17:25:35.309" v="2287" actId="1076"/>
          <ac:spMkLst>
            <pc:docMk/>
            <pc:sldMk cId="3225198365" sldId="2076136696"/>
            <ac:spMk id="5" creationId="{CDCFAA8B-100F-49A3-B7AA-C40F3E635051}"/>
          </ac:spMkLst>
        </pc:spChg>
        <pc:spChg chg="add mod">
          <ac:chgData name="Renata Festa" userId="6f22df47-533b-4c2a-a3c1-7f9ad1d63e10" providerId="ADAL" clId="{7D997690-04A4-4675-83D7-2E1CC2ED1A4E}" dt="2020-03-24T17:25:35.309" v="2287" actId="1076"/>
          <ac:spMkLst>
            <pc:docMk/>
            <pc:sldMk cId="3225198365" sldId="2076136696"/>
            <ac:spMk id="6" creationId="{D9BF3DEC-8C5C-4682-A066-53BC69EE22D9}"/>
          </ac:spMkLst>
        </pc:spChg>
        <pc:spChg chg="add mod">
          <ac:chgData name="Renata Festa" userId="6f22df47-533b-4c2a-a3c1-7f9ad1d63e10" providerId="ADAL" clId="{7D997690-04A4-4675-83D7-2E1CC2ED1A4E}" dt="2020-03-24T17:25:39.538" v="2290" actId="1037"/>
          <ac:spMkLst>
            <pc:docMk/>
            <pc:sldMk cId="3225198365" sldId="2076136696"/>
            <ac:spMk id="7" creationId="{EEF41EB1-DA5F-4F18-BA7D-D3AD1B02FBD3}"/>
          </ac:spMkLst>
        </pc:spChg>
        <pc:spChg chg="add mod">
          <ac:chgData name="Renata Festa" userId="6f22df47-533b-4c2a-a3c1-7f9ad1d63e10" providerId="ADAL" clId="{7D997690-04A4-4675-83D7-2E1CC2ED1A4E}" dt="2020-03-24T17:25:42.272" v="2292" actId="1037"/>
          <ac:spMkLst>
            <pc:docMk/>
            <pc:sldMk cId="3225198365" sldId="2076136696"/>
            <ac:spMk id="8" creationId="{A3240F2B-2235-4114-9BCD-26E57DCCB38E}"/>
          </ac:spMkLst>
        </pc:spChg>
      </pc:sldChg>
      <pc:sldChg chg="addSp delSp modSp add mod">
        <pc:chgData name="Renata Festa" userId="6f22df47-533b-4c2a-a3c1-7f9ad1d63e10" providerId="ADAL" clId="{7D997690-04A4-4675-83D7-2E1CC2ED1A4E}" dt="2020-03-24T17:27:14.525" v="2306" actId="12084"/>
        <pc:sldMkLst>
          <pc:docMk/>
          <pc:sldMk cId="776602614" sldId="2076136697"/>
        </pc:sldMkLst>
        <pc:spChg chg="mod">
          <ac:chgData name="Renata Festa" userId="6f22df47-533b-4c2a-a3c1-7f9ad1d63e10" providerId="ADAL" clId="{7D997690-04A4-4675-83D7-2E1CC2ED1A4E}" dt="2020-03-24T17:26:00.801" v="2297"/>
          <ac:spMkLst>
            <pc:docMk/>
            <pc:sldMk cId="776602614" sldId="2076136697"/>
            <ac:spMk id="2" creationId="{EB67312A-9819-43C6-8D84-D9136E6CFFCC}"/>
          </ac:spMkLst>
        </pc:spChg>
        <pc:spChg chg="del">
          <ac:chgData name="Renata Festa" userId="6f22df47-533b-4c2a-a3c1-7f9ad1d63e10" providerId="ADAL" clId="{7D997690-04A4-4675-83D7-2E1CC2ED1A4E}" dt="2020-03-24T17:26:05.039" v="2298" actId="478"/>
          <ac:spMkLst>
            <pc:docMk/>
            <pc:sldMk cId="776602614" sldId="2076136697"/>
            <ac:spMk id="3" creationId="{F35E8CBB-5A7D-4DEF-BAF7-8DD5D042F9E0}"/>
          </ac:spMkLst>
        </pc:spChg>
        <pc:spChg chg="del mod">
          <ac:chgData name="Renata Festa" userId="6f22df47-533b-4c2a-a3c1-7f9ad1d63e10" providerId="ADAL" clId="{7D997690-04A4-4675-83D7-2E1CC2ED1A4E}" dt="2020-03-24T17:27:14.525" v="2306" actId="12084"/>
          <ac:spMkLst>
            <pc:docMk/>
            <pc:sldMk cId="776602614" sldId="2076136697"/>
            <ac:spMk id="4" creationId="{F3616A99-090F-45E1-9334-58D58B148205}"/>
          </ac:spMkLst>
        </pc:spChg>
        <pc:grpChg chg="add del">
          <ac:chgData name="Renata Festa" userId="6f22df47-533b-4c2a-a3c1-7f9ad1d63e10" providerId="ADAL" clId="{7D997690-04A4-4675-83D7-2E1CC2ED1A4E}" dt="2020-03-24T17:26:26.604" v="2303"/>
          <ac:grpSpMkLst>
            <pc:docMk/>
            <pc:sldMk cId="776602614" sldId="2076136697"/>
            <ac:grpSpMk id="5" creationId="{FB457433-3A04-4C72-9DCE-367EF1B63F3D}"/>
          </ac:grpSpMkLst>
        </pc:grpChg>
        <pc:grpChg chg="add del">
          <ac:chgData name="Renata Festa" userId="6f22df47-533b-4c2a-a3c1-7f9ad1d63e10" providerId="ADAL" clId="{7D997690-04A4-4675-83D7-2E1CC2ED1A4E}" dt="2020-03-24T17:26:26.604" v="2303"/>
          <ac:grpSpMkLst>
            <pc:docMk/>
            <pc:sldMk cId="776602614" sldId="2076136697"/>
            <ac:grpSpMk id="14" creationId="{2B839F16-102F-40F4-880F-BC7B5ED6D76E}"/>
          </ac:grpSpMkLst>
        </pc:grpChg>
        <pc:grpChg chg="add">
          <ac:chgData name="Renata Festa" userId="6f22df47-533b-4c2a-a3c1-7f9ad1d63e10" providerId="ADAL" clId="{7D997690-04A4-4675-83D7-2E1CC2ED1A4E}" dt="2020-03-24T17:26:28.714" v="2304"/>
          <ac:grpSpMkLst>
            <pc:docMk/>
            <pc:sldMk cId="776602614" sldId="2076136697"/>
            <ac:grpSpMk id="35" creationId="{920E40B6-76C5-4579-AFCD-69A68D7A7AF2}"/>
          </ac:grpSpMkLst>
        </pc:grpChg>
        <pc:grpChg chg="add">
          <ac:chgData name="Renata Festa" userId="6f22df47-533b-4c2a-a3c1-7f9ad1d63e10" providerId="ADAL" clId="{7D997690-04A4-4675-83D7-2E1CC2ED1A4E}" dt="2020-03-24T17:26:28.714" v="2304"/>
          <ac:grpSpMkLst>
            <pc:docMk/>
            <pc:sldMk cId="776602614" sldId="2076136697"/>
            <ac:grpSpMk id="44" creationId="{4B4280BE-5879-475F-8AB2-ED6B430E63C1}"/>
          </ac:grpSpMkLst>
        </pc:grpChg>
        <pc:graphicFrameChg chg="add mod">
          <ac:chgData name="Renata Festa" userId="6f22df47-533b-4c2a-a3c1-7f9ad1d63e10" providerId="ADAL" clId="{7D997690-04A4-4675-83D7-2E1CC2ED1A4E}" dt="2020-03-24T17:27:14.525" v="2306" actId="12084"/>
          <ac:graphicFrameMkLst>
            <pc:docMk/>
            <pc:sldMk cId="776602614" sldId="2076136697"/>
            <ac:graphicFrameMk id="65" creationId="{7103A620-1990-4718-988F-41E4F6B5B358}"/>
          </ac:graphicFrameMkLst>
        </pc:graphicFrameChg>
        <pc:picChg chg="add del">
          <ac:chgData name="Renata Festa" userId="6f22df47-533b-4c2a-a3c1-7f9ad1d63e10" providerId="ADAL" clId="{7D997690-04A4-4675-83D7-2E1CC2ED1A4E}" dt="2020-03-24T17:26:26.604" v="2303"/>
          <ac:picMkLst>
            <pc:docMk/>
            <pc:sldMk cId="776602614" sldId="2076136697"/>
            <ac:picMk id="13" creationId="{E23EACE3-A324-4227-88E7-39DFEBF54753}"/>
          </ac:picMkLst>
        </pc:picChg>
        <pc:picChg chg="add">
          <ac:chgData name="Renata Festa" userId="6f22df47-533b-4c2a-a3c1-7f9ad1d63e10" providerId="ADAL" clId="{7D997690-04A4-4675-83D7-2E1CC2ED1A4E}" dt="2020-03-24T17:26:28.714" v="2304"/>
          <ac:picMkLst>
            <pc:docMk/>
            <pc:sldMk cId="776602614" sldId="2076136697"/>
            <ac:picMk id="43" creationId="{075B5B1E-7D48-433A-BE1C-45448C48A6BA}"/>
          </ac:picMkLst>
        </pc:picChg>
      </pc:sldChg>
      <pc:sldChg chg="add del">
        <pc:chgData name="Renata Festa" userId="6f22df47-533b-4c2a-a3c1-7f9ad1d63e10" providerId="ADAL" clId="{7D997690-04A4-4675-83D7-2E1CC2ED1A4E}" dt="2020-03-24T17:29:21.162" v="2342" actId="47"/>
        <pc:sldMkLst>
          <pc:docMk/>
          <pc:sldMk cId="481848261" sldId="2076136698"/>
        </pc:sldMkLst>
      </pc:sldChg>
      <pc:sldChg chg="addSp delSp modSp add mod">
        <pc:chgData name="Renata Festa" userId="6f22df47-533b-4c2a-a3c1-7f9ad1d63e10" providerId="ADAL" clId="{7D997690-04A4-4675-83D7-2E1CC2ED1A4E}" dt="2020-03-24T17:28:45.755" v="2331" actId="12084"/>
        <pc:sldMkLst>
          <pc:docMk/>
          <pc:sldMk cId="1523218829" sldId="2076136699"/>
        </pc:sldMkLst>
        <pc:spChg chg="mod">
          <ac:chgData name="Renata Festa" userId="6f22df47-533b-4c2a-a3c1-7f9ad1d63e10" providerId="ADAL" clId="{7D997690-04A4-4675-83D7-2E1CC2ED1A4E}" dt="2020-03-24T17:27:22.561" v="2307"/>
          <ac:spMkLst>
            <pc:docMk/>
            <pc:sldMk cId="1523218829" sldId="2076136699"/>
            <ac:spMk id="2" creationId="{EB67312A-9819-43C6-8D84-D9136E6CFFCC}"/>
          </ac:spMkLst>
        </pc:spChg>
        <pc:spChg chg="del">
          <ac:chgData name="Renata Festa" userId="6f22df47-533b-4c2a-a3c1-7f9ad1d63e10" providerId="ADAL" clId="{7D997690-04A4-4675-83D7-2E1CC2ED1A4E}" dt="2020-03-24T17:27:26.589" v="2308" actId="478"/>
          <ac:spMkLst>
            <pc:docMk/>
            <pc:sldMk cId="1523218829" sldId="2076136699"/>
            <ac:spMk id="3" creationId="{F35E8CBB-5A7D-4DEF-BAF7-8DD5D042F9E0}"/>
          </ac:spMkLst>
        </pc:spChg>
        <pc:spChg chg="del mod">
          <ac:chgData name="Renata Festa" userId="6f22df47-533b-4c2a-a3c1-7f9ad1d63e10" providerId="ADAL" clId="{7D997690-04A4-4675-83D7-2E1CC2ED1A4E}" dt="2020-03-24T17:28:45.755" v="2331" actId="12084"/>
          <ac:spMkLst>
            <pc:docMk/>
            <pc:sldMk cId="1523218829" sldId="2076136699"/>
            <ac:spMk id="4" creationId="{F3616A99-090F-45E1-9334-58D58B148205}"/>
          </ac:spMkLst>
        </pc:spChg>
        <pc:spChg chg="add mod">
          <ac:chgData name="Renata Festa" userId="6f22df47-533b-4c2a-a3c1-7f9ad1d63e10" providerId="ADAL" clId="{7D997690-04A4-4675-83D7-2E1CC2ED1A4E}" dt="2020-03-24T17:28:16.466" v="2330" actId="13822"/>
          <ac:spMkLst>
            <pc:docMk/>
            <pc:sldMk cId="1523218829" sldId="2076136699"/>
            <ac:spMk id="5" creationId="{87912370-6C74-4FCD-AE59-9343073F6BA3}"/>
          </ac:spMkLst>
        </pc:spChg>
        <pc:spChg chg="add mod">
          <ac:chgData name="Renata Festa" userId="6f22df47-533b-4c2a-a3c1-7f9ad1d63e10" providerId="ADAL" clId="{7D997690-04A4-4675-83D7-2E1CC2ED1A4E}" dt="2020-03-24T17:28:16.466" v="2330" actId="13822"/>
          <ac:spMkLst>
            <pc:docMk/>
            <pc:sldMk cId="1523218829" sldId="2076136699"/>
            <ac:spMk id="18" creationId="{ABFBCB1C-24E8-461C-9C76-AAAE9252F227}"/>
          </ac:spMkLst>
        </pc:spChg>
        <pc:spChg chg="add mod">
          <ac:chgData name="Renata Festa" userId="6f22df47-533b-4c2a-a3c1-7f9ad1d63e10" providerId="ADAL" clId="{7D997690-04A4-4675-83D7-2E1CC2ED1A4E}" dt="2020-03-24T17:28:16.466" v="2330" actId="13822"/>
          <ac:spMkLst>
            <pc:docMk/>
            <pc:sldMk cId="1523218829" sldId="2076136699"/>
            <ac:spMk id="19" creationId="{B9C454EF-EDDC-42CF-8599-8EF057E95240}"/>
          </ac:spMkLst>
        </pc:spChg>
        <pc:spChg chg="add mod">
          <ac:chgData name="Renata Festa" userId="6f22df47-533b-4c2a-a3c1-7f9ad1d63e10" providerId="ADAL" clId="{7D997690-04A4-4675-83D7-2E1CC2ED1A4E}" dt="2020-03-24T17:28:16.466" v="2330" actId="13822"/>
          <ac:spMkLst>
            <pc:docMk/>
            <pc:sldMk cId="1523218829" sldId="2076136699"/>
            <ac:spMk id="20" creationId="{4E2AF095-C728-4497-AE96-F44E20FEE2C8}"/>
          </ac:spMkLst>
        </pc:spChg>
        <pc:spChg chg="add mod">
          <ac:chgData name="Renata Festa" userId="6f22df47-533b-4c2a-a3c1-7f9ad1d63e10" providerId="ADAL" clId="{7D997690-04A4-4675-83D7-2E1CC2ED1A4E}" dt="2020-03-24T17:28:16.466" v="2330" actId="13822"/>
          <ac:spMkLst>
            <pc:docMk/>
            <pc:sldMk cId="1523218829" sldId="2076136699"/>
            <ac:spMk id="28" creationId="{F0CDBA05-BB27-4924-AA83-331CE6E37601}"/>
          </ac:spMkLst>
        </pc:spChg>
        <pc:spChg chg="add mod">
          <ac:chgData name="Renata Festa" userId="6f22df47-533b-4c2a-a3c1-7f9ad1d63e10" providerId="ADAL" clId="{7D997690-04A4-4675-83D7-2E1CC2ED1A4E}" dt="2020-03-24T17:28:16.466" v="2330" actId="13822"/>
          <ac:spMkLst>
            <pc:docMk/>
            <pc:sldMk cId="1523218829" sldId="2076136699"/>
            <ac:spMk id="29" creationId="{1CC393B7-E880-47AD-BFE8-A1BE4AAEA736}"/>
          </ac:spMkLst>
        </pc:spChg>
        <pc:spChg chg="add mod">
          <ac:chgData name="Renata Festa" userId="6f22df47-533b-4c2a-a3c1-7f9ad1d63e10" providerId="ADAL" clId="{7D997690-04A4-4675-83D7-2E1CC2ED1A4E}" dt="2020-03-24T17:28:16.466" v="2330" actId="13822"/>
          <ac:spMkLst>
            <pc:docMk/>
            <pc:sldMk cId="1523218829" sldId="2076136699"/>
            <ac:spMk id="31" creationId="{39A19690-73C7-4E93-A2A5-F111AD6F59D2}"/>
          </ac:spMkLst>
        </pc:spChg>
        <pc:spChg chg="add mod">
          <ac:chgData name="Renata Festa" userId="6f22df47-533b-4c2a-a3c1-7f9ad1d63e10" providerId="ADAL" clId="{7D997690-04A4-4675-83D7-2E1CC2ED1A4E}" dt="2020-03-24T17:28:16.466" v="2330" actId="13822"/>
          <ac:spMkLst>
            <pc:docMk/>
            <pc:sldMk cId="1523218829" sldId="2076136699"/>
            <ac:spMk id="32" creationId="{E5AB01EF-3997-4380-8792-5224830DEDB8}"/>
          </ac:spMkLst>
        </pc:spChg>
        <pc:spChg chg="add mod">
          <ac:chgData name="Renata Festa" userId="6f22df47-533b-4c2a-a3c1-7f9ad1d63e10" providerId="ADAL" clId="{7D997690-04A4-4675-83D7-2E1CC2ED1A4E}" dt="2020-03-24T17:28:16.466" v="2330" actId="13822"/>
          <ac:spMkLst>
            <pc:docMk/>
            <pc:sldMk cId="1523218829" sldId="2076136699"/>
            <ac:spMk id="33" creationId="{358CBBE6-960B-4B76-B2A2-DAF59061C14D}"/>
          </ac:spMkLst>
        </pc:spChg>
        <pc:spChg chg="add mod">
          <ac:chgData name="Renata Festa" userId="6f22df47-533b-4c2a-a3c1-7f9ad1d63e10" providerId="ADAL" clId="{7D997690-04A4-4675-83D7-2E1CC2ED1A4E}" dt="2020-03-24T17:28:16.466" v="2330" actId="13822"/>
          <ac:spMkLst>
            <pc:docMk/>
            <pc:sldMk cId="1523218829" sldId="2076136699"/>
            <ac:spMk id="34" creationId="{C9BFDBCE-AA85-42E1-A73D-83711627DC37}"/>
          </ac:spMkLst>
        </pc:spChg>
        <pc:grpChg chg="add mod">
          <ac:chgData name="Renata Festa" userId="6f22df47-533b-4c2a-a3c1-7f9ad1d63e10" providerId="ADAL" clId="{7D997690-04A4-4675-83D7-2E1CC2ED1A4E}" dt="2020-03-24T17:28:16.466" v="2330" actId="13822"/>
          <ac:grpSpMkLst>
            <pc:docMk/>
            <pc:sldMk cId="1523218829" sldId="2076136699"/>
            <ac:grpSpMk id="7" creationId="{CA5B0FC3-7BB0-44BE-AB9F-90E84F630830}"/>
          </ac:grpSpMkLst>
        </pc:grpChg>
        <pc:grpChg chg="add mod">
          <ac:chgData name="Renata Festa" userId="6f22df47-533b-4c2a-a3c1-7f9ad1d63e10" providerId="ADAL" clId="{7D997690-04A4-4675-83D7-2E1CC2ED1A4E}" dt="2020-03-24T17:28:16.466" v="2330" actId="13822"/>
          <ac:grpSpMkLst>
            <pc:docMk/>
            <pc:sldMk cId="1523218829" sldId="2076136699"/>
            <ac:grpSpMk id="10" creationId="{2D4A47E8-C9A1-4A52-9388-DDB1B7FFCF9A}"/>
          </ac:grpSpMkLst>
        </pc:grpChg>
        <pc:grpChg chg="add mod">
          <ac:chgData name="Renata Festa" userId="6f22df47-533b-4c2a-a3c1-7f9ad1d63e10" providerId="ADAL" clId="{7D997690-04A4-4675-83D7-2E1CC2ED1A4E}" dt="2020-03-24T17:28:16.466" v="2330" actId="13822"/>
          <ac:grpSpMkLst>
            <pc:docMk/>
            <pc:sldMk cId="1523218829" sldId="2076136699"/>
            <ac:grpSpMk id="13" creationId="{29BD36A1-7C84-46E8-B856-04835D8730D5}"/>
          </ac:grpSpMkLst>
        </pc:grpChg>
        <pc:grpChg chg="mod">
          <ac:chgData name="Renata Festa" userId="6f22df47-533b-4c2a-a3c1-7f9ad1d63e10" providerId="ADAL" clId="{7D997690-04A4-4675-83D7-2E1CC2ED1A4E}" dt="2020-03-24T17:28:12.599" v="2329" actId="1036"/>
          <ac:grpSpMkLst>
            <pc:docMk/>
            <pc:sldMk cId="1523218829" sldId="2076136699"/>
            <ac:grpSpMk id="15" creationId="{B2DE1592-4314-4627-BD61-9D7D0E10BC99}"/>
          </ac:grpSpMkLst>
        </pc:grpChg>
        <pc:grpChg chg="add mod">
          <ac:chgData name="Renata Festa" userId="6f22df47-533b-4c2a-a3c1-7f9ad1d63e10" providerId="ADAL" clId="{7D997690-04A4-4675-83D7-2E1CC2ED1A4E}" dt="2020-03-24T17:28:16.466" v="2330" actId="13822"/>
          <ac:grpSpMkLst>
            <pc:docMk/>
            <pc:sldMk cId="1523218829" sldId="2076136699"/>
            <ac:grpSpMk id="21" creationId="{E75B4223-FE60-41BB-AFD2-1684DF4A63A9}"/>
          </ac:grpSpMkLst>
        </pc:grpChg>
        <pc:grpChg chg="mod">
          <ac:chgData name="Renata Festa" userId="6f22df47-533b-4c2a-a3c1-7f9ad1d63e10" providerId="ADAL" clId="{7D997690-04A4-4675-83D7-2E1CC2ED1A4E}" dt="2020-03-24T17:28:12.599" v="2329" actId="1036"/>
          <ac:grpSpMkLst>
            <pc:docMk/>
            <pc:sldMk cId="1523218829" sldId="2076136699"/>
            <ac:grpSpMk id="22" creationId="{DEA51353-C947-4605-932C-440872E1AEA1}"/>
          </ac:grpSpMkLst>
        </pc:grpChg>
        <pc:graphicFrameChg chg="add mod">
          <ac:chgData name="Renata Festa" userId="6f22df47-533b-4c2a-a3c1-7f9ad1d63e10" providerId="ADAL" clId="{7D997690-04A4-4675-83D7-2E1CC2ED1A4E}" dt="2020-03-24T17:28:45.755" v="2331" actId="12084"/>
          <ac:graphicFrameMkLst>
            <pc:docMk/>
            <pc:sldMk cId="1523218829" sldId="2076136699"/>
            <ac:graphicFrameMk id="35" creationId="{D0B76E88-7116-4F9D-BCE3-FD82DC90077B}"/>
          </ac:graphicFrameMkLst>
        </pc:graphicFrameChg>
        <pc:cxnChg chg="add mod">
          <ac:chgData name="Renata Festa" userId="6f22df47-533b-4c2a-a3c1-7f9ad1d63e10" providerId="ADAL" clId="{7D997690-04A4-4675-83D7-2E1CC2ED1A4E}" dt="2020-03-24T17:28:16.466" v="2330" actId="13822"/>
          <ac:cxnSpMkLst>
            <pc:docMk/>
            <pc:sldMk cId="1523218829" sldId="2076136699"/>
            <ac:cxnSpMk id="6" creationId="{C772B550-D335-4F40-A867-ACE71A85A73A}"/>
          </ac:cxnSpMkLst>
        </pc:cxnChg>
        <pc:cxnChg chg="add mod">
          <ac:chgData name="Renata Festa" userId="6f22df47-533b-4c2a-a3c1-7f9ad1d63e10" providerId="ADAL" clId="{7D997690-04A4-4675-83D7-2E1CC2ED1A4E}" dt="2020-03-24T17:28:16.466" v="2330" actId="13822"/>
          <ac:cxnSpMkLst>
            <pc:docMk/>
            <pc:sldMk cId="1523218829" sldId="2076136699"/>
            <ac:cxnSpMk id="30" creationId="{72D386E2-4ADC-459A-8420-EB56BA37E37D}"/>
          </ac:cxnSpMkLst>
        </pc:cxnChg>
      </pc:sldChg>
      <pc:sldChg chg="add del">
        <pc:chgData name="Renata Festa" userId="6f22df47-533b-4c2a-a3c1-7f9ad1d63e10" providerId="ADAL" clId="{7D997690-04A4-4675-83D7-2E1CC2ED1A4E}" dt="2020-03-24T17:29:19.545" v="2339" actId="47"/>
        <pc:sldMkLst>
          <pc:docMk/>
          <pc:sldMk cId="956850771" sldId="2076136700"/>
        </pc:sldMkLst>
      </pc:sldChg>
      <pc:sldChg chg="addSp delSp modSp add">
        <pc:chgData name="Renata Festa" userId="6f22df47-533b-4c2a-a3c1-7f9ad1d63e10" providerId="ADAL" clId="{7D997690-04A4-4675-83D7-2E1CC2ED1A4E}" dt="2020-03-24T17:30:44.798" v="2356" actId="12100"/>
        <pc:sldMkLst>
          <pc:docMk/>
          <pc:sldMk cId="1359590065" sldId="2076136700"/>
        </pc:sldMkLst>
        <pc:spChg chg="mod">
          <ac:chgData name="Renata Festa" userId="6f22df47-533b-4c2a-a3c1-7f9ad1d63e10" providerId="ADAL" clId="{7D997690-04A4-4675-83D7-2E1CC2ED1A4E}" dt="2020-03-24T17:30:04.156" v="2347"/>
          <ac:spMkLst>
            <pc:docMk/>
            <pc:sldMk cId="1359590065" sldId="2076136700"/>
            <ac:spMk id="2" creationId="{67F506ED-07D9-4CE8-BB92-B6B761FF2656}"/>
          </ac:spMkLst>
        </pc:spChg>
        <pc:spChg chg="add del mod">
          <ac:chgData name="Renata Festa" userId="6f22df47-533b-4c2a-a3c1-7f9ad1d63e10" providerId="ADAL" clId="{7D997690-04A4-4675-83D7-2E1CC2ED1A4E}" dt="2020-03-24T17:30:31.690" v="2355" actId="12084"/>
          <ac:spMkLst>
            <pc:docMk/>
            <pc:sldMk cId="1359590065" sldId="2076136700"/>
            <ac:spMk id="3" creationId="{109BF1FC-6627-4EE9-AE60-9104B7870A3F}"/>
          </ac:spMkLst>
        </pc:spChg>
        <pc:graphicFrameChg chg="add mod">
          <ac:chgData name="Renata Festa" userId="6f22df47-533b-4c2a-a3c1-7f9ad1d63e10" providerId="ADAL" clId="{7D997690-04A4-4675-83D7-2E1CC2ED1A4E}" dt="2020-03-24T17:30:44.798" v="2356" actId="12100"/>
          <ac:graphicFrameMkLst>
            <pc:docMk/>
            <pc:sldMk cId="1359590065" sldId="2076136700"/>
            <ac:graphicFrameMk id="5" creationId="{9160CB12-1FA7-4DC0-84DC-78AA49CF4904}"/>
          </ac:graphicFrameMkLst>
        </pc:graphicFrameChg>
        <pc:picChg chg="add del mod">
          <ac:chgData name="Renata Festa" userId="6f22df47-533b-4c2a-a3c1-7f9ad1d63e10" providerId="ADAL" clId="{7D997690-04A4-4675-83D7-2E1CC2ED1A4E}" dt="2020-03-24T17:30:11.265" v="2350"/>
          <ac:picMkLst>
            <pc:docMk/>
            <pc:sldMk cId="1359590065" sldId="2076136700"/>
            <ac:picMk id="4" creationId="{1853699F-F632-4BA3-BAFE-46F302CD5760}"/>
          </ac:picMkLst>
        </pc:picChg>
      </pc:sldChg>
      <pc:sldChg chg="add del">
        <pc:chgData name="Renata Festa" userId="6f22df47-533b-4c2a-a3c1-7f9ad1d63e10" providerId="ADAL" clId="{7D997690-04A4-4675-83D7-2E1CC2ED1A4E}" dt="2020-03-24T17:29:20.060" v="2340" actId="47"/>
        <pc:sldMkLst>
          <pc:docMk/>
          <pc:sldMk cId="1365728107" sldId="2076136701"/>
        </pc:sldMkLst>
      </pc:sldChg>
      <pc:sldChg chg="add del">
        <pc:chgData name="Renata Festa" userId="6f22df47-533b-4c2a-a3c1-7f9ad1d63e10" providerId="ADAL" clId="{7D997690-04A4-4675-83D7-2E1CC2ED1A4E}" dt="2020-03-24T17:29:20.480" v="2341" actId="47"/>
        <pc:sldMkLst>
          <pc:docMk/>
          <pc:sldMk cId="3735082904" sldId="2076136702"/>
        </pc:sldMkLst>
      </pc:sldChg>
      <pc:sldMasterChg chg="delSldLayout">
        <pc:chgData name="Renata Festa" userId="6f22df47-533b-4c2a-a3c1-7f9ad1d63e10" providerId="ADAL" clId="{7D997690-04A4-4675-83D7-2E1CC2ED1A4E}" dt="2020-03-24T12:57:38.212" v="1331" actId="47"/>
        <pc:sldMasterMkLst>
          <pc:docMk/>
          <pc:sldMasterMk cId="1044402230" sldId="2147483706"/>
        </pc:sldMasterMkLst>
        <pc:sldLayoutChg chg="del">
          <pc:chgData name="Renata Festa" userId="6f22df47-533b-4c2a-a3c1-7f9ad1d63e10" providerId="ADAL" clId="{7D997690-04A4-4675-83D7-2E1CC2ED1A4E}" dt="2020-03-24T12:57:38.212" v="1331" actId="47"/>
          <pc:sldLayoutMkLst>
            <pc:docMk/>
            <pc:sldMasterMk cId="1044402230" sldId="2147483706"/>
            <pc:sldLayoutMk cId="1561926091" sldId="2147483755"/>
          </pc:sldLayoutMkLst>
        </pc:sldLayoutChg>
      </pc:sldMasterChg>
    </pc:docChg>
  </pc:docChgLst>
  <pc:docChgLst>
    <pc:chgData name="Batuhan Yildiz" userId="90f344fc-4655-4923-aeaf-697bba59c1a7" providerId="ADAL" clId="{132605CE-A84A-4A0D-8C6E-834F931F728F}"/>
    <pc:docChg chg="undo custSel modSld">
      <pc:chgData name="Batuhan Yildiz" userId="90f344fc-4655-4923-aeaf-697bba59c1a7" providerId="ADAL" clId="{132605CE-A84A-4A0D-8C6E-834F931F728F}" dt="2020-03-30T19:28:46.147" v="467" actId="1592"/>
      <pc:docMkLst>
        <pc:docMk/>
      </pc:docMkLst>
      <pc:sldChg chg="delCm">
        <pc:chgData name="Batuhan Yildiz" userId="90f344fc-4655-4923-aeaf-697bba59c1a7" providerId="ADAL" clId="{132605CE-A84A-4A0D-8C6E-834F931F728F}" dt="2020-03-30T18:06:43.325" v="0" actId="1592"/>
        <pc:sldMkLst>
          <pc:docMk/>
          <pc:sldMk cId="641676752" sldId="589"/>
        </pc:sldMkLst>
      </pc:sldChg>
      <pc:sldChg chg="modSp mod">
        <pc:chgData name="Batuhan Yildiz" userId="90f344fc-4655-4923-aeaf-697bba59c1a7" providerId="ADAL" clId="{132605CE-A84A-4A0D-8C6E-834F931F728F}" dt="2020-03-30T18:10:44.655" v="5" actId="1037"/>
        <pc:sldMkLst>
          <pc:docMk/>
          <pc:sldMk cId="3820441088" sldId="595"/>
        </pc:sldMkLst>
        <pc:spChg chg="mod">
          <ac:chgData name="Batuhan Yildiz" userId="90f344fc-4655-4923-aeaf-697bba59c1a7" providerId="ADAL" clId="{132605CE-A84A-4A0D-8C6E-834F931F728F}" dt="2020-03-30T18:10:35.240" v="2" actId="1076"/>
          <ac:spMkLst>
            <pc:docMk/>
            <pc:sldMk cId="3820441088" sldId="595"/>
            <ac:spMk id="28" creationId="{6DA82C20-8928-4A92-8991-2BD3530C0EDF}"/>
          </ac:spMkLst>
        </pc:spChg>
        <pc:spChg chg="mod">
          <ac:chgData name="Batuhan Yildiz" userId="90f344fc-4655-4923-aeaf-697bba59c1a7" providerId="ADAL" clId="{132605CE-A84A-4A0D-8C6E-834F931F728F}" dt="2020-03-30T18:10:44.655" v="5" actId="1037"/>
          <ac:spMkLst>
            <pc:docMk/>
            <pc:sldMk cId="3820441088" sldId="595"/>
            <ac:spMk id="30" creationId="{091B2941-F117-4259-AA0D-D8CE2E930DC4}"/>
          </ac:spMkLst>
        </pc:spChg>
        <pc:spChg chg="mod">
          <ac:chgData name="Batuhan Yildiz" userId="90f344fc-4655-4923-aeaf-697bba59c1a7" providerId="ADAL" clId="{132605CE-A84A-4A0D-8C6E-834F931F728F}" dt="2020-03-30T18:10:44.655" v="5" actId="1037"/>
          <ac:spMkLst>
            <pc:docMk/>
            <pc:sldMk cId="3820441088" sldId="595"/>
            <ac:spMk id="31" creationId="{869AE1E2-B68E-4F14-8F77-6640998DED71}"/>
          </ac:spMkLst>
        </pc:spChg>
      </pc:sldChg>
      <pc:sldChg chg="mod modShow">
        <pc:chgData name="Batuhan Yildiz" userId="90f344fc-4655-4923-aeaf-697bba59c1a7" providerId="ADAL" clId="{132605CE-A84A-4A0D-8C6E-834F931F728F}" dt="2020-03-30T18:45:02.501" v="7" actId="729"/>
        <pc:sldMkLst>
          <pc:docMk/>
          <pc:sldMk cId="2369490167" sldId="600"/>
        </pc:sldMkLst>
      </pc:sldChg>
      <pc:sldChg chg="modAnim delCm">
        <pc:chgData name="Batuhan Yildiz" userId="90f344fc-4655-4923-aeaf-697bba59c1a7" providerId="ADAL" clId="{132605CE-A84A-4A0D-8C6E-834F931F728F}" dt="2020-03-30T19:27:46.380" v="466"/>
        <pc:sldMkLst>
          <pc:docMk/>
          <pc:sldMk cId="1398347698" sldId="602"/>
        </pc:sldMkLst>
      </pc:sldChg>
      <pc:sldChg chg="addSp delSp modSp mod">
        <pc:chgData name="Batuhan Yildiz" userId="90f344fc-4655-4923-aeaf-697bba59c1a7" providerId="ADAL" clId="{132605CE-A84A-4A0D-8C6E-834F931F728F}" dt="2020-03-30T19:14:25.141" v="246" actId="947"/>
        <pc:sldMkLst>
          <pc:docMk/>
          <pc:sldMk cId="1015519254" sldId="2076136640"/>
        </pc:sldMkLst>
        <pc:spChg chg="add del mod">
          <ac:chgData name="Batuhan Yildiz" userId="90f344fc-4655-4923-aeaf-697bba59c1a7" providerId="ADAL" clId="{132605CE-A84A-4A0D-8C6E-834F931F728F}" dt="2020-03-30T19:12:39.461" v="111"/>
          <ac:spMkLst>
            <pc:docMk/>
            <pc:sldMk cId="1015519254" sldId="2076136640"/>
            <ac:spMk id="4" creationId="{EFEE4A3E-D367-4D9C-840B-F3E605214315}"/>
          </ac:spMkLst>
        </pc:spChg>
        <pc:spChg chg="mod">
          <ac:chgData name="Batuhan Yildiz" userId="90f344fc-4655-4923-aeaf-697bba59c1a7" providerId="ADAL" clId="{132605CE-A84A-4A0D-8C6E-834F931F728F}" dt="2020-03-30T19:14:17.945" v="214" actId="1038"/>
          <ac:spMkLst>
            <pc:docMk/>
            <pc:sldMk cId="1015519254" sldId="2076136640"/>
            <ac:spMk id="10" creationId="{0380E9C7-5CE5-4819-92D1-4AC17221379C}"/>
          </ac:spMkLst>
        </pc:spChg>
        <pc:spChg chg="mod">
          <ac:chgData name="Batuhan Yildiz" userId="90f344fc-4655-4923-aeaf-697bba59c1a7" providerId="ADAL" clId="{132605CE-A84A-4A0D-8C6E-834F931F728F}" dt="2020-03-30T19:14:17.945" v="214" actId="1038"/>
          <ac:spMkLst>
            <pc:docMk/>
            <pc:sldMk cId="1015519254" sldId="2076136640"/>
            <ac:spMk id="11" creationId="{DC8A9DD2-E5FA-4467-8DD2-6474AAD1F77C}"/>
          </ac:spMkLst>
        </pc:spChg>
        <pc:spChg chg="mod">
          <ac:chgData name="Batuhan Yildiz" userId="90f344fc-4655-4923-aeaf-697bba59c1a7" providerId="ADAL" clId="{132605CE-A84A-4A0D-8C6E-834F931F728F}" dt="2020-03-30T19:14:17.945" v="214" actId="1038"/>
          <ac:spMkLst>
            <pc:docMk/>
            <pc:sldMk cId="1015519254" sldId="2076136640"/>
            <ac:spMk id="12" creationId="{B3206252-431B-453D-9991-4631A172520A}"/>
          </ac:spMkLst>
        </pc:spChg>
        <pc:spChg chg="mod">
          <ac:chgData name="Batuhan Yildiz" userId="90f344fc-4655-4923-aeaf-697bba59c1a7" providerId="ADAL" clId="{132605CE-A84A-4A0D-8C6E-834F931F728F}" dt="2020-03-30T19:14:17.945" v="214" actId="1038"/>
          <ac:spMkLst>
            <pc:docMk/>
            <pc:sldMk cId="1015519254" sldId="2076136640"/>
            <ac:spMk id="13" creationId="{FAEA30B0-BC74-43E8-9540-FD3C6FBAEE6B}"/>
          </ac:spMkLst>
        </pc:spChg>
        <pc:spChg chg="mod">
          <ac:chgData name="Batuhan Yildiz" userId="90f344fc-4655-4923-aeaf-697bba59c1a7" providerId="ADAL" clId="{132605CE-A84A-4A0D-8C6E-834F931F728F}" dt="2020-03-30T19:14:17.945" v="214" actId="1038"/>
          <ac:spMkLst>
            <pc:docMk/>
            <pc:sldMk cId="1015519254" sldId="2076136640"/>
            <ac:spMk id="16" creationId="{F1947A04-C1F6-43AC-9273-2090A9A2624C}"/>
          </ac:spMkLst>
        </pc:spChg>
        <pc:spChg chg="mod">
          <ac:chgData name="Batuhan Yildiz" userId="90f344fc-4655-4923-aeaf-697bba59c1a7" providerId="ADAL" clId="{132605CE-A84A-4A0D-8C6E-834F931F728F}" dt="2020-03-30T19:14:17.945" v="214" actId="1038"/>
          <ac:spMkLst>
            <pc:docMk/>
            <pc:sldMk cId="1015519254" sldId="2076136640"/>
            <ac:spMk id="81" creationId="{6B1B062D-6075-4C53-9FAF-443E1BAD5E6E}"/>
          </ac:spMkLst>
        </pc:spChg>
        <pc:spChg chg="mod">
          <ac:chgData name="Batuhan Yildiz" userId="90f344fc-4655-4923-aeaf-697bba59c1a7" providerId="ADAL" clId="{132605CE-A84A-4A0D-8C6E-834F931F728F}" dt="2020-03-30T19:14:17.945" v="214" actId="1038"/>
          <ac:spMkLst>
            <pc:docMk/>
            <pc:sldMk cId="1015519254" sldId="2076136640"/>
            <ac:spMk id="82" creationId="{FD0EB85E-A118-46A0-AD1B-48B898A96C8D}"/>
          </ac:spMkLst>
        </pc:spChg>
        <pc:spChg chg="mod">
          <ac:chgData name="Batuhan Yildiz" userId="90f344fc-4655-4923-aeaf-697bba59c1a7" providerId="ADAL" clId="{132605CE-A84A-4A0D-8C6E-834F931F728F}" dt="2020-03-30T19:14:17.945" v="214" actId="1038"/>
          <ac:spMkLst>
            <pc:docMk/>
            <pc:sldMk cId="1015519254" sldId="2076136640"/>
            <ac:spMk id="83" creationId="{F1B68ECC-ABB5-41A2-9B62-A7D689628577}"/>
          </ac:spMkLst>
        </pc:spChg>
        <pc:spChg chg="mod">
          <ac:chgData name="Batuhan Yildiz" userId="90f344fc-4655-4923-aeaf-697bba59c1a7" providerId="ADAL" clId="{132605CE-A84A-4A0D-8C6E-834F931F728F}" dt="2020-03-30T19:14:17.945" v="214" actId="1038"/>
          <ac:spMkLst>
            <pc:docMk/>
            <pc:sldMk cId="1015519254" sldId="2076136640"/>
            <ac:spMk id="84" creationId="{79760D8B-72F7-4C5C-8215-72F93D3D38C2}"/>
          </ac:spMkLst>
        </pc:spChg>
        <pc:spChg chg="mod">
          <ac:chgData name="Batuhan Yildiz" userId="90f344fc-4655-4923-aeaf-697bba59c1a7" providerId="ADAL" clId="{132605CE-A84A-4A0D-8C6E-834F931F728F}" dt="2020-03-30T19:14:17.945" v="214" actId="1038"/>
          <ac:spMkLst>
            <pc:docMk/>
            <pc:sldMk cId="1015519254" sldId="2076136640"/>
            <ac:spMk id="85" creationId="{FE7B9824-7D21-4B6B-9E93-7DA22B9EAAFC}"/>
          </ac:spMkLst>
        </pc:spChg>
        <pc:grpChg chg="mod">
          <ac:chgData name="Batuhan Yildiz" userId="90f344fc-4655-4923-aeaf-697bba59c1a7" providerId="ADAL" clId="{132605CE-A84A-4A0D-8C6E-834F931F728F}" dt="2020-03-30T19:14:17.945" v="214" actId="1038"/>
          <ac:grpSpMkLst>
            <pc:docMk/>
            <pc:sldMk cId="1015519254" sldId="2076136640"/>
            <ac:grpSpMk id="17" creationId="{9B3C532A-27A1-47BC-97A3-2F42EA094F8C}"/>
          </ac:grpSpMkLst>
        </pc:grpChg>
        <pc:grpChg chg="mod">
          <ac:chgData name="Batuhan Yildiz" userId="90f344fc-4655-4923-aeaf-697bba59c1a7" providerId="ADAL" clId="{132605CE-A84A-4A0D-8C6E-834F931F728F}" dt="2020-03-30T19:14:17.945" v="214" actId="1038"/>
          <ac:grpSpMkLst>
            <pc:docMk/>
            <pc:sldMk cId="1015519254" sldId="2076136640"/>
            <ac:grpSpMk id="33" creationId="{71F58C6E-B40C-423B-82A2-6833DFD6F55E}"/>
          </ac:grpSpMkLst>
        </pc:grpChg>
        <pc:grpChg chg="mod">
          <ac:chgData name="Batuhan Yildiz" userId="90f344fc-4655-4923-aeaf-697bba59c1a7" providerId="ADAL" clId="{132605CE-A84A-4A0D-8C6E-834F931F728F}" dt="2020-03-30T19:14:17.945" v="214" actId="1038"/>
          <ac:grpSpMkLst>
            <pc:docMk/>
            <pc:sldMk cId="1015519254" sldId="2076136640"/>
            <ac:grpSpMk id="49" creationId="{29714D62-13B6-4299-865E-3DF4067B2FBC}"/>
          </ac:grpSpMkLst>
        </pc:grpChg>
        <pc:grpChg chg="mod">
          <ac:chgData name="Batuhan Yildiz" userId="90f344fc-4655-4923-aeaf-697bba59c1a7" providerId="ADAL" clId="{132605CE-A84A-4A0D-8C6E-834F931F728F}" dt="2020-03-30T19:14:17.945" v="214" actId="1038"/>
          <ac:grpSpMkLst>
            <pc:docMk/>
            <pc:sldMk cId="1015519254" sldId="2076136640"/>
            <ac:grpSpMk id="65" creationId="{81D64A12-2FF9-4753-99C4-0697BC47A03B}"/>
          </ac:grpSpMkLst>
        </pc:grpChg>
        <pc:graphicFrameChg chg="add del mod modGraphic">
          <ac:chgData name="Batuhan Yildiz" userId="90f344fc-4655-4923-aeaf-697bba59c1a7" providerId="ADAL" clId="{132605CE-A84A-4A0D-8C6E-834F931F728F}" dt="2020-03-30T19:12:38.744" v="62"/>
          <ac:graphicFrameMkLst>
            <pc:docMk/>
            <pc:sldMk cId="1015519254" sldId="2076136640"/>
            <ac:graphicFrameMk id="86" creationId="{78166239-681D-4CF4-9F24-9B0EA8705D39}"/>
          </ac:graphicFrameMkLst>
        </pc:graphicFrameChg>
        <pc:graphicFrameChg chg="add del mod modGraphic">
          <ac:chgData name="Batuhan Yildiz" userId="90f344fc-4655-4923-aeaf-697bba59c1a7" providerId="ADAL" clId="{132605CE-A84A-4A0D-8C6E-834F931F728F}" dt="2020-03-30T19:12:39.470" v="113"/>
          <ac:graphicFrameMkLst>
            <pc:docMk/>
            <pc:sldMk cId="1015519254" sldId="2076136640"/>
            <ac:graphicFrameMk id="87" creationId="{0639FD9E-2E91-430A-9189-61209E17A905}"/>
          </ac:graphicFrameMkLst>
        </pc:graphicFrameChg>
        <pc:graphicFrameChg chg="add modGraphic">
          <ac:chgData name="Batuhan Yildiz" userId="90f344fc-4655-4923-aeaf-697bba59c1a7" providerId="ADAL" clId="{132605CE-A84A-4A0D-8C6E-834F931F728F}" dt="2020-03-30T19:14:25.141" v="246" actId="947"/>
          <ac:graphicFrameMkLst>
            <pc:docMk/>
            <pc:sldMk cId="1015519254" sldId="2076136640"/>
            <ac:graphicFrameMk id="88" creationId="{1E171113-4CE7-4446-9837-BEF13C3A70ED}"/>
          </ac:graphicFrameMkLst>
        </pc:graphicFrameChg>
        <pc:graphicFrameChg chg="del">
          <ac:chgData name="Batuhan Yildiz" userId="90f344fc-4655-4923-aeaf-697bba59c1a7" providerId="ADAL" clId="{132605CE-A84A-4A0D-8C6E-834F931F728F}" dt="2020-03-30T19:12:39.414" v="110"/>
          <ac:graphicFrameMkLst>
            <pc:docMk/>
            <pc:sldMk cId="1015519254" sldId="2076136640"/>
            <ac:graphicFrameMk id="92" creationId="{81F30FB2-0620-4461-9753-54435887FC54}"/>
          </ac:graphicFrameMkLst>
        </pc:graphicFrameChg>
        <pc:cxnChg chg="mod">
          <ac:chgData name="Batuhan Yildiz" userId="90f344fc-4655-4923-aeaf-697bba59c1a7" providerId="ADAL" clId="{132605CE-A84A-4A0D-8C6E-834F931F728F}" dt="2020-03-30T19:14:17.945" v="214" actId="1038"/>
          <ac:cxnSpMkLst>
            <pc:docMk/>
            <pc:sldMk cId="1015519254" sldId="2076136640"/>
            <ac:cxnSpMk id="14" creationId="{4F8E2269-EAD6-4134-88F0-E9850E22354B}"/>
          </ac:cxnSpMkLst>
        </pc:cxnChg>
        <pc:cxnChg chg="mod">
          <ac:chgData name="Batuhan Yildiz" userId="90f344fc-4655-4923-aeaf-697bba59c1a7" providerId="ADAL" clId="{132605CE-A84A-4A0D-8C6E-834F931F728F}" dt="2020-03-30T19:14:17.945" v="214" actId="1038"/>
          <ac:cxnSpMkLst>
            <pc:docMk/>
            <pc:sldMk cId="1015519254" sldId="2076136640"/>
            <ac:cxnSpMk id="15" creationId="{1BD164A7-0A3C-4724-AACD-E360B53BA7D0}"/>
          </ac:cxnSpMkLst>
        </pc:cxnChg>
      </pc:sldChg>
      <pc:sldChg chg="addSp delSp modSp mod">
        <pc:chgData name="Batuhan Yildiz" userId="90f344fc-4655-4923-aeaf-697bba59c1a7" providerId="ADAL" clId="{132605CE-A84A-4A0D-8C6E-834F931F728F}" dt="2020-03-30T19:23:46.241" v="463" actId="1076"/>
        <pc:sldMkLst>
          <pc:docMk/>
          <pc:sldMk cId="3643083574" sldId="2076136643"/>
        </pc:sldMkLst>
        <pc:spChg chg="add del mod">
          <ac:chgData name="Batuhan Yildiz" userId="90f344fc-4655-4923-aeaf-697bba59c1a7" providerId="ADAL" clId="{132605CE-A84A-4A0D-8C6E-834F931F728F}" dt="2020-03-30T19:23:19.994" v="426"/>
          <ac:spMkLst>
            <pc:docMk/>
            <pc:sldMk cId="3643083574" sldId="2076136643"/>
            <ac:spMk id="4" creationId="{2C24F2B6-CB71-408B-A459-C5542053EC86}"/>
          </ac:spMkLst>
        </pc:spChg>
        <pc:spChg chg="mod">
          <ac:chgData name="Batuhan Yildiz" userId="90f344fc-4655-4923-aeaf-697bba59c1a7" providerId="ADAL" clId="{132605CE-A84A-4A0D-8C6E-834F931F728F}" dt="2020-03-30T19:23:46.241" v="463" actId="1076"/>
          <ac:spMkLst>
            <pc:docMk/>
            <pc:sldMk cId="3643083574" sldId="2076136643"/>
            <ac:spMk id="9" creationId="{6D1B8ADA-5958-474C-B325-659FA8A302EA}"/>
          </ac:spMkLst>
        </pc:spChg>
        <pc:spChg chg="mod">
          <ac:chgData name="Batuhan Yildiz" userId="90f344fc-4655-4923-aeaf-697bba59c1a7" providerId="ADAL" clId="{132605CE-A84A-4A0D-8C6E-834F931F728F}" dt="2020-03-30T19:23:46.241" v="463" actId="1076"/>
          <ac:spMkLst>
            <pc:docMk/>
            <pc:sldMk cId="3643083574" sldId="2076136643"/>
            <ac:spMk id="10" creationId="{BD88A543-EF86-45E0-A19F-7D3E0BDC4C23}"/>
          </ac:spMkLst>
        </pc:spChg>
        <pc:spChg chg="mod">
          <ac:chgData name="Batuhan Yildiz" userId="90f344fc-4655-4923-aeaf-697bba59c1a7" providerId="ADAL" clId="{132605CE-A84A-4A0D-8C6E-834F931F728F}" dt="2020-03-30T19:23:46.241" v="463" actId="1076"/>
          <ac:spMkLst>
            <pc:docMk/>
            <pc:sldMk cId="3643083574" sldId="2076136643"/>
            <ac:spMk id="11" creationId="{B10B7D3A-2376-4B70-9511-B5D9CD7E88C0}"/>
          </ac:spMkLst>
        </pc:spChg>
        <pc:spChg chg="mod">
          <ac:chgData name="Batuhan Yildiz" userId="90f344fc-4655-4923-aeaf-697bba59c1a7" providerId="ADAL" clId="{132605CE-A84A-4A0D-8C6E-834F931F728F}" dt="2020-03-30T19:23:46.241" v="463" actId="1076"/>
          <ac:spMkLst>
            <pc:docMk/>
            <pc:sldMk cId="3643083574" sldId="2076136643"/>
            <ac:spMk id="12" creationId="{1149C700-2C28-4910-A655-478444CE8E38}"/>
          </ac:spMkLst>
        </pc:spChg>
        <pc:spChg chg="mod">
          <ac:chgData name="Batuhan Yildiz" userId="90f344fc-4655-4923-aeaf-697bba59c1a7" providerId="ADAL" clId="{132605CE-A84A-4A0D-8C6E-834F931F728F}" dt="2020-03-30T19:23:46.241" v="463" actId="1076"/>
          <ac:spMkLst>
            <pc:docMk/>
            <pc:sldMk cId="3643083574" sldId="2076136643"/>
            <ac:spMk id="56" creationId="{34367C17-DE3F-4CB5-B681-3F9B64DDE177}"/>
          </ac:spMkLst>
        </pc:spChg>
        <pc:spChg chg="mod">
          <ac:chgData name="Batuhan Yildiz" userId="90f344fc-4655-4923-aeaf-697bba59c1a7" providerId="ADAL" clId="{132605CE-A84A-4A0D-8C6E-834F931F728F}" dt="2020-03-30T19:23:46.241" v="463" actId="1076"/>
          <ac:spMkLst>
            <pc:docMk/>
            <pc:sldMk cId="3643083574" sldId="2076136643"/>
            <ac:spMk id="57" creationId="{2E8FFD25-13BC-4D82-A6C4-8196F4ACE546}"/>
          </ac:spMkLst>
        </pc:spChg>
        <pc:spChg chg="mod">
          <ac:chgData name="Batuhan Yildiz" userId="90f344fc-4655-4923-aeaf-697bba59c1a7" providerId="ADAL" clId="{132605CE-A84A-4A0D-8C6E-834F931F728F}" dt="2020-03-30T19:23:46.241" v="463" actId="1076"/>
          <ac:spMkLst>
            <pc:docMk/>
            <pc:sldMk cId="3643083574" sldId="2076136643"/>
            <ac:spMk id="58" creationId="{6831C6AE-C7B0-405D-8EDF-ABAA6A752053}"/>
          </ac:spMkLst>
        </pc:spChg>
        <pc:spChg chg="mod">
          <ac:chgData name="Batuhan Yildiz" userId="90f344fc-4655-4923-aeaf-697bba59c1a7" providerId="ADAL" clId="{132605CE-A84A-4A0D-8C6E-834F931F728F}" dt="2020-03-30T19:23:46.241" v="463" actId="1076"/>
          <ac:spMkLst>
            <pc:docMk/>
            <pc:sldMk cId="3643083574" sldId="2076136643"/>
            <ac:spMk id="59" creationId="{1C581CDA-1BC1-4410-9C70-95EA9B6A9672}"/>
          </ac:spMkLst>
        </pc:spChg>
        <pc:spChg chg="mod">
          <ac:chgData name="Batuhan Yildiz" userId="90f344fc-4655-4923-aeaf-697bba59c1a7" providerId="ADAL" clId="{132605CE-A84A-4A0D-8C6E-834F931F728F}" dt="2020-03-30T19:23:46.241" v="463" actId="1076"/>
          <ac:spMkLst>
            <pc:docMk/>
            <pc:sldMk cId="3643083574" sldId="2076136643"/>
            <ac:spMk id="60" creationId="{92AB39A4-0A40-4772-9E3A-A976C48065C1}"/>
          </ac:spMkLst>
        </pc:spChg>
        <pc:spChg chg="mod">
          <ac:chgData name="Batuhan Yildiz" userId="90f344fc-4655-4923-aeaf-697bba59c1a7" providerId="ADAL" clId="{132605CE-A84A-4A0D-8C6E-834F931F728F}" dt="2020-03-30T19:23:46.241" v="463" actId="1076"/>
          <ac:spMkLst>
            <pc:docMk/>
            <pc:sldMk cId="3643083574" sldId="2076136643"/>
            <ac:spMk id="61" creationId="{B97D80F0-A270-4E24-B1AA-3EE4AB0B132B}"/>
          </ac:spMkLst>
        </pc:spChg>
        <pc:grpChg chg="mod">
          <ac:chgData name="Batuhan Yildiz" userId="90f344fc-4655-4923-aeaf-697bba59c1a7" providerId="ADAL" clId="{132605CE-A84A-4A0D-8C6E-834F931F728F}" dt="2020-03-30T19:23:46.241" v="463" actId="1076"/>
          <ac:grpSpMkLst>
            <pc:docMk/>
            <pc:sldMk cId="3643083574" sldId="2076136643"/>
            <ac:grpSpMk id="14" creationId="{2A0A2F44-E5F0-49F8-887E-E0414D5FB015}"/>
          </ac:grpSpMkLst>
        </pc:grpChg>
        <pc:grpChg chg="mod">
          <ac:chgData name="Batuhan Yildiz" userId="90f344fc-4655-4923-aeaf-697bba59c1a7" providerId="ADAL" clId="{132605CE-A84A-4A0D-8C6E-834F931F728F}" dt="2020-03-30T19:23:46.241" v="463" actId="1076"/>
          <ac:grpSpMkLst>
            <pc:docMk/>
            <pc:sldMk cId="3643083574" sldId="2076136643"/>
            <ac:grpSpMk id="17" creationId="{62D730E4-91C3-477F-91C8-6FB928E3ECF6}"/>
          </ac:grpSpMkLst>
        </pc:grpChg>
        <pc:grpChg chg="mod">
          <ac:chgData name="Batuhan Yildiz" userId="90f344fc-4655-4923-aeaf-697bba59c1a7" providerId="ADAL" clId="{132605CE-A84A-4A0D-8C6E-834F931F728F}" dt="2020-03-30T19:23:46.241" v="463" actId="1076"/>
          <ac:grpSpMkLst>
            <pc:docMk/>
            <pc:sldMk cId="3643083574" sldId="2076136643"/>
            <ac:grpSpMk id="23" creationId="{B09404A2-B9CA-4578-9553-E1D14A31078D}"/>
          </ac:grpSpMkLst>
        </pc:grpChg>
        <pc:grpChg chg="mod">
          <ac:chgData name="Batuhan Yildiz" userId="90f344fc-4655-4923-aeaf-697bba59c1a7" providerId="ADAL" clId="{132605CE-A84A-4A0D-8C6E-834F931F728F}" dt="2020-03-30T19:23:46.241" v="463" actId="1076"/>
          <ac:grpSpMkLst>
            <pc:docMk/>
            <pc:sldMk cId="3643083574" sldId="2076136643"/>
            <ac:grpSpMk id="25" creationId="{3B71799D-5764-4E8A-81D0-73AF804EB3DC}"/>
          </ac:grpSpMkLst>
        </pc:grpChg>
        <pc:grpChg chg="mod">
          <ac:chgData name="Batuhan Yildiz" userId="90f344fc-4655-4923-aeaf-697bba59c1a7" providerId="ADAL" clId="{132605CE-A84A-4A0D-8C6E-834F931F728F}" dt="2020-03-30T19:23:46.241" v="463" actId="1076"/>
          <ac:grpSpMkLst>
            <pc:docMk/>
            <pc:sldMk cId="3643083574" sldId="2076136643"/>
            <ac:grpSpMk id="28" creationId="{069BC6EF-8B60-4EF1-89CD-21AFD9EF4B7A}"/>
          </ac:grpSpMkLst>
        </pc:grpChg>
        <pc:grpChg chg="mod">
          <ac:chgData name="Batuhan Yildiz" userId="90f344fc-4655-4923-aeaf-697bba59c1a7" providerId="ADAL" clId="{132605CE-A84A-4A0D-8C6E-834F931F728F}" dt="2020-03-30T19:23:46.241" v="463" actId="1076"/>
          <ac:grpSpMkLst>
            <pc:docMk/>
            <pc:sldMk cId="3643083574" sldId="2076136643"/>
            <ac:grpSpMk id="34" creationId="{CF63F245-BE1D-475E-B79B-6BAFEEAADAAB}"/>
          </ac:grpSpMkLst>
        </pc:grpChg>
        <pc:grpChg chg="mod">
          <ac:chgData name="Batuhan Yildiz" userId="90f344fc-4655-4923-aeaf-697bba59c1a7" providerId="ADAL" clId="{132605CE-A84A-4A0D-8C6E-834F931F728F}" dt="2020-03-30T19:23:46.241" v="463" actId="1076"/>
          <ac:grpSpMkLst>
            <pc:docMk/>
            <pc:sldMk cId="3643083574" sldId="2076136643"/>
            <ac:grpSpMk id="36" creationId="{785038FC-0930-4BE1-98D8-8983FED96699}"/>
          </ac:grpSpMkLst>
        </pc:grpChg>
        <pc:grpChg chg="mod">
          <ac:chgData name="Batuhan Yildiz" userId="90f344fc-4655-4923-aeaf-697bba59c1a7" providerId="ADAL" clId="{132605CE-A84A-4A0D-8C6E-834F931F728F}" dt="2020-03-30T19:23:46.241" v="463" actId="1076"/>
          <ac:grpSpMkLst>
            <pc:docMk/>
            <pc:sldMk cId="3643083574" sldId="2076136643"/>
            <ac:grpSpMk id="38" creationId="{E05E2207-0E6C-4F47-AED0-FE0D5FF27DDF}"/>
          </ac:grpSpMkLst>
        </pc:grpChg>
        <pc:grpChg chg="mod">
          <ac:chgData name="Batuhan Yildiz" userId="90f344fc-4655-4923-aeaf-697bba59c1a7" providerId="ADAL" clId="{132605CE-A84A-4A0D-8C6E-834F931F728F}" dt="2020-03-30T19:23:46.241" v="463" actId="1076"/>
          <ac:grpSpMkLst>
            <pc:docMk/>
            <pc:sldMk cId="3643083574" sldId="2076136643"/>
            <ac:grpSpMk id="45" creationId="{E279C33B-EE75-4B5B-99C1-39B6C1451AEC}"/>
          </ac:grpSpMkLst>
        </pc:grpChg>
        <pc:grpChg chg="mod">
          <ac:chgData name="Batuhan Yildiz" userId="90f344fc-4655-4923-aeaf-697bba59c1a7" providerId="ADAL" clId="{132605CE-A84A-4A0D-8C6E-834F931F728F}" dt="2020-03-30T19:23:46.241" v="463" actId="1076"/>
          <ac:grpSpMkLst>
            <pc:docMk/>
            <pc:sldMk cId="3643083574" sldId="2076136643"/>
            <ac:grpSpMk id="47" creationId="{AF30F162-D4EE-43AF-9074-3301A0CF12FB}"/>
          </ac:grpSpMkLst>
        </pc:grpChg>
        <pc:grpChg chg="mod">
          <ac:chgData name="Batuhan Yildiz" userId="90f344fc-4655-4923-aeaf-697bba59c1a7" providerId="ADAL" clId="{132605CE-A84A-4A0D-8C6E-834F931F728F}" dt="2020-03-30T19:23:46.241" v="463" actId="1076"/>
          <ac:grpSpMkLst>
            <pc:docMk/>
            <pc:sldMk cId="3643083574" sldId="2076136643"/>
            <ac:grpSpMk id="50" creationId="{BB1E0184-D492-4983-980C-662853F5E6EE}"/>
          </ac:grpSpMkLst>
        </pc:grpChg>
        <pc:graphicFrameChg chg="add del mod modGraphic">
          <ac:chgData name="Batuhan Yildiz" userId="90f344fc-4655-4923-aeaf-697bba59c1a7" providerId="ADAL" clId="{132605CE-A84A-4A0D-8C6E-834F931F728F}" dt="2020-03-30T19:23:19.605" v="377"/>
          <ac:graphicFrameMkLst>
            <pc:docMk/>
            <pc:sldMk cId="3643083574" sldId="2076136643"/>
            <ac:graphicFrameMk id="62" creationId="{B3B31B5F-F835-4458-9679-5EBFAF4D2233}"/>
          </ac:graphicFrameMkLst>
        </pc:graphicFrameChg>
        <pc:graphicFrameChg chg="add del mod modGraphic">
          <ac:chgData name="Batuhan Yildiz" userId="90f344fc-4655-4923-aeaf-697bba59c1a7" providerId="ADAL" clId="{132605CE-A84A-4A0D-8C6E-834F931F728F}" dt="2020-03-30T19:23:19.999" v="428"/>
          <ac:graphicFrameMkLst>
            <pc:docMk/>
            <pc:sldMk cId="3643083574" sldId="2076136643"/>
            <ac:graphicFrameMk id="63" creationId="{453DDF52-1A2D-415C-85BB-2042021204C1}"/>
          </ac:graphicFrameMkLst>
        </pc:graphicFrameChg>
        <pc:graphicFrameChg chg="add modGraphic">
          <ac:chgData name="Batuhan Yildiz" userId="90f344fc-4655-4923-aeaf-697bba59c1a7" providerId="ADAL" clId="{132605CE-A84A-4A0D-8C6E-834F931F728F}" dt="2020-03-30T19:23:25.768" v="460" actId="947"/>
          <ac:graphicFrameMkLst>
            <pc:docMk/>
            <pc:sldMk cId="3643083574" sldId="2076136643"/>
            <ac:graphicFrameMk id="64" creationId="{A1E59AB5-AC94-403A-92B6-79FC9CAFBA7A}"/>
          </ac:graphicFrameMkLst>
        </pc:graphicFrameChg>
        <pc:graphicFrameChg chg="del">
          <ac:chgData name="Batuhan Yildiz" userId="90f344fc-4655-4923-aeaf-697bba59c1a7" providerId="ADAL" clId="{132605CE-A84A-4A0D-8C6E-834F931F728F}" dt="2020-03-30T19:23:19.924" v="425"/>
          <ac:graphicFrameMkLst>
            <pc:docMk/>
            <pc:sldMk cId="3643083574" sldId="2076136643"/>
            <ac:graphicFrameMk id="66" creationId="{3D0DB7F7-1EA1-4254-BD8F-14CB4DA1D31C}"/>
          </ac:graphicFrameMkLst>
        </pc:graphicFrameChg>
        <pc:cxnChg chg="mod">
          <ac:chgData name="Batuhan Yildiz" userId="90f344fc-4655-4923-aeaf-697bba59c1a7" providerId="ADAL" clId="{132605CE-A84A-4A0D-8C6E-834F931F728F}" dt="2020-03-30T19:23:46.241" v="463" actId="1076"/>
          <ac:cxnSpMkLst>
            <pc:docMk/>
            <pc:sldMk cId="3643083574" sldId="2076136643"/>
            <ac:cxnSpMk id="13" creationId="{970E9C0A-C918-41C1-BD26-C69D0BA2539B}"/>
          </ac:cxnSpMkLst>
        </pc:cxnChg>
      </pc:sldChg>
      <pc:sldChg chg="addSp delSp modSp mod">
        <pc:chgData name="Batuhan Yildiz" userId="90f344fc-4655-4923-aeaf-697bba59c1a7" providerId="ADAL" clId="{132605CE-A84A-4A0D-8C6E-834F931F728F}" dt="2020-03-30T19:16:10.769" v="357" actId="1076"/>
        <pc:sldMkLst>
          <pc:docMk/>
          <pc:sldMk cId="1723008925" sldId="2076136644"/>
        </pc:sldMkLst>
        <pc:spChg chg="mod">
          <ac:chgData name="Batuhan Yildiz" userId="90f344fc-4655-4923-aeaf-697bba59c1a7" providerId="ADAL" clId="{132605CE-A84A-4A0D-8C6E-834F931F728F}" dt="2020-03-30T19:16:10.769" v="357" actId="1076"/>
          <ac:spMkLst>
            <pc:docMk/>
            <pc:sldMk cId="1723008925" sldId="2076136644"/>
            <ac:spMk id="9" creationId="{DE491008-EC9B-44E9-9503-95EF2ACF9281}"/>
          </ac:spMkLst>
        </pc:spChg>
        <pc:graphicFrameChg chg="del">
          <ac:chgData name="Batuhan Yildiz" userId="90f344fc-4655-4923-aeaf-697bba59c1a7" providerId="ADAL" clId="{132605CE-A84A-4A0D-8C6E-834F931F728F}" dt="2020-03-30T19:14:44.812" v="314"/>
          <ac:graphicFrameMkLst>
            <pc:docMk/>
            <pc:sldMk cId="1723008925" sldId="2076136644"/>
            <ac:graphicFrameMk id="8" creationId="{1A74F07C-F7BC-4826-80EC-A2B5476263CC}"/>
          </ac:graphicFrameMkLst>
        </pc:graphicFrameChg>
        <pc:graphicFrameChg chg="add del mod modGraphic">
          <ac:chgData name="Batuhan Yildiz" userId="90f344fc-4655-4923-aeaf-697bba59c1a7" providerId="ADAL" clId="{132605CE-A84A-4A0D-8C6E-834F931F728F}" dt="2020-03-30T19:14:44.200" v="266"/>
          <ac:graphicFrameMkLst>
            <pc:docMk/>
            <pc:sldMk cId="1723008925" sldId="2076136644"/>
            <ac:graphicFrameMk id="11" creationId="{93E8F02D-B356-4894-9868-A3FBB93F31AA}"/>
          </ac:graphicFrameMkLst>
        </pc:graphicFrameChg>
        <pc:graphicFrameChg chg="add mod modGraphic">
          <ac:chgData name="Batuhan Yildiz" userId="90f344fc-4655-4923-aeaf-697bba59c1a7" providerId="ADAL" clId="{132605CE-A84A-4A0D-8C6E-834F931F728F}" dt="2020-03-30T19:15:58.936" v="356" actId="1076"/>
          <ac:graphicFrameMkLst>
            <pc:docMk/>
            <pc:sldMk cId="1723008925" sldId="2076136644"/>
            <ac:graphicFrameMk id="12" creationId="{FF84E770-C362-4CD8-B4F9-D2EA91C71BEC}"/>
          </ac:graphicFrameMkLst>
        </pc:graphicFrameChg>
        <pc:picChg chg="mod">
          <ac:chgData name="Batuhan Yildiz" userId="90f344fc-4655-4923-aeaf-697bba59c1a7" providerId="ADAL" clId="{132605CE-A84A-4A0D-8C6E-834F931F728F}" dt="2020-03-30T19:16:10.769" v="357" actId="1076"/>
          <ac:picMkLst>
            <pc:docMk/>
            <pc:sldMk cId="1723008925" sldId="2076136644"/>
            <ac:picMk id="10" creationId="{94BF0BA6-DC7B-45D6-8401-9EB656AB94D3}"/>
          </ac:picMkLst>
        </pc:picChg>
      </pc:sldChg>
      <pc:sldChg chg="delCm">
        <pc:chgData name="Batuhan Yildiz" userId="90f344fc-4655-4923-aeaf-697bba59c1a7" providerId="ADAL" clId="{132605CE-A84A-4A0D-8C6E-834F931F728F}" dt="2020-03-30T19:28:46.147" v="467" actId="1592"/>
        <pc:sldMkLst>
          <pc:docMk/>
          <pc:sldMk cId="2991361673" sldId="2076136651"/>
        </pc:sldMkLst>
      </pc:sldChg>
      <pc:sldChg chg="modSp">
        <pc:chgData name="Batuhan Yildiz" userId="90f344fc-4655-4923-aeaf-697bba59c1a7" providerId="ADAL" clId="{132605CE-A84A-4A0D-8C6E-834F931F728F}" dt="2020-03-30T18:59:37.534" v="10" actId="20577"/>
        <pc:sldMkLst>
          <pc:docMk/>
          <pc:sldMk cId="3992590962" sldId="2076136654"/>
        </pc:sldMkLst>
        <pc:graphicFrameChg chg="mod">
          <ac:chgData name="Batuhan Yildiz" userId="90f344fc-4655-4923-aeaf-697bba59c1a7" providerId="ADAL" clId="{132605CE-A84A-4A0D-8C6E-834F931F728F}" dt="2020-03-30T18:59:37.534" v="10" actId="20577"/>
          <ac:graphicFrameMkLst>
            <pc:docMk/>
            <pc:sldMk cId="3992590962" sldId="2076136654"/>
            <ac:graphicFrameMk id="5" creationId="{ACFBD576-BC35-470F-AD93-9943AE29C551}"/>
          </ac:graphicFrameMkLst>
        </pc:graphicFrameChg>
      </pc:sldChg>
      <pc:sldChg chg="addSp delSp modSp mod">
        <pc:chgData name="Batuhan Yildiz" userId="90f344fc-4655-4923-aeaf-697bba59c1a7" providerId="ADAL" clId="{132605CE-A84A-4A0D-8C6E-834F931F728F}" dt="2020-03-30T19:04:30.973" v="40" actId="478"/>
        <pc:sldMkLst>
          <pc:docMk/>
          <pc:sldMk cId="1771447696" sldId="2076136665"/>
        </pc:sldMkLst>
        <pc:spChg chg="add mod">
          <ac:chgData name="Batuhan Yildiz" userId="90f344fc-4655-4923-aeaf-697bba59c1a7" providerId="ADAL" clId="{132605CE-A84A-4A0D-8C6E-834F931F728F}" dt="2020-03-30T19:04:26.423" v="39" actId="1035"/>
          <ac:spMkLst>
            <pc:docMk/>
            <pc:sldMk cId="1771447696" sldId="2076136665"/>
            <ac:spMk id="3" creationId="{F7F9C079-1EB3-4F42-8AF7-4181F65F9937}"/>
          </ac:spMkLst>
        </pc:spChg>
        <pc:spChg chg="add mod">
          <ac:chgData name="Batuhan Yildiz" userId="90f344fc-4655-4923-aeaf-697bba59c1a7" providerId="ADAL" clId="{132605CE-A84A-4A0D-8C6E-834F931F728F}" dt="2020-03-30T19:04:15.044" v="35" actId="1036"/>
          <ac:spMkLst>
            <pc:docMk/>
            <pc:sldMk cId="1771447696" sldId="2076136665"/>
            <ac:spMk id="4" creationId="{95A3EC4F-A583-4842-AE2C-9DED671F17E7}"/>
          </ac:spMkLst>
        </pc:spChg>
        <pc:spChg chg="del">
          <ac:chgData name="Batuhan Yildiz" userId="90f344fc-4655-4923-aeaf-697bba59c1a7" providerId="ADAL" clId="{132605CE-A84A-4A0D-8C6E-834F931F728F}" dt="2020-03-30T19:03:20.636" v="14" actId="478"/>
          <ac:spMkLst>
            <pc:docMk/>
            <pc:sldMk cId="1771447696" sldId="2076136665"/>
            <ac:spMk id="5" creationId="{1B692013-58F1-4632-9235-6717EE2F51AE}"/>
          </ac:spMkLst>
        </pc:spChg>
        <pc:spChg chg="del mod">
          <ac:chgData name="Batuhan Yildiz" userId="90f344fc-4655-4923-aeaf-697bba59c1a7" providerId="ADAL" clId="{132605CE-A84A-4A0D-8C6E-834F931F728F}" dt="2020-03-30T19:04:30.973" v="40" actId="478"/>
          <ac:spMkLst>
            <pc:docMk/>
            <pc:sldMk cId="1771447696" sldId="2076136665"/>
            <ac:spMk id="6" creationId="{66466FC2-9E0C-4FEC-8A90-3FC7EE50CB7B}"/>
          </ac:spMkLst>
        </pc:spChg>
      </pc:sldChg>
      <pc:sldChg chg="modSp mod">
        <pc:chgData name="Batuhan Yildiz" userId="90f344fc-4655-4923-aeaf-697bba59c1a7" providerId="ADAL" clId="{132605CE-A84A-4A0D-8C6E-834F931F728F}" dt="2020-03-30T19:07:04.498" v="42" actId="1076"/>
        <pc:sldMkLst>
          <pc:docMk/>
          <pc:sldMk cId="1400860027" sldId="2076136674"/>
        </pc:sldMkLst>
        <pc:picChg chg="mod">
          <ac:chgData name="Batuhan Yildiz" userId="90f344fc-4655-4923-aeaf-697bba59c1a7" providerId="ADAL" clId="{132605CE-A84A-4A0D-8C6E-834F931F728F}" dt="2020-03-30T19:07:04.498" v="42" actId="1076"/>
          <ac:picMkLst>
            <pc:docMk/>
            <pc:sldMk cId="1400860027" sldId="2076136674"/>
            <ac:picMk id="8" creationId="{B2E57862-4703-4437-A014-D74FBEE2DE8B}"/>
          </ac:picMkLst>
        </pc:picChg>
      </pc:sldChg>
    </pc:docChg>
  </pc:docChgLst>
  <pc:docChgLst>
    <pc:chgData name="Batuhan Yildiz" userId="90f344fc-4655-4923-aeaf-697bba59c1a7" providerId="ADAL" clId="{4DAD5D74-1E34-4FF9-9C9C-205EB4037688}"/>
    <pc:docChg chg="undo redo custSel addSld delSld modSld modSection">
      <pc:chgData name="Batuhan Yildiz" userId="90f344fc-4655-4923-aeaf-697bba59c1a7" providerId="ADAL" clId="{4DAD5D74-1E34-4FF9-9C9C-205EB4037688}" dt="2020-04-30T18:51:52.109" v="69"/>
      <pc:docMkLst>
        <pc:docMk/>
      </pc:docMkLst>
      <pc:sldChg chg="modSp">
        <pc:chgData name="Batuhan Yildiz" userId="90f344fc-4655-4923-aeaf-697bba59c1a7" providerId="ADAL" clId="{4DAD5D74-1E34-4FF9-9C9C-205EB4037688}" dt="2020-04-30T18:46:47.066" v="60" actId="14100"/>
        <pc:sldMkLst>
          <pc:docMk/>
          <pc:sldMk cId="2346840044" sldId="570"/>
        </pc:sldMkLst>
        <pc:graphicFrameChg chg="mod">
          <ac:chgData name="Batuhan Yildiz" userId="90f344fc-4655-4923-aeaf-697bba59c1a7" providerId="ADAL" clId="{4DAD5D74-1E34-4FF9-9C9C-205EB4037688}" dt="2020-04-30T18:46:47.066" v="60" actId="14100"/>
          <ac:graphicFrameMkLst>
            <pc:docMk/>
            <pc:sldMk cId="2346840044" sldId="570"/>
            <ac:graphicFrameMk id="3" creationId="{9484E1FE-7534-495E-863C-657A46F5E628}"/>
          </ac:graphicFrameMkLst>
        </pc:graphicFrameChg>
      </pc:sldChg>
      <pc:sldChg chg="modNotesTx">
        <pc:chgData name="Batuhan Yildiz" userId="90f344fc-4655-4923-aeaf-697bba59c1a7" providerId="ADAL" clId="{4DAD5D74-1E34-4FF9-9C9C-205EB4037688}" dt="2020-04-30T18:49:48.688" v="63" actId="20577"/>
        <pc:sldMkLst>
          <pc:docMk/>
          <pc:sldMk cId="4248838292" sldId="573"/>
        </pc:sldMkLst>
      </pc:sldChg>
      <pc:sldChg chg="modSp">
        <pc:chgData name="Batuhan Yildiz" userId="90f344fc-4655-4923-aeaf-697bba59c1a7" providerId="ADAL" clId="{4DAD5D74-1E34-4FF9-9C9C-205EB4037688}" dt="2020-04-30T18:50:23.493" v="65" actId="14100"/>
        <pc:sldMkLst>
          <pc:docMk/>
          <pc:sldMk cId="4206133277" sldId="577"/>
        </pc:sldMkLst>
        <pc:graphicFrameChg chg="mod">
          <ac:chgData name="Batuhan Yildiz" userId="90f344fc-4655-4923-aeaf-697bba59c1a7" providerId="ADAL" clId="{4DAD5D74-1E34-4FF9-9C9C-205EB4037688}" dt="2020-04-30T18:50:23.493" v="65" actId="14100"/>
          <ac:graphicFrameMkLst>
            <pc:docMk/>
            <pc:sldMk cId="4206133277" sldId="577"/>
            <ac:graphicFrameMk id="3" creationId="{9484E1FE-7534-495E-863C-657A46F5E628}"/>
          </ac:graphicFrameMkLst>
        </pc:graphicFrameChg>
      </pc:sldChg>
      <pc:sldChg chg="modSp">
        <pc:chgData name="Batuhan Yildiz" userId="90f344fc-4655-4923-aeaf-697bba59c1a7" providerId="ADAL" clId="{4DAD5D74-1E34-4FF9-9C9C-205EB4037688}" dt="2020-04-30T18:50:46.077" v="66" actId="14100"/>
        <pc:sldMkLst>
          <pc:docMk/>
          <pc:sldMk cId="2231734821" sldId="587"/>
        </pc:sldMkLst>
        <pc:graphicFrameChg chg="mod">
          <ac:chgData name="Batuhan Yildiz" userId="90f344fc-4655-4923-aeaf-697bba59c1a7" providerId="ADAL" clId="{4DAD5D74-1E34-4FF9-9C9C-205EB4037688}" dt="2020-04-30T18:50:46.077" v="66" actId="14100"/>
          <ac:graphicFrameMkLst>
            <pc:docMk/>
            <pc:sldMk cId="2231734821" sldId="587"/>
            <ac:graphicFrameMk id="3" creationId="{9484E1FE-7534-495E-863C-657A46F5E628}"/>
          </ac:graphicFrameMkLst>
        </pc:graphicFrameChg>
      </pc:sldChg>
      <pc:sldChg chg="addSp delSp mod">
        <pc:chgData name="Batuhan Yildiz" userId="90f344fc-4655-4923-aeaf-697bba59c1a7" providerId="ADAL" clId="{4DAD5D74-1E34-4FF9-9C9C-205EB4037688}" dt="2020-04-30T18:45:11.518" v="54" actId="478"/>
        <pc:sldMkLst>
          <pc:docMk/>
          <pc:sldMk cId="636521655" sldId="601"/>
        </pc:sldMkLst>
        <pc:spChg chg="add del">
          <ac:chgData name="Batuhan Yildiz" userId="90f344fc-4655-4923-aeaf-697bba59c1a7" providerId="ADAL" clId="{4DAD5D74-1E34-4FF9-9C9C-205EB4037688}" dt="2020-04-30T18:45:11.518" v="54" actId="478"/>
          <ac:spMkLst>
            <pc:docMk/>
            <pc:sldMk cId="636521655" sldId="601"/>
            <ac:spMk id="6" creationId="{78E7DD1B-1784-407A-BE77-1C6DBBBB2406}"/>
          </ac:spMkLst>
        </pc:spChg>
      </pc:sldChg>
      <pc:sldChg chg="modSp del mod">
        <pc:chgData name="Batuhan Yildiz" userId="90f344fc-4655-4923-aeaf-697bba59c1a7" providerId="ADAL" clId="{4DAD5D74-1E34-4FF9-9C9C-205EB4037688}" dt="2020-04-30T17:25:37.393" v="11" actId="2696"/>
        <pc:sldMkLst>
          <pc:docMk/>
          <pc:sldMk cId="3163075682" sldId="2076136637"/>
        </pc:sldMkLst>
        <pc:spChg chg="mod">
          <ac:chgData name="Batuhan Yildiz" userId="90f344fc-4655-4923-aeaf-697bba59c1a7" providerId="ADAL" clId="{4DAD5D74-1E34-4FF9-9C9C-205EB4037688}" dt="2020-04-30T17:24:47.652" v="1" actId="20577"/>
          <ac:spMkLst>
            <pc:docMk/>
            <pc:sldMk cId="3163075682" sldId="2076136637"/>
            <ac:spMk id="3" creationId="{8F64A22E-2B43-4FC6-AF08-0CDB3F9E9269}"/>
          </ac:spMkLst>
        </pc:spChg>
        <pc:spChg chg="mod">
          <ac:chgData name="Batuhan Yildiz" userId="90f344fc-4655-4923-aeaf-697bba59c1a7" providerId="ADAL" clId="{4DAD5D74-1E34-4FF9-9C9C-205EB4037688}" dt="2020-04-30T17:25:35.231" v="9" actId="12"/>
          <ac:spMkLst>
            <pc:docMk/>
            <pc:sldMk cId="3163075682" sldId="2076136637"/>
            <ac:spMk id="6" creationId="{637E159C-9ACF-48AE-927A-D5FB13695C7F}"/>
          </ac:spMkLst>
        </pc:spChg>
      </pc:sldChg>
      <pc:sldChg chg="delSp modSp mod">
        <pc:chgData name="Batuhan Yildiz" userId="90f344fc-4655-4923-aeaf-697bba59c1a7" providerId="ADAL" clId="{4DAD5D74-1E34-4FF9-9C9C-205EB4037688}" dt="2020-04-30T18:45:52.747" v="56" actId="478"/>
        <pc:sldMkLst>
          <pc:docMk/>
          <pc:sldMk cId="1168460214" sldId="2076136642"/>
        </pc:sldMkLst>
        <pc:spChg chg="del">
          <ac:chgData name="Batuhan Yildiz" userId="90f344fc-4655-4923-aeaf-697bba59c1a7" providerId="ADAL" clId="{4DAD5D74-1E34-4FF9-9C9C-205EB4037688}" dt="2020-04-30T18:45:52.747" v="56" actId="478"/>
          <ac:spMkLst>
            <pc:docMk/>
            <pc:sldMk cId="1168460214" sldId="2076136642"/>
            <ac:spMk id="3" creationId="{2E04DBD5-DB03-48C0-8D06-3C5AF7F87414}"/>
          </ac:spMkLst>
        </pc:spChg>
        <pc:graphicFrameChg chg="ord">
          <ac:chgData name="Batuhan Yildiz" userId="90f344fc-4655-4923-aeaf-697bba59c1a7" providerId="ADAL" clId="{4DAD5D74-1E34-4FF9-9C9C-205EB4037688}" dt="2020-04-30T18:45:41.873" v="55" actId="167"/>
          <ac:graphicFrameMkLst>
            <pc:docMk/>
            <pc:sldMk cId="1168460214" sldId="2076136642"/>
            <ac:graphicFrameMk id="14" creationId="{81DA0D0A-6A76-479C-9608-A86440D4607E}"/>
          </ac:graphicFrameMkLst>
        </pc:graphicFrameChg>
      </pc:sldChg>
      <pc:sldChg chg="modSp mod modNotesTx">
        <pc:chgData name="Batuhan Yildiz" userId="90f344fc-4655-4923-aeaf-697bba59c1a7" providerId="ADAL" clId="{4DAD5D74-1E34-4FF9-9C9C-205EB4037688}" dt="2020-04-30T17:29:38.225" v="32" actId="20577"/>
        <pc:sldMkLst>
          <pc:docMk/>
          <pc:sldMk cId="2839060334" sldId="2076136668"/>
        </pc:sldMkLst>
        <pc:spChg chg="mod">
          <ac:chgData name="Batuhan Yildiz" userId="90f344fc-4655-4923-aeaf-697bba59c1a7" providerId="ADAL" clId="{4DAD5D74-1E34-4FF9-9C9C-205EB4037688}" dt="2020-04-30T17:29:11.628" v="24" actId="20577"/>
          <ac:spMkLst>
            <pc:docMk/>
            <pc:sldMk cId="2839060334" sldId="2076136668"/>
            <ac:spMk id="3" creationId="{8F64A22E-2B43-4FC6-AF08-0CDB3F9E9269}"/>
          </ac:spMkLst>
        </pc:spChg>
        <pc:spChg chg="mod">
          <ac:chgData name="Batuhan Yildiz" userId="90f344fc-4655-4923-aeaf-697bba59c1a7" providerId="ADAL" clId="{4DAD5D74-1E34-4FF9-9C9C-205EB4037688}" dt="2020-04-30T17:29:25.274" v="29" actId="113"/>
          <ac:spMkLst>
            <pc:docMk/>
            <pc:sldMk cId="2839060334" sldId="2076136668"/>
            <ac:spMk id="6" creationId="{637E159C-9ACF-48AE-927A-D5FB13695C7F}"/>
          </ac:spMkLst>
        </pc:spChg>
      </pc:sldChg>
      <pc:sldChg chg="modNotesTx">
        <pc:chgData name="Batuhan Yildiz" userId="90f344fc-4655-4923-aeaf-697bba59c1a7" providerId="ADAL" clId="{4DAD5D74-1E34-4FF9-9C9C-205EB4037688}" dt="2020-04-30T17:29:53.949" v="33"/>
        <pc:sldMkLst>
          <pc:docMk/>
          <pc:sldMk cId="2024735957" sldId="2076136669"/>
        </pc:sldMkLst>
      </pc:sldChg>
      <pc:sldChg chg="modSp del mod">
        <pc:chgData name="Batuhan Yildiz" userId="90f344fc-4655-4923-aeaf-697bba59c1a7" providerId="ADAL" clId="{4DAD5D74-1E34-4FF9-9C9C-205EB4037688}" dt="2020-04-30T17:30:37.800" v="46" actId="2696"/>
        <pc:sldMkLst>
          <pc:docMk/>
          <pc:sldMk cId="2158697192" sldId="2076136690"/>
        </pc:sldMkLst>
        <pc:spChg chg="mod">
          <ac:chgData name="Batuhan Yildiz" userId="90f344fc-4655-4923-aeaf-697bba59c1a7" providerId="ADAL" clId="{4DAD5D74-1E34-4FF9-9C9C-205EB4037688}" dt="2020-04-30T17:30:20.647" v="37" actId="20577"/>
          <ac:spMkLst>
            <pc:docMk/>
            <pc:sldMk cId="2158697192" sldId="2076136690"/>
            <ac:spMk id="3" creationId="{8F64A22E-2B43-4FC6-AF08-0CDB3F9E9269}"/>
          </ac:spMkLst>
        </pc:spChg>
        <pc:spChg chg="mod">
          <ac:chgData name="Batuhan Yildiz" userId="90f344fc-4655-4923-aeaf-697bba59c1a7" providerId="ADAL" clId="{4DAD5D74-1E34-4FF9-9C9C-205EB4037688}" dt="2020-04-30T17:30:36.570" v="44" actId="12"/>
          <ac:spMkLst>
            <pc:docMk/>
            <pc:sldMk cId="2158697192" sldId="2076136690"/>
            <ac:spMk id="6" creationId="{637E159C-9ACF-48AE-927A-D5FB13695C7F}"/>
          </ac:spMkLst>
        </pc:spChg>
      </pc:sldChg>
      <pc:sldChg chg="modSp modAnim">
        <pc:chgData name="Batuhan Yildiz" userId="90f344fc-4655-4923-aeaf-697bba59c1a7" providerId="ADAL" clId="{4DAD5D74-1E34-4FF9-9C9C-205EB4037688}" dt="2020-04-30T18:51:52.109" v="69"/>
        <pc:sldMkLst>
          <pc:docMk/>
          <pc:sldMk cId="1359590065" sldId="2076136700"/>
        </pc:sldMkLst>
        <pc:graphicFrameChg chg="mod">
          <ac:chgData name="Batuhan Yildiz" userId="90f344fc-4655-4923-aeaf-697bba59c1a7" providerId="ADAL" clId="{4DAD5D74-1E34-4FF9-9C9C-205EB4037688}" dt="2020-04-30T18:51:28.760" v="67" actId="13782"/>
          <ac:graphicFrameMkLst>
            <pc:docMk/>
            <pc:sldMk cId="1359590065" sldId="2076136700"/>
            <ac:graphicFrameMk id="5" creationId="{9160CB12-1FA7-4DC0-84DC-78AA49CF4904}"/>
          </ac:graphicFrameMkLst>
        </pc:graphicFrameChg>
      </pc:sldChg>
      <pc:sldChg chg="modSp add mod modNotesTx">
        <pc:chgData name="Batuhan Yildiz" userId="90f344fc-4655-4923-aeaf-697bba59c1a7" providerId="ADAL" clId="{4DAD5D74-1E34-4FF9-9C9C-205EB4037688}" dt="2020-04-30T18:44:13.226" v="51" actId="207"/>
        <pc:sldMkLst>
          <pc:docMk/>
          <pc:sldMk cId="2383551743" sldId="2076136701"/>
        </pc:sldMkLst>
        <pc:spChg chg="mod">
          <ac:chgData name="Batuhan Yildiz" userId="90f344fc-4655-4923-aeaf-697bba59c1a7" providerId="ADAL" clId="{4DAD5D74-1E34-4FF9-9C9C-205EB4037688}" dt="2020-04-30T18:44:13.226" v="51" actId="207"/>
          <ac:spMkLst>
            <pc:docMk/>
            <pc:sldMk cId="2383551743" sldId="2076136701"/>
            <ac:spMk id="6" creationId="{637E159C-9ACF-48AE-927A-D5FB13695C7F}"/>
          </ac:spMkLst>
        </pc:spChg>
      </pc:sldChg>
      <pc:sldChg chg="modSp add mod modNotesTx">
        <pc:chgData name="Batuhan Yildiz" userId="90f344fc-4655-4923-aeaf-697bba59c1a7" providerId="ADAL" clId="{4DAD5D74-1E34-4FF9-9C9C-205EB4037688}" dt="2020-04-30T17:30:55.089" v="50" actId="20577"/>
        <pc:sldMkLst>
          <pc:docMk/>
          <pc:sldMk cId="1750919334" sldId="2076136702"/>
        </pc:sldMkLst>
        <pc:spChg chg="mod">
          <ac:chgData name="Batuhan Yildiz" userId="90f344fc-4655-4923-aeaf-697bba59c1a7" providerId="ADAL" clId="{4DAD5D74-1E34-4FF9-9C9C-205EB4037688}" dt="2020-04-30T17:30:40.518" v="47" actId="15"/>
          <ac:spMkLst>
            <pc:docMk/>
            <pc:sldMk cId="1750919334" sldId="2076136702"/>
            <ac:spMk id="6" creationId="{637E159C-9ACF-48AE-927A-D5FB13695C7F}"/>
          </ac:spMkLst>
        </pc:spChg>
      </pc:sldChg>
    </pc:docChg>
  </pc:docChgLst>
  <pc:docChgLst>
    <pc:chgData name="Batuhan Yildiz" userId="90f344fc-4655-4923-aeaf-697bba59c1a7" providerId="ADAL" clId="{53FA2523-17CE-49B4-9F1E-13E112D8D9C3}"/>
    <pc:docChg chg="modSld">
      <pc:chgData name="Batuhan Yildiz" userId="90f344fc-4655-4923-aeaf-697bba59c1a7" providerId="ADAL" clId="{53FA2523-17CE-49B4-9F1E-13E112D8D9C3}" dt="2020-10-16T21:50:19.368" v="3" actId="20577"/>
      <pc:docMkLst>
        <pc:docMk/>
      </pc:docMkLst>
      <pc:sldChg chg="modNotesTx">
        <pc:chgData name="Batuhan Yildiz" userId="90f344fc-4655-4923-aeaf-697bba59c1a7" providerId="ADAL" clId="{53FA2523-17CE-49B4-9F1E-13E112D8D9C3}" dt="2020-10-16T21:50:19.368" v="3" actId="20577"/>
        <pc:sldMkLst>
          <pc:docMk/>
          <pc:sldMk cId="2276845176" sldId="2076136638"/>
        </pc:sldMkLst>
      </pc:sldChg>
    </pc:docChg>
  </pc:docChgLst>
</pc:chgInfo>
</file>

<file path=ppt/diagrams/_rels/data16.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svg"/><Relationship Id="rId1" Type="http://schemas.openxmlformats.org/officeDocument/2006/relationships/image" Target="../media/image41.png"/><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diagrams/_rels/data18.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4.png"/><Relationship Id="rId7" Type="http://schemas.openxmlformats.org/officeDocument/2006/relationships/image" Target="../media/image58.png"/><Relationship Id="rId12" Type="http://schemas.openxmlformats.org/officeDocument/2006/relationships/image" Target="../media/image63.svg"/><Relationship Id="rId2" Type="http://schemas.openxmlformats.org/officeDocument/2006/relationships/image" Target="../media/image53.svg"/><Relationship Id="rId1" Type="http://schemas.openxmlformats.org/officeDocument/2006/relationships/image" Target="../media/image52.png"/><Relationship Id="rId6" Type="http://schemas.openxmlformats.org/officeDocument/2006/relationships/image" Target="../media/image57.sv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svg"/><Relationship Id="rId4" Type="http://schemas.openxmlformats.org/officeDocument/2006/relationships/image" Target="../media/image55.svg"/><Relationship Id="rId9" Type="http://schemas.openxmlformats.org/officeDocument/2006/relationships/image" Target="../media/image60.png"/></Relationships>
</file>

<file path=ppt/diagrams/_rels/data19.xml.rels><?xml version="1.0" encoding="UTF-8" standalone="yes"?>
<Relationships xmlns="http://schemas.openxmlformats.org/package/2006/relationships"><Relationship Id="rId1" Type="http://schemas.openxmlformats.org/officeDocument/2006/relationships/hyperlink" Target="https://docs.microsoft.com/en-us/azure/sql-database/sql-database-accelerated-database-recovery" TargetMode="External"/></Relationships>
</file>

<file path=ppt/diagrams/_rels/data20.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image" Target="../media/image65.svg"/><Relationship Id="rId1" Type="http://schemas.openxmlformats.org/officeDocument/2006/relationships/image" Target="../media/image64.png"/><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svg"/></Relationships>
</file>

<file path=ppt/diagrams/_rels/drawing16.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svg"/><Relationship Id="rId1" Type="http://schemas.openxmlformats.org/officeDocument/2006/relationships/image" Target="../media/image41.png"/><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diagrams/_rels/drawing18.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4.png"/><Relationship Id="rId7" Type="http://schemas.openxmlformats.org/officeDocument/2006/relationships/image" Target="../media/image58.png"/><Relationship Id="rId12" Type="http://schemas.openxmlformats.org/officeDocument/2006/relationships/image" Target="../media/image63.svg"/><Relationship Id="rId2" Type="http://schemas.openxmlformats.org/officeDocument/2006/relationships/image" Target="../media/image53.svg"/><Relationship Id="rId1" Type="http://schemas.openxmlformats.org/officeDocument/2006/relationships/image" Target="../media/image52.png"/><Relationship Id="rId6" Type="http://schemas.openxmlformats.org/officeDocument/2006/relationships/image" Target="../media/image57.sv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svg"/><Relationship Id="rId4" Type="http://schemas.openxmlformats.org/officeDocument/2006/relationships/image" Target="../media/image55.svg"/><Relationship Id="rId9" Type="http://schemas.openxmlformats.org/officeDocument/2006/relationships/image" Target="../media/image60.png"/></Relationships>
</file>

<file path=ppt/diagrams/_rels/drawing19.xml.rels><?xml version="1.0" encoding="UTF-8" standalone="yes"?>
<Relationships xmlns="http://schemas.openxmlformats.org/package/2006/relationships"><Relationship Id="rId1" Type="http://schemas.openxmlformats.org/officeDocument/2006/relationships/hyperlink" Target="https://docs.microsoft.com/en-us/azure/sql-database/sql-database-accelerated-database-recovery" TargetMode="External"/></Relationships>
</file>

<file path=ppt/diagrams/_rels/drawing20.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image" Target="../media/image65.svg"/><Relationship Id="rId1" Type="http://schemas.openxmlformats.org/officeDocument/2006/relationships/image" Target="../media/image64.png"/><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sv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F773827-0213-4B99-BDED-4F6297562CA8}"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D4FCB8F5-E819-4F94-90FF-2734A64EA438}">
      <dgm:prSet/>
      <dgm:spPr/>
      <dgm:t>
        <a:bodyPr/>
        <a:lstStyle/>
        <a:p>
          <a:r>
            <a:rPr lang="en-US" baseline="0"/>
            <a:t>Microsoft Azure is Microsoft’s public cloud computing platform</a:t>
          </a:r>
          <a:endParaRPr lang="en-US"/>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C30DE435-0826-4D5F-90B6-6274BD1E4E03}" type="parTrans" cxnId="{3BFF5353-25D6-4A81-9BF9-131A31DD0E8C}">
      <dgm:prSet/>
      <dgm:spPr/>
      <dgm:t>
        <a:bodyPr/>
        <a:lstStyle/>
        <a:p>
          <a:endParaRPr lang="en-US"/>
        </a:p>
      </dgm:t>
    </dgm:pt>
    <dgm:pt modelId="{C46645BA-FF0F-4B59-B7A3-D8DE4CFF2F0C}" type="sibTrans" cxnId="{3BFF5353-25D6-4A81-9BF9-131A31DD0E8C}">
      <dgm:prSet/>
      <dgm:spPr/>
      <dgm:t>
        <a:bodyPr/>
        <a:lstStyle/>
        <a:p>
          <a:endParaRPr lang="en-US"/>
        </a:p>
      </dgm:t>
    </dgm:pt>
    <dgm:pt modelId="{E1D85293-D54E-4267-97E6-C2C0FCF17B33}">
      <dgm:prSet/>
      <dgm:spPr/>
      <dgm:t>
        <a:bodyPr/>
        <a:lstStyle/>
        <a:p>
          <a:r>
            <a:rPr lang="en-US" baseline="0" dirty="0"/>
            <a:t>Over 140 countries across 56 regions worldwide</a:t>
          </a:r>
          <a:endParaRPr lang="en-US" dirty="0"/>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B61B8984-1E6C-455C-9F12-C2C5EB2B9B46}" type="parTrans" cxnId="{A17CEF3A-04A8-4F92-AAFB-1494B619B3EF}">
      <dgm:prSet/>
      <dgm:spPr/>
      <dgm:t>
        <a:bodyPr/>
        <a:lstStyle/>
        <a:p>
          <a:endParaRPr lang="en-US"/>
        </a:p>
      </dgm:t>
    </dgm:pt>
    <dgm:pt modelId="{41033641-BACE-4CBA-8C35-7E945E1BBA6B}" type="sibTrans" cxnId="{A17CEF3A-04A8-4F92-AAFB-1494B619B3EF}">
      <dgm:prSet/>
      <dgm:spPr/>
      <dgm:t>
        <a:bodyPr/>
        <a:lstStyle/>
        <a:p>
          <a:endParaRPr lang="en-US"/>
        </a:p>
      </dgm:t>
    </dgm:pt>
    <dgm:pt modelId="{E79C35C4-BB87-4C59-A6B0-EF190B7165D0}">
      <dgm:prSet/>
      <dgm:spPr/>
      <dgm:t>
        <a:bodyPr/>
        <a:lstStyle/>
        <a:p>
          <a:r>
            <a:rPr lang="en-US" baseline="0"/>
            <a:t>Windows and Linux</a:t>
          </a:r>
          <a:endParaRPr lang="en-US"/>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411A3160-28C6-407C-97A2-D18902A9FD0D}" type="parTrans" cxnId="{97D2B767-7766-4DA1-B6D3-859AC6665194}">
      <dgm:prSet/>
      <dgm:spPr/>
      <dgm:t>
        <a:bodyPr/>
        <a:lstStyle/>
        <a:p>
          <a:endParaRPr lang="en-US"/>
        </a:p>
      </dgm:t>
    </dgm:pt>
    <dgm:pt modelId="{13E0FA8C-2C61-446F-AC24-FE6D92038E40}" type="sibTrans" cxnId="{97D2B767-7766-4DA1-B6D3-859AC6665194}">
      <dgm:prSet/>
      <dgm:spPr/>
      <dgm:t>
        <a:bodyPr/>
        <a:lstStyle/>
        <a:p>
          <a:endParaRPr lang="en-US"/>
        </a:p>
      </dgm:t>
    </dgm:pt>
    <dgm:pt modelId="{C50D5E4A-0B5B-427D-AD3C-04358F750F96}">
      <dgm:prSet/>
      <dgm:spPr/>
      <dgm:t>
        <a:bodyPr/>
        <a:lstStyle/>
        <a:p>
          <a:r>
            <a:rPr lang="en-US" baseline="0"/>
            <a:t>Scale globally</a:t>
          </a:r>
          <a:endParaRPr lang="en-US"/>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EFB2AB21-7C39-40CE-899A-357DD3F6278D}" type="parTrans" cxnId="{11D92FE4-265B-4C2D-B626-9C0271AFC02D}">
      <dgm:prSet/>
      <dgm:spPr/>
      <dgm:t>
        <a:bodyPr/>
        <a:lstStyle/>
        <a:p>
          <a:endParaRPr lang="en-US"/>
        </a:p>
      </dgm:t>
    </dgm:pt>
    <dgm:pt modelId="{E1CE4B64-470B-4C4E-B3AF-BFF76DB1776E}" type="sibTrans" cxnId="{11D92FE4-265B-4C2D-B626-9C0271AFC02D}">
      <dgm:prSet/>
      <dgm:spPr/>
      <dgm:t>
        <a:bodyPr/>
        <a:lstStyle/>
        <a:p>
          <a:endParaRPr lang="en-US"/>
        </a:p>
      </dgm:t>
    </dgm:pt>
    <dgm:pt modelId="{797A61A2-3F7F-488F-AAEB-020B9880905E}">
      <dgm:prSet/>
      <dgm:spPr/>
      <dgm:t>
        <a:bodyPr/>
        <a:lstStyle/>
        <a:p>
          <a:r>
            <a:rPr lang="en-US" baseline="0"/>
            <a:t>Reach more locations, faster, with the performance and reliability of a vast global infrastructure.</a:t>
          </a:r>
          <a:endParaRPr lang="en-US"/>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8BE10CC1-49FC-4FE5-8093-3810AEFCF250}" type="parTrans" cxnId="{62ED53FD-7FB3-4EB3-BFC1-8DA8B67E3A82}">
      <dgm:prSet/>
      <dgm:spPr/>
      <dgm:t>
        <a:bodyPr/>
        <a:lstStyle/>
        <a:p>
          <a:endParaRPr lang="en-US"/>
        </a:p>
      </dgm:t>
    </dgm:pt>
    <dgm:pt modelId="{C475BD80-1493-4300-839A-3B28BC8254FC}" type="sibTrans" cxnId="{62ED53FD-7FB3-4EB3-BFC1-8DA8B67E3A82}">
      <dgm:prSet/>
      <dgm:spPr/>
      <dgm:t>
        <a:bodyPr/>
        <a:lstStyle/>
        <a:p>
          <a:endParaRPr lang="en-US"/>
        </a:p>
      </dgm:t>
    </dgm:pt>
    <dgm:pt modelId="{1ECE178A-5E82-4486-914A-3D97BB980624}">
      <dgm:prSet/>
      <dgm:spPr/>
      <dgm:t>
        <a:bodyPr/>
        <a:lstStyle/>
        <a:p>
          <a:r>
            <a:rPr lang="en-US" baseline="0"/>
            <a:t>Safeguard data</a:t>
          </a:r>
          <a:endParaRPr lang="en-US"/>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ED1C6C99-E072-45E8-81CF-541BA5846D0F}" type="parTrans" cxnId="{76600FAB-0878-4ABC-A5FD-315D93AAEF3D}">
      <dgm:prSet/>
      <dgm:spPr/>
      <dgm:t>
        <a:bodyPr/>
        <a:lstStyle/>
        <a:p>
          <a:endParaRPr lang="en-US"/>
        </a:p>
      </dgm:t>
    </dgm:pt>
    <dgm:pt modelId="{3FBCFE98-1458-409D-B033-A5F51A263A6B}" type="sibTrans" cxnId="{76600FAB-0878-4ABC-A5FD-315D93AAEF3D}">
      <dgm:prSet/>
      <dgm:spPr/>
      <dgm:t>
        <a:bodyPr/>
        <a:lstStyle/>
        <a:p>
          <a:endParaRPr lang="en-US"/>
        </a:p>
      </dgm:t>
    </dgm:pt>
    <dgm:pt modelId="{5A1B1602-7D70-46F2-BB2D-8A47BDC5E954}">
      <dgm:prSet/>
      <dgm:spPr/>
      <dgm:t>
        <a:bodyPr/>
        <a:lstStyle/>
        <a:p>
          <a:r>
            <a:rPr lang="en-US" baseline="0" dirty="0"/>
            <a:t>Rely on industry-leading data security in the region and across our network.</a:t>
          </a:r>
          <a:endParaRPr lang="en-US" dirty="0"/>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C57F3B29-5FB3-4F8C-B9BE-257693388147}" type="parTrans" cxnId="{04783965-96A3-448F-B858-45DC23B1A675}">
      <dgm:prSet/>
      <dgm:spPr/>
      <dgm:t>
        <a:bodyPr/>
        <a:lstStyle/>
        <a:p>
          <a:endParaRPr lang="en-US"/>
        </a:p>
      </dgm:t>
    </dgm:pt>
    <dgm:pt modelId="{45D4B61C-7358-4A1D-8F49-7C4CAB9C0D9F}" type="sibTrans" cxnId="{04783965-96A3-448F-B858-45DC23B1A675}">
      <dgm:prSet/>
      <dgm:spPr/>
      <dgm:t>
        <a:bodyPr/>
        <a:lstStyle/>
        <a:p>
          <a:endParaRPr lang="en-US"/>
        </a:p>
      </dgm:t>
    </dgm:pt>
    <dgm:pt modelId="{5B6B6026-32E6-45AB-B6CC-028F84EC4D8C}">
      <dgm:prSet/>
      <dgm:spPr/>
      <dgm:t>
        <a:bodyPr/>
        <a:lstStyle/>
        <a:p>
          <a:r>
            <a:rPr lang="en-US" baseline="0"/>
            <a:t>Promote sustainability</a:t>
          </a:r>
          <a:endParaRPr lang="en-US"/>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5763E832-5010-4BC3-A789-F02F7D2154DD}" type="parTrans" cxnId="{5F37004A-45CC-4B9D-9B71-8C0C0014BCF7}">
      <dgm:prSet/>
      <dgm:spPr/>
      <dgm:t>
        <a:bodyPr/>
        <a:lstStyle/>
        <a:p>
          <a:endParaRPr lang="en-US"/>
        </a:p>
      </dgm:t>
    </dgm:pt>
    <dgm:pt modelId="{20EDA143-5336-407E-BBDA-5A83186532B0}" type="sibTrans" cxnId="{5F37004A-45CC-4B9D-9B71-8C0C0014BCF7}">
      <dgm:prSet/>
      <dgm:spPr/>
      <dgm:t>
        <a:bodyPr/>
        <a:lstStyle/>
        <a:p>
          <a:endParaRPr lang="en-US"/>
        </a:p>
      </dgm:t>
    </dgm:pt>
    <dgm:pt modelId="{2211EEBE-E440-4882-8F7C-ED15B4B0C410}">
      <dgm:prSet/>
      <dgm:spPr/>
      <dgm:t>
        <a:bodyPr/>
        <a:lstStyle/>
        <a:p>
          <a:r>
            <a:rPr lang="en-US" baseline="0"/>
            <a:t>Help build a clean-energy future and accelerate progress toward your sustainability goals.</a:t>
          </a:r>
          <a:endParaRPr lang="en-US"/>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3740D8BC-3D37-49A9-A248-A6120A4088E2}" type="parTrans" cxnId="{FD35BB7C-0EBF-483B-8AAE-295AB090519B}">
      <dgm:prSet/>
      <dgm:spPr/>
      <dgm:t>
        <a:bodyPr/>
        <a:lstStyle/>
        <a:p>
          <a:endParaRPr lang="en-US"/>
        </a:p>
      </dgm:t>
    </dgm:pt>
    <dgm:pt modelId="{7F61C374-3630-4F20-BE35-12F6AC4D71EB}" type="sibTrans" cxnId="{FD35BB7C-0EBF-483B-8AAE-295AB090519B}">
      <dgm:prSet/>
      <dgm:spPr/>
      <dgm:t>
        <a:bodyPr/>
        <a:lstStyle/>
        <a:p>
          <a:endParaRPr lang="en-US"/>
        </a:p>
      </dgm:t>
    </dgm:pt>
    <dgm:pt modelId="{D4FC0F77-EE0B-4D1C-95CD-96218E26DE81}" type="pres">
      <dgm:prSet presAssocID="{8F773827-0213-4B99-BDED-4F6297562CA8}" presName="linear" presStyleCnt="0">
        <dgm:presLayoutVars>
          <dgm:animLvl val="lvl"/>
          <dgm:resizeHandles val="exact"/>
        </dgm:presLayoutVars>
      </dgm:prSet>
      <dgm:spPr/>
    </dgm:pt>
    <dgm:pt modelId="{3C2023E7-76F8-4240-A90B-C66466FA1790}" type="pres">
      <dgm:prSet presAssocID="{D4FCB8F5-E819-4F94-90FF-2734A64EA438}" presName="parentText" presStyleLbl="node1" presStyleIdx="0" presStyleCnt="6">
        <dgm:presLayoutVars>
          <dgm:chMax val="0"/>
          <dgm:bulletEnabled val="1"/>
        </dgm:presLayoutVars>
      </dgm:prSet>
      <dgm:spPr/>
    </dgm:pt>
    <dgm:pt modelId="{B7E15301-A4C5-40C3-8123-5D8E5568BC91}" type="pres">
      <dgm:prSet presAssocID="{C46645BA-FF0F-4B59-B7A3-D8DE4CFF2F0C}" presName="spacer" presStyleCnt="0"/>
      <dgm:spPr/>
    </dgm:pt>
    <dgm:pt modelId="{EA724777-5A37-4639-8598-C8C8CA24F856}" type="pres">
      <dgm:prSet presAssocID="{E1D85293-D54E-4267-97E6-C2C0FCF17B33}" presName="parentText" presStyleLbl="node1" presStyleIdx="1" presStyleCnt="6">
        <dgm:presLayoutVars>
          <dgm:chMax val="0"/>
          <dgm:bulletEnabled val="1"/>
        </dgm:presLayoutVars>
      </dgm:prSet>
      <dgm:spPr/>
    </dgm:pt>
    <dgm:pt modelId="{6BA53711-AC71-4316-9E7D-2E8F7BD7A553}" type="pres">
      <dgm:prSet presAssocID="{41033641-BACE-4CBA-8C35-7E945E1BBA6B}" presName="spacer" presStyleCnt="0"/>
      <dgm:spPr/>
    </dgm:pt>
    <dgm:pt modelId="{4C706E1B-708A-4D18-8BC1-C05516EE6FAB}" type="pres">
      <dgm:prSet presAssocID="{E79C35C4-BB87-4C59-A6B0-EF190B7165D0}" presName="parentText" presStyleLbl="node1" presStyleIdx="2" presStyleCnt="6">
        <dgm:presLayoutVars>
          <dgm:chMax val="0"/>
          <dgm:bulletEnabled val="1"/>
        </dgm:presLayoutVars>
      </dgm:prSet>
      <dgm:spPr/>
    </dgm:pt>
    <dgm:pt modelId="{B25610D2-5E82-4D28-802E-918FC4C8FA2D}" type="pres">
      <dgm:prSet presAssocID="{13E0FA8C-2C61-446F-AC24-FE6D92038E40}" presName="spacer" presStyleCnt="0"/>
      <dgm:spPr/>
    </dgm:pt>
    <dgm:pt modelId="{4E42B728-6D1B-43E0-A034-1C3F40ABF6C2}" type="pres">
      <dgm:prSet presAssocID="{C50D5E4A-0B5B-427D-AD3C-04358F750F96}" presName="parentText" presStyleLbl="node1" presStyleIdx="3" presStyleCnt="6">
        <dgm:presLayoutVars>
          <dgm:chMax val="0"/>
          <dgm:bulletEnabled val="1"/>
        </dgm:presLayoutVars>
      </dgm:prSet>
      <dgm:spPr/>
    </dgm:pt>
    <dgm:pt modelId="{9C007B62-96B9-4ACA-A04D-4F8E84DB4007}" type="pres">
      <dgm:prSet presAssocID="{C50D5E4A-0B5B-427D-AD3C-04358F750F96}" presName="childText" presStyleLbl="revTx" presStyleIdx="0" presStyleCnt="3">
        <dgm:presLayoutVars>
          <dgm:bulletEnabled val="1"/>
        </dgm:presLayoutVars>
      </dgm:prSet>
      <dgm:spPr/>
    </dgm:pt>
    <dgm:pt modelId="{2E4966F4-E8F5-4388-8567-199CAD14B693}" type="pres">
      <dgm:prSet presAssocID="{1ECE178A-5E82-4486-914A-3D97BB980624}" presName="parentText" presStyleLbl="node1" presStyleIdx="4" presStyleCnt="6">
        <dgm:presLayoutVars>
          <dgm:chMax val="0"/>
          <dgm:bulletEnabled val="1"/>
        </dgm:presLayoutVars>
      </dgm:prSet>
      <dgm:spPr/>
    </dgm:pt>
    <dgm:pt modelId="{A88D8434-7005-4AEE-8560-4AC04FB1432E}" type="pres">
      <dgm:prSet presAssocID="{1ECE178A-5E82-4486-914A-3D97BB980624}" presName="childText" presStyleLbl="revTx" presStyleIdx="1" presStyleCnt="3">
        <dgm:presLayoutVars>
          <dgm:bulletEnabled val="1"/>
        </dgm:presLayoutVars>
      </dgm:prSet>
      <dgm:spPr/>
    </dgm:pt>
    <dgm:pt modelId="{1CE32638-51B2-4B23-98BD-07246D9CD311}" type="pres">
      <dgm:prSet presAssocID="{5B6B6026-32E6-45AB-B6CC-028F84EC4D8C}" presName="parentText" presStyleLbl="node1" presStyleIdx="5" presStyleCnt="6">
        <dgm:presLayoutVars>
          <dgm:chMax val="0"/>
          <dgm:bulletEnabled val="1"/>
        </dgm:presLayoutVars>
      </dgm:prSet>
      <dgm:spPr/>
    </dgm:pt>
    <dgm:pt modelId="{A594F59E-3D64-4506-9C87-BF49311AEA3C}" type="pres">
      <dgm:prSet presAssocID="{5B6B6026-32E6-45AB-B6CC-028F84EC4D8C}" presName="childText" presStyleLbl="revTx" presStyleIdx="2" presStyleCnt="3">
        <dgm:presLayoutVars>
          <dgm:bulletEnabled val="1"/>
        </dgm:presLayoutVars>
      </dgm:prSet>
      <dgm:spPr/>
    </dgm:pt>
  </dgm:ptLst>
  <dgm:cxnLst>
    <dgm:cxn modelId="{1E81E014-734A-4096-9DF6-7BEDF0F09F14}" type="presOf" srcId="{1ECE178A-5E82-4486-914A-3D97BB980624}" destId="{2E4966F4-E8F5-4388-8567-199CAD14B693}" srcOrd="0" destOrd="0" presId="urn:microsoft.com/office/officeart/2005/8/layout/vList2"/>
    <dgm:cxn modelId="{6FFFEC17-E75B-4B97-A24A-211449D043B5}" type="presOf" srcId="{E79C35C4-BB87-4C59-A6B0-EF190B7165D0}" destId="{4C706E1B-708A-4D18-8BC1-C05516EE6FAB}" srcOrd="0" destOrd="0" presId="urn:microsoft.com/office/officeart/2005/8/layout/vList2"/>
    <dgm:cxn modelId="{2194D51A-A46B-41E0-B6D7-69A80341DF80}" type="presOf" srcId="{2211EEBE-E440-4882-8F7C-ED15B4B0C410}" destId="{A594F59E-3D64-4506-9C87-BF49311AEA3C}" srcOrd="0" destOrd="0" presId="urn:microsoft.com/office/officeart/2005/8/layout/vList2"/>
    <dgm:cxn modelId="{A17CEF3A-04A8-4F92-AAFB-1494B619B3EF}" srcId="{8F773827-0213-4B99-BDED-4F6297562CA8}" destId="{E1D85293-D54E-4267-97E6-C2C0FCF17B33}" srcOrd="1" destOrd="0" parTransId="{B61B8984-1E6C-455C-9F12-C2C5EB2B9B46}" sibTransId="{41033641-BACE-4CBA-8C35-7E945E1BBA6B}"/>
    <dgm:cxn modelId="{04783965-96A3-448F-B858-45DC23B1A675}" srcId="{1ECE178A-5E82-4486-914A-3D97BB980624}" destId="{5A1B1602-7D70-46F2-BB2D-8A47BDC5E954}" srcOrd="0" destOrd="0" parTransId="{C57F3B29-5FB3-4F8C-B9BE-257693388147}" sibTransId="{45D4B61C-7358-4A1D-8F49-7C4CAB9C0D9F}"/>
    <dgm:cxn modelId="{71359146-6CA6-44A1-83D9-1E3D53317B16}" type="presOf" srcId="{E1D85293-D54E-4267-97E6-C2C0FCF17B33}" destId="{EA724777-5A37-4639-8598-C8C8CA24F856}" srcOrd="0" destOrd="0" presId="urn:microsoft.com/office/officeart/2005/8/layout/vList2"/>
    <dgm:cxn modelId="{97D2B767-7766-4DA1-B6D3-859AC6665194}" srcId="{8F773827-0213-4B99-BDED-4F6297562CA8}" destId="{E79C35C4-BB87-4C59-A6B0-EF190B7165D0}" srcOrd="2" destOrd="0" parTransId="{411A3160-28C6-407C-97A2-D18902A9FD0D}" sibTransId="{13E0FA8C-2C61-446F-AC24-FE6D92038E40}"/>
    <dgm:cxn modelId="{5F37004A-45CC-4B9D-9B71-8C0C0014BCF7}" srcId="{8F773827-0213-4B99-BDED-4F6297562CA8}" destId="{5B6B6026-32E6-45AB-B6CC-028F84EC4D8C}" srcOrd="5" destOrd="0" parTransId="{5763E832-5010-4BC3-A789-F02F7D2154DD}" sibTransId="{20EDA143-5336-407E-BBDA-5A83186532B0}"/>
    <dgm:cxn modelId="{3BFF5353-25D6-4A81-9BF9-131A31DD0E8C}" srcId="{8F773827-0213-4B99-BDED-4F6297562CA8}" destId="{D4FCB8F5-E819-4F94-90FF-2734A64EA438}" srcOrd="0" destOrd="0" parTransId="{C30DE435-0826-4D5F-90B6-6274BD1E4E03}" sibTransId="{C46645BA-FF0F-4B59-B7A3-D8DE4CFF2F0C}"/>
    <dgm:cxn modelId="{37D03377-5065-4C40-8369-C6C7DBE94ABA}" type="presOf" srcId="{5A1B1602-7D70-46F2-BB2D-8A47BDC5E954}" destId="{A88D8434-7005-4AEE-8560-4AC04FB1432E}" srcOrd="0" destOrd="0" presId="urn:microsoft.com/office/officeart/2005/8/layout/vList2"/>
    <dgm:cxn modelId="{FD35BB7C-0EBF-483B-8AAE-295AB090519B}" srcId="{5B6B6026-32E6-45AB-B6CC-028F84EC4D8C}" destId="{2211EEBE-E440-4882-8F7C-ED15B4B0C410}" srcOrd="0" destOrd="0" parTransId="{3740D8BC-3D37-49A9-A248-A6120A4088E2}" sibTransId="{7F61C374-3630-4F20-BE35-12F6AC4D71EB}"/>
    <dgm:cxn modelId="{76600FAB-0878-4ABC-A5FD-315D93AAEF3D}" srcId="{8F773827-0213-4B99-BDED-4F6297562CA8}" destId="{1ECE178A-5E82-4486-914A-3D97BB980624}" srcOrd="4" destOrd="0" parTransId="{ED1C6C99-E072-45E8-81CF-541BA5846D0F}" sibTransId="{3FBCFE98-1458-409D-B033-A5F51A263A6B}"/>
    <dgm:cxn modelId="{8263B5B2-41FC-448A-8757-F33FDB9E03AA}" type="presOf" srcId="{D4FCB8F5-E819-4F94-90FF-2734A64EA438}" destId="{3C2023E7-76F8-4240-A90B-C66466FA1790}" srcOrd="0" destOrd="0" presId="urn:microsoft.com/office/officeart/2005/8/layout/vList2"/>
    <dgm:cxn modelId="{80C396B3-0B04-4BDF-96BA-30F359959F7D}" type="presOf" srcId="{C50D5E4A-0B5B-427D-AD3C-04358F750F96}" destId="{4E42B728-6D1B-43E0-A034-1C3F40ABF6C2}" srcOrd="0" destOrd="0" presId="urn:microsoft.com/office/officeart/2005/8/layout/vList2"/>
    <dgm:cxn modelId="{CC21E3C7-3B47-450A-BE67-D4C57682C940}" type="presOf" srcId="{797A61A2-3F7F-488F-AAEB-020B9880905E}" destId="{9C007B62-96B9-4ACA-A04D-4F8E84DB4007}" srcOrd="0" destOrd="0" presId="urn:microsoft.com/office/officeart/2005/8/layout/vList2"/>
    <dgm:cxn modelId="{D5CF2FD7-E047-48C0-98E7-03F0279B1446}" type="presOf" srcId="{5B6B6026-32E6-45AB-B6CC-028F84EC4D8C}" destId="{1CE32638-51B2-4B23-98BD-07246D9CD311}" srcOrd="0" destOrd="0" presId="urn:microsoft.com/office/officeart/2005/8/layout/vList2"/>
    <dgm:cxn modelId="{11D92FE4-265B-4C2D-B626-9C0271AFC02D}" srcId="{8F773827-0213-4B99-BDED-4F6297562CA8}" destId="{C50D5E4A-0B5B-427D-AD3C-04358F750F96}" srcOrd="3" destOrd="0" parTransId="{EFB2AB21-7C39-40CE-899A-357DD3F6278D}" sibTransId="{E1CE4B64-470B-4C4E-B3AF-BFF76DB1776E}"/>
    <dgm:cxn modelId="{E2AFE8F8-77D5-4476-B5C7-AB22496C182C}" type="presOf" srcId="{8F773827-0213-4B99-BDED-4F6297562CA8}" destId="{D4FC0F77-EE0B-4D1C-95CD-96218E26DE81}" srcOrd="0" destOrd="0" presId="urn:microsoft.com/office/officeart/2005/8/layout/vList2"/>
    <dgm:cxn modelId="{62ED53FD-7FB3-4EB3-BFC1-8DA8B67E3A82}" srcId="{C50D5E4A-0B5B-427D-AD3C-04358F750F96}" destId="{797A61A2-3F7F-488F-AAEB-020B9880905E}" srcOrd="0" destOrd="0" parTransId="{8BE10CC1-49FC-4FE5-8093-3810AEFCF250}" sibTransId="{C475BD80-1493-4300-839A-3B28BC8254FC}"/>
    <dgm:cxn modelId="{BDF374D0-0913-43FB-9A08-F5DC3B85F7E2}" type="presParOf" srcId="{D4FC0F77-EE0B-4D1C-95CD-96218E26DE81}" destId="{3C2023E7-76F8-4240-A90B-C66466FA1790}" srcOrd="0" destOrd="0" presId="urn:microsoft.com/office/officeart/2005/8/layout/vList2"/>
    <dgm:cxn modelId="{11837C34-18F2-422E-9B4D-E2F20EDF2C0D}" type="presParOf" srcId="{D4FC0F77-EE0B-4D1C-95CD-96218E26DE81}" destId="{B7E15301-A4C5-40C3-8123-5D8E5568BC91}" srcOrd="1" destOrd="0" presId="urn:microsoft.com/office/officeart/2005/8/layout/vList2"/>
    <dgm:cxn modelId="{33133FAD-B5C3-4225-AACA-7ED831561F5E}" type="presParOf" srcId="{D4FC0F77-EE0B-4D1C-95CD-96218E26DE81}" destId="{EA724777-5A37-4639-8598-C8C8CA24F856}" srcOrd="2" destOrd="0" presId="urn:microsoft.com/office/officeart/2005/8/layout/vList2"/>
    <dgm:cxn modelId="{B67E3B75-B8B5-435B-9811-95722A0283EC}" type="presParOf" srcId="{D4FC0F77-EE0B-4D1C-95CD-96218E26DE81}" destId="{6BA53711-AC71-4316-9E7D-2E8F7BD7A553}" srcOrd="3" destOrd="0" presId="urn:microsoft.com/office/officeart/2005/8/layout/vList2"/>
    <dgm:cxn modelId="{089EB845-2400-4F6A-B36F-37B444A962E8}" type="presParOf" srcId="{D4FC0F77-EE0B-4D1C-95CD-96218E26DE81}" destId="{4C706E1B-708A-4D18-8BC1-C05516EE6FAB}" srcOrd="4" destOrd="0" presId="urn:microsoft.com/office/officeart/2005/8/layout/vList2"/>
    <dgm:cxn modelId="{BDFD5DEB-7147-48DE-B392-A54986D03F0F}" type="presParOf" srcId="{D4FC0F77-EE0B-4D1C-95CD-96218E26DE81}" destId="{B25610D2-5E82-4D28-802E-918FC4C8FA2D}" srcOrd="5" destOrd="0" presId="urn:microsoft.com/office/officeart/2005/8/layout/vList2"/>
    <dgm:cxn modelId="{571CE655-9E98-4E54-B452-B8DBD4DDF2F7}" type="presParOf" srcId="{D4FC0F77-EE0B-4D1C-95CD-96218E26DE81}" destId="{4E42B728-6D1B-43E0-A034-1C3F40ABF6C2}" srcOrd="6" destOrd="0" presId="urn:microsoft.com/office/officeart/2005/8/layout/vList2"/>
    <dgm:cxn modelId="{8CD1A2FF-F416-49B5-9AD2-8F28E1AE908F}" type="presParOf" srcId="{D4FC0F77-EE0B-4D1C-95CD-96218E26DE81}" destId="{9C007B62-96B9-4ACA-A04D-4F8E84DB4007}" srcOrd="7" destOrd="0" presId="urn:microsoft.com/office/officeart/2005/8/layout/vList2"/>
    <dgm:cxn modelId="{48D8DC34-0ACA-4D64-9D45-97990757785D}" type="presParOf" srcId="{D4FC0F77-EE0B-4D1C-95CD-96218E26DE81}" destId="{2E4966F4-E8F5-4388-8567-199CAD14B693}" srcOrd="8" destOrd="0" presId="urn:microsoft.com/office/officeart/2005/8/layout/vList2"/>
    <dgm:cxn modelId="{50FD4DA2-2BCF-47E7-BCC3-DA367E72A85E}" type="presParOf" srcId="{D4FC0F77-EE0B-4D1C-95CD-96218E26DE81}" destId="{A88D8434-7005-4AEE-8560-4AC04FB1432E}" srcOrd="9" destOrd="0" presId="urn:microsoft.com/office/officeart/2005/8/layout/vList2"/>
    <dgm:cxn modelId="{FAF0D574-9A8A-4105-B57E-F1A0CF363F66}" type="presParOf" srcId="{D4FC0F77-EE0B-4D1C-95CD-96218E26DE81}" destId="{1CE32638-51B2-4B23-98BD-07246D9CD311}" srcOrd="10" destOrd="0" presId="urn:microsoft.com/office/officeart/2005/8/layout/vList2"/>
    <dgm:cxn modelId="{CC286B15-01B7-4E04-A33F-6EE45C40575D}" type="presParOf" srcId="{D4FC0F77-EE0B-4D1C-95CD-96218E26DE81}" destId="{A594F59E-3D64-4506-9C87-BF49311AEA3C}" srcOrd="1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674B2DA-2487-479E-9499-BFD67AFC0AEB}"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D1CEF526-1468-4FEA-B6B7-A2182118C275}">
      <dgm:prSet custT="1"/>
      <dgm:spPr/>
      <dgm:t>
        <a:bodyPr/>
        <a:lstStyle/>
        <a:p>
          <a:r>
            <a:rPr lang="en-US" sz="2400" b="1" baseline="0"/>
            <a:t>Database Migration Assistant (DMA)</a:t>
          </a:r>
          <a:endParaRPr lang="en-US" sz="2400"/>
        </a:p>
      </dgm:t>
    </dgm:pt>
    <dgm:pt modelId="{24FD0C69-F85D-450A-843F-74070F000826}" type="parTrans" cxnId="{ACDB93F6-7B63-4145-A424-A9D7DC5D0312}">
      <dgm:prSet/>
      <dgm:spPr/>
      <dgm:t>
        <a:bodyPr/>
        <a:lstStyle/>
        <a:p>
          <a:endParaRPr lang="en-US"/>
        </a:p>
      </dgm:t>
    </dgm:pt>
    <dgm:pt modelId="{D09496CF-80E9-4F1C-8BBD-95418D59C279}" type="sibTrans" cxnId="{ACDB93F6-7B63-4145-A424-A9D7DC5D0312}">
      <dgm:prSet/>
      <dgm:spPr/>
      <dgm:t>
        <a:bodyPr/>
        <a:lstStyle/>
        <a:p>
          <a:endParaRPr lang="en-US"/>
        </a:p>
      </dgm:t>
    </dgm:pt>
    <dgm:pt modelId="{25AAA2EA-9008-4691-84FC-67926449AFEB}">
      <dgm:prSet custT="1"/>
      <dgm:spPr/>
      <dgm:t>
        <a:bodyPr/>
        <a:lstStyle/>
        <a:p>
          <a:r>
            <a:rPr lang="en-US" sz="2000" baseline="0"/>
            <a:t>Elastic pools</a:t>
          </a:r>
          <a:endParaRPr lang="en-US" sz="2000"/>
        </a:p>
      </dgm:t>
    </dgm:pt>
    <dgm:pt modelId="{41639629-4C13-41FB-8F5D-27A2B6FEDA23}" type="parTrans" cxnId="{9464A5F6-31E0-4F74-AC2F-9ED3DE93E489}">
      <dgm:prSet/>
      <dgm:spPr/>
      <dgm:t>
        <a:bodyPr/>
        <a:lstStyle/>
        <a:p>
          <a:endParaRPr lang="en-US"/>
        </a:p>
      </dgm:t>
    </dgm:pt>
    <dgm:pt modelId="{87894F6E-8761-496D-A202-F3E2CB300F31}" type="sibTrans" cxnId="{9464A5F6-31E0-4F74-AC2F-9ED3DE93E489}">
      <dgm:prSet/>
      <dgm:spPr/>
      <dgm:t>
        <a:bodyPr/>
        <a:lstStyle/>
        <a:p>
          <a:endParaRPr lang="en-US"/>
        </a:p>
      </dgm:t>
    </dgm:pt>
    <dgm:pt modelId="{8222DD14-6221-4AD1-94E0-1FC24278D036}">
      <dgm:prSet custT="1"/>
      <dgm:spPr/>
      <dgm:t>
        <a:bodyPr/>
        <a:lstStyle/>
        <a:p>
          <a:r>
            <a:rPr lang="en-US" sz="2000" baseline="0"/>
            <a:t>Managed instance</a:t>
          </a:r>
          <a:endParaRPr lang="en-US" sz="2000"/>
        </a:p>
      </dgm:t>
    </dgm:pt>
    <dgm:pt modelId="{82A59370-FBB0-4799-9BEC-B6EF98FC76B8}" type="parTrans" cxnId="{67C69630-C73B-4E6D-AB9D-8D46A3ECB3DC}">
      <dgm:prSet/>
      <dgm:spPr/>
      <dgm:t>
        <a:bodyPr/>
        <a:lstStyle/>
        <a:p>
          <a:endParaRPr lang="en-US"/>
        </a:p>
      </dgm:t>
    </dgm:pt>
    <dgm:pt modelId="{F5C23573-B265-4AF6-BC64-B2F086580AC6}" type="sibTrans" cxnId="{67C69630-C73B-4E6D-AB9D-8D46A3ECB3DC}">
      <dgm:prSet/>
      <dgm:spPr/>
      <dgm:t>
        <a:bodyPr/>
        <a:lstStyle/>
        <a:p>
          <a:endParaRPr lang="en-US"/>
        </a:p>
      </dgm:t>
    </dgm:pt>
    <dgm:pt modelId="{DAF22E68-490A-401B-B5E1-8BDCD4481B1E}">
      <dgm:prSet custT="1"/>
      <dgm:spPr/>
      <dgm:t>
        <a:bodyPr/>
        <a:lstStyle/>
        <a:p>
          <a:r>
            <a:rPr lang="en-US" sz="2000" baseline="0"/>
            <a:t>Single database</a:t>
          </a:r>
          <a:endParaRPr lang="en-US"/>
        </a:p>
      </dgm:t>
    </dgm:pt>
    <dgm:pt modelId="{941FDD6E-619E-4861-9CCD-508BCE7C82E3}" type="parTrans" cxnId="{36F21256-DFF9-497B-9D84-50E486575031}">
      <dgm:prSet/>
      <dgm:spPr/>
    </dgm:pt>
    <dgm:pt modelId="{7AFF7141-F2F3-4194-A3FC-29406CCB5AFF}" type="sibTrans" cxnId="{36F21256-DFF9-497B-9D84-50E486575031}">
      <dgm:prSet/>
      <dgm:spPr/>
    </dgm:pt>
    <dgm:pt modelId="{5B375221-36A6-4FAE-B41C-FDC6D03F69BB}" type="pres">
      <dgm:prSet presAssocID="{8674B2DA-2487-479E-9499-BFD67AFC0AEB}" presName="Name0" presStyleCnt="0">
        <dgm:presLayoutVars>
          <dgm:dir/>
          <dgm:animLvl val="lvl"/>
          <dgm:resizeHandles val="exact"/>
        </dgm:presLayoutVars>
      </dgm:prSet>
      <dgm:spPr/>
    </dgm:pt>
    <dgm:pt modelId="{007CB02D-2D1C-423A-9269-60E8D87F7C1F}" type="pres">
      <dgm:prSet presAssocID="{D1CEF526-1468-4FEA-B6B7-A2182118C275}" presName="composite" presStyleCnt="0"/>
      <dgm:spPr/>
    </dgm:pt>
    <dgm:pt modelId="{9A872B13-BFAC-48EC-A3D0-7A73F0B9A7D1}" type="pres">
      <dgm:prSet presAssocID="{D1CEF526-1468-4FEA-B6B7-A2182118C275}" presName="parTx" presStyleLbl="alignNode1" presStyleIdx="0" presStyleCnt="1">
        <dgm:presLayoutVars>
          <dgm:chMax val="0"/>
          <dgm:chPref val="0"/>
          <dgm:bulletEnabled val="1"/>
        </dgm:presLayoutVars>
      </dgm:prSet>
      <dgm:spPr/>
    </dgm:pt>
    <dgm:pt modelId="{E654671C-8573-4D09-9D62-9A452774085C}" type="pres">
      <dgm:prSet presAssocID="{D1CEF526-1468-4FEA-B6B7-A2182118C275}" presName="desTx" presStyleLbl="alignAccFollowNode1" presStyleIdx="0" presStyleCnt="1">
        <dgm:presLayoutVars>
          <dgm:bulletEnabled val="1"/>
        </dgm:presLayoutVars>
      </dgm:prSet>
      <dgm:spPr/>
    </dgm:pt>
  </dgm:ptLst>
  <dgm:cxnLst>
    <dgm:cxn modelId="{44D86606-8ED4-444B-A1AA-BFE4BCAAB590}" type="presOf" srcId="{D1CEF526-1468-4FEA-B6B7-A2182118C275}" destId="{9A872B13-BFAC-48EC-A3D0-7A73F0B9A7D1}" srcOrd="0" destOrd="0" presId="urn:microsoft.com/office/officeart/2005/8/layout/hList1"/>
    <dgm:cxn modelId="{6CB7C017-405E-4B49-BF04-4367C71B1C2E}" type="presOf" srcId="{8674B2DA-2487-479E-9499-BFD67AFC0AEB}" destId="{5B375221-36A6-4FAE-B41C-FDC6D03F69BB}" srcOrd="0" destOrd="0" presId="urn:microsoft.com/office/officeart/2005/8/layout/hList1"/>
    <dgm:cxn modelId="{206A2F2B-436A-470C-82DA-0627078BD66F}" type="presOf" srcId="{25AAA2EA-9008-4691-84FC-67926449AFEB}" destId="{E654671C-8573-4D09-9D62-9A452774085C}" srcOrd="0" destOrd="1" presId="urn:microsoft.com/office/officeart/2005/8/layout/hList1"/>
    <dgm:cxn modelId="{67C69630-C73B-4E6D-AB9D-8D46A3ECB3DC}" srcId="{D1CEF526-1468-4FEA-B6B7-A2182118C275}" destId="{8222DD14-6221-4AD1-94E0-1FC24278D036}" srcOrd="2" destOrd="0" parTransId="{82A59370-FBB0-4799-9BEC-B6EF98FC76B8}" sibTransId="{F5C23573-B265-4AF6-BC64-B2F086580AC6}"/>
    <dgm:cxn modelId="{36F21256-DFF9-497B-9D84-50E486575031}" srcId="{D1CEF526-1468-4FEA-B6B7-A2182118C275}" destId="{DAF22E68-490A-401B-B5E1-8BDCD4481B1E}" srcOrd="0" destOrd="0" parTransId="{941FDD6E-619E-4861-9CCD-508BCE7C82E3}" sibTransId="{7AFF7141-F2F3-4194-A3FC-29406CCB5AFF}"/>
    <dgm:cxn modelId="{40B66DC8-C374-45BC-884A-FE155D09CF53}" type="presOf" srcId="{DAF22E68-490A-401B-B5E1-8BDCD4481B1E}" destId="{E654671C-8573-4D09-9D62-9A452774085C}" srcOrd="0" destOrd="0" presId="urn:microsoft.com/office/officeart/2005/8/layout/hList1"/>
    <dgm:cxn modelId="{ACDB93F6-7B63-4145-A424-A9D7DC5D0312}" srcId="{8674B2DA-2487-479E-9499-BFD67AFC0AEB}" destId="{D1CEF526-1468-4FEA-B6B7-A2182118C275}" srcOrd="0" destOrd="0" parTransId="{24FD0C69-F85D-450A-843F-74070F000826}" sibTransId="{D09496CF-80E9-4F1C-8BBD-95418D59C279}"/>
    <dgm:cxn modelId="{9464A5F6-31E0-4F74-AC2F-9ED3DE93E489}" srcId="{D1CEF526-1468-4FEA-B6B7-A2182118C275}" destId="{25AAA2EA-9008-4691-84FC-67926449AFEB}" srcOrd="1" destOrd="0" parTransId="{41639629-4C13-41FB-8F5D-27A2B6FEDA23}" sibTransId="{87894F6E-8761-496D-A202-F3E2CB300F31}"/>
    <dgm:cxn modelId="{190B29F7-D65C-428A-826D-CFBF3E355C31}" type="presOf" srcId="{8222DD14-6221-4AD1-94E0-1FC24278D036}" destId="{E654671C-8573-4D09-9D62-9A452774085C}" srcOrd="0" destOrd="2" presId="urn:microsoft.com/office/officeart/2005/8/layout/hList1"/>
    <dgm:cxn modelId="{BF72495A-C225-4BCB-92CE-70AFC3B13E7B}" type="presParOf" srcId="{5B375221-36A6-4FAE-B41C-FDC6D03F69BB}" destId="{007CB02D-2D1C-423A-9269-60E8D87F7C1F}" srcOrd="0" destOrd="0" presId="urn:microsoft.com/office/officeart/2005/8/layout/hList1"/>
    <dgm:cxn modelId="{000CB415-EF3C-47B1-8111-CD98F6C8E406}" type="presParOf" srcId="{007CB02D-2D1C-423A-9269-60E8D87F7C1F}" destId="{9A872B13-BFAC-48EC-A3D0-7A73F0B9A7D1}" srcOrd="0" destOrd="0" presId="urn:microsoft.com/office/officeart/2005/8/layout/hList1"/>
    <dgm:cxn modelId="{4E3DF531-D5EF-4E2B-9684-1744C49A34B7}" type="presParOf" srcId="{007CB02D-2D1C-423A-9269-60E8D87F7C1F}" destId="{E654671C-8573-4D09-9D62-9A452774085C}"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D9AF8B8-1F09-4011-BA47-13C7F0015233}" type="doc">
      <dgm:prSet loTypeId="urn:microsoft.com/office/officeart/2005/8/layout/hProcess9" loCatId="process" qsTypeId="urn:microsoft.com/office/officeart/2005/8/quickstyle/simple1" qsCatId="simple" csTypeId="urn:microsoft.com/office/officeart/2005/8/colors/accent0_3" csCatId="mainScheme"/>
      <dgm:spPr/>
      <dgm:t>
        <a:bodyPr/>
        <a:lstStyle/>
        <a:p>
          <a:endParaRPr lang="en-US"/>
        </a:p>
      </dgm:t>
    </dgm:pt>
    <dgm:pt modelId="{40BFF8CB-5B10-4ACC-B21F-75E1F22CAA8C}">
      <dgm:prSet/>
      <dgm:spPr/>
      <dgm:t>
        <a:bodyPr/>
        <a:lstStyle/>
        <a:p>
          <a:r>
            <a:rPr lang="en-US" baseline="0"/>
            <a:t>The feature provides recommendations related to:</a:t>
          </a:r>
          <a:endParaRPr lang="en-US"/>
        </a:p>
      </dgm:t>
    </dgm:pt>
    <dgm:pt modelId="{8BC2835D-8EF6-4E76-B082-8F91CB926916}" type="parTrans" cxnId="{C814CBAB-BFC7-493F-9368-7D502E34A415}">
      <dgm:prSet/>
      <dgm:spPr/>
      <dgm:t>
        <a:bodyPr/>
        <a:lstStyle/>
        <a:p>
          <a:endParaRPr lang="en-US"/>
        </a:p>
      </dgm:t>
    </dgm:pt>
    <dgm:pt modelId="{9BEA5E6D-63FA-4F56-A753-07D7AA91373B}" type="sibTrans" cxnId="{C814CBAB-BFC7-493F-9368-7D502E34A415}">
      <dgm:prSet/>
      <dgm:spPr/>
      <dgm:t>
        <a:bodyPr/>
        <a:lstStyle/>
        <a:p>
          <a:endParaRPr lang="en-US"/>
        </a:p>
      </dgm:t>
    </dgm:pt>
    <dgm:pt modelId="{A5D260C1-68DA-4E36-A955-7BE2781A245B}">
      <dgm:prSet/>
      <dgm:spPr/>
      <dgm:t>
        <a:bodyPr/>
        <a:lstStyle/>
        <a:p>
          <a:r>
            <a:rPr lang="en-US" baseline="0"/>
            <a:t>pricing tier</a:t>
          </a:r>
          <a:endParaRPr lang="en-US"/>
        </a:p>
      </dgm:t>
    </dgm:pt>
    <dgm:pt modelId="{788A7B2F-CEE1-4CB3-880C-7BDF2BA0F55A}" type="parTrans" cxnId="{49BBC9E5-72CE-4837-A82F-F348DD1D412A}">
      <dgm:prSet/>
      <dgm:spPr/>
      <dgm:t>
        <a:bodyPr/>
        <a:lstStyle/>
        <a:p>
          <a:endParaRPr lang="en-US"/>
        </a:p>
      </dgm:t>
    </dgm:pt>
    <dgm:pt modelId="{C77AA3E4-ACDD-482F-B6EA-51EAF9103956}" type="sibTrans" cxnId="{49BBC9E5-72CE-4837-A82F-F348DD1D412A}">
      <dgm:prSet/>
      <dgm:spPr/>
      <dgm:t>
        <a:bodyPr/>
        <a:lstStyle/>
        <a:p>
          <a:endParaRPr lang="en-US"/>
        </a:p>
      </dgm:t>
    </dgm:pt>
    <dgm:pt modelId="{CF08012C-44BF-4277-8ED9-B3ACDEA02DD2}">
      <dgm:prSet/>
      <dgm:spPr/>
      <dgm:t>
        <a:bodyPr/>
        <a:lstStyle/>
        <a:p>
          <a:r>
            <a:rPr lang="en-US" baseline="0"/>
            <a:t>compute level</a:t>
          </a:r>
          <a:endParaRPr lang="en-US"/>
        </a:p>
      </dgm:t>
    </dgm:pt>
    <dgm:pt modelId="{24BF2420-7897-4577-9ECA-93619452060D}" type="parTrans" cxnId="{39906A61-2262-4532-B26B-117F44157C67}">
      <dgm:prSet/>
      <dgm:spPr/>
      <dgm:t>
        <a:bodyPr/>
        <a:lstStyle/>
        <a:p>
          <a:endParaRPr lang="en-US"/>
        </a:p>
      </dgm:t>
    </dgm:pt>
    <dgm:pt modelId="{54279535-89F5-4B0B-A6CD-AA65FF4158D1}" type="sibTrans" cxnId="{39906A61-2262-4532-B26B-117F44157C67}">
      <dgm:prSet/>
      <dgm:spPr/>
      <dgm:t>
        <a:bodyPr/>
        <a:lstStyle/>
        <a:p>
          <a:endParaRPr lang="en-US"/>
        </a:p>
      </dgm:t>
    </dgm:pt>
    <dgm:pt modelId="{54F1DF0F-216E-487A-ADC5-26AA5CCE2535}">
      <dgm:prSet/>
      <dgm:spPr/>
      <dgm:t>
        <a:bodyPr/>
        <a:lstStyle/>
        <a:p>
          <a:r>
            <a:rPr lang="en-US" baseline="0"/>
            <a:t>max data size</a:t>
          </a:r>
          <a:endParaRPr lang="en-US"/>
        </a:p>
      </dgm:t>
    </dgm:pt>
    <dgm:pt modelId="{33CD6489-E307-4CA5-AFDA-B6B5F031E827}" type="parTrans" cxnId="{2BFCFF56-936A-46F8-A92F-9DACB7F001D3}">
      <dgm:prSet/>
      <dgm:spPr/>
      <dgm:t>
        <a:bodyPr/>
        <a:lstStyle/>
        <a:p>
          <a:endParaRPr lang="en-US"/>
        </a:p>
      </dgm:t>
    </dgm:pt>
    <dgm:pt modelId="{179A3A20-116A-4E61-8B00-4CE1255D08F6}" type="sibTrans" cxnId="{2BFCFF56-936A-46F8-A92F-9DACB7F001D3}">
      <dgm:prSet/>
      <dgm:spPr/>
      <dgm:t>
        <a:bodyPr/>
        <a:lstStyle/>
        <a:p>
          <a:endParaRPr lang="en-US"/>
        </a:p>
      </dgm:t>
    </dgm:pt>
    <dgm:pt modelId="{07480B41-818A-450C-BFAE-4DAB4D7DF2C2}">
      <dgm:prSet/>
      <dgm:spPr/>
      <dgm:t>
        <a:bodyPr/>
        <a:lstStyle/>
        <a:p>
          <a:r>
            <a:rPr lang="en-US" baseline="0"/>
            <a:t>estimated cost per month.</a:t>
          </a:r>
          <a:endParaRPr lang="en-US"/>
        </a:p>
      </dgm:t>
    </dgm:pt>
    <dgm:pt modelId="{180BBCD3-5BDC-482E-A234-ED5ABB6EBD5C}" type="parTrans" cxnId="{702DE841-0229-4156-B047-B08774AF0115}">
      <dgm:prSet/>
      <dgm:spPr/>
      <dgm:t>
        <a:bodyPr/>
        <a:lstStyle/>
        <a:p>
          <a:endParaRPr lang="en-US"/>
        </a:p>
      </dgm:t>
    </dgm:pt>
    <dgm:pt modelId="{CD6DBCCA-9825-4751-A24F-686018C12C62}" type="sibTrans" cxnId="{702DE841-0229-4156-B047-B08774AF0115}">
      <dgm:prSet/>
      <dgm:spPr/>
      <dgm:t>
        <a:bodyPr/>
        <a:lstStyle/>
        <a:p>
          <a:endParaRPr lang="en-US"/>
        </a:p>
      </dgm:t>
    </dgm:pt>
    <dgm:pt modelId="{33D968DF-B973-4B74-A0C4-B75B79842352}">
      <dgm:prSet/>
      <dgm:spPr/>
      <dgm:t>
        <a:bodyPr/>
        <a:lstStyle/>
        <a:p>
          <a:r>
            <a:rPr lang="en-US" baseline="0"/>
            <a:t>Furthermore offers the ability to bulk provision single databases and managed instances in Azure for all recommended databases.</a:t>
          </a:r>
          <a:endParaRPr lang="en-US"/>
        </a:p>
      </dgm:t>
    </dgm:pt>
    <dgm:pt modelId="{AD9CB8EA-19CC-4773-B61B-BAE47D0AD551}" type="parTrans" cxnId="{4EC02B43-AB00-4D6F-ADEE-651CE45F63BA}">
      <dgm:prSet/>
      <dgm:spPr/>
      <dgm:t>
        <a:bodyPr/>
        <a:lstStyle/>
        <a:p>
          <a:endParaRPr lang="en-US"/>
        </a:p>
      </dgm:t>
    </dgm:pt>
    <dgm:pt modelId="{6B476C7A-F3C9-47AB-BC57-33AEA47B02BE}" type="sibTrans" cxnId="{4EC02B43-AB00-4D6F-ADEE-651CE45F63BA}">
      <dgm:prSet/>
      <dgm:spPr/>
      <dgm:t>
        <a:bodyPr/>
        <a:lstStyle/>
        <a:p>
          <a:endParaRPr lang="en-US"/>
        </a:p>
      </dgm:t>
    </dgm:pt>
    <dgm:pt modelId="{3E9CB862-0DBA-4628-A60E-69E0E03D618A}" type="pres">
      <dgm:prSet presAssocID="{0D9AF8B8-1F09-4011-BA47-13C7F0015233}" presName="CompostProcess" presStyleCnt="0">
        <dgm:presLayoutVars>
          <dgm:dir/>
          <dgm:resizeHandles val="exact"/>
        </dgm:presLayoutVars>
      </dgm:prSet>
      <dgm:spPr/>
    </dgm:pt>
    <dgm:pt modelId="{82EBCA70-8B93-43C0-861D-3A30E21B5CE6}" type="pres">
      <dgm:prSet presAssocID="{0D9AF8B8-1F09-4011-BA47-13C7F0015233}" presName="arrow" presStyleLbl="bgShp" presStyleIdx="0" presStyleCnt="1"/>
      <dgm:spPr/>
    </dgm:pt>
    <dgm:pt modelId="{2CE560B1-2D06-4A38-BA37-553CDC26EFFA}" type="pres">
      <dgm:prSet presAssocID="{0D9AF8B8-1F09-4011-BA47-13C7F0015233}" presName="linearProcess" presStyleCnt="0"/>
      <dgm:spPr/>
    </dgm:pt>
    <dgm:pt modelId="{087C9AA5-5DB6-41BC-B425-76F78E0C11D0}" type="pres">
      <dgm:prSet presAssocID="{40BFF8CB-5B10-4ACC-B21F-75E1F22CAA8C}" presName="textNode" presStyleLbl="node1" presStyleIdx="0" presStyleCnt="2">
        <dgm:presLayoutVars>
          <dgm:bulletEnabled val="1"/>
        </dgm:presLayoutVars>
      </dgm:prSet>
      <dgm:spPr/>
    </dgm:pt>
    <dgm:pt modelId="{D90A1D4D-17AF-451C-A39F-89F4B256B284}" type="pres">
      <dgm:prSet presAssocID="{9BEA5E6D-63FA-4F56-A753-07D7AA91373B}" presName="sibTrans" presStyleCnt="0"/>
      <dgm:spPr/>
    </dgm:pt>
    <dgm:pt modelId="{3E78E43C-E3AF-4C71-8D44-1533CCC4D0A7}" type="pres">
      <dgm:prSet presAssocID="{33D968DF-B973-4B74-A0C4-B75B79842352}" presName="textNode" presStyleLbl="node1" presStyleIdx="1" presStyleCnt="2">
        <dgm:presLayoutVars>
          <dgm:bulletEnabled val="1"/>
        </dgm:presLayoutVars>
      </dgm:prSet>
      <dgm:spPr/>
    </dgm:pt>
  </dgm:ptLst>
  <dgm:cxnLst>
    <dgm:cxn modelId="{3675230B-02EC-4E18-90B2-004A03CFCB16}" type="presOf" srcId="{0D9AF8B8-1F09-4011-BA47-13C7F0015233}" destId="{3E9CB862-0DBA-4628-A60E-69E0E03D618A}" srcOrd="0" destOrd="0" presId="urn:microsoft.com/office/officeart/2005/8/layout/hProcess9"/>
    <dgm:cxn modelId="{39906A61-2262-4532-B26B-117F44157C67}" srcId="{40BFF8CB-5B10-4ACC-B21F-75E1F22CAA8C}" destId="{CF08012C-44BF-4277-8ED9-B3ACDEA02DD2}" srcOrd="1" destOrd="0" parTransId="{24BF2420-7897-4577-9ECA-93619452060D}" sibTransId="{54279535-89F5-4B0B-A6CD-AA65FF4158D1}"/>
    <dgm:cxn modelId="{702DE841-0229-4156-B047-B08774AF0115}" srcId="{40BFF8CB-5B10-4ACC-B21F-75E1F22CAA8C}" destId="{07480B41-818A-450C-BFAE-4DAB4D7DF2C2}" srcOrd="3" destOrd="0" parTransId="{180BBCD3-5BDC-482E-A234-ED5ABB6EBD5C}" sibTransId="{CD6DBCCA-9825-4751-A24F-686018C12C62}"/>
    <dgm:cxn modelId="{4EC02B43-AB00-4D6F-ADEE-651CE45F63BA}" srcId="{0D9AF8B8-1F09-4011-BA47-13C7F0015233}" destId="{33D968DF-B973-4B74-A0C4-B75B79842352}" srcOrd="1" destOrd="0" parTransId="{AD9CB8EA-19CC-4773-B61B-BAE47D0AD551}" sibTransId="{6B476C7A-F3C9-47AB-BC57-33AEA47B02BE}"/>
    <dgm:cxn modelId="{2BFCFF56-936A-46F8-A92F-9DACB7F001D3}" srcId="{40BFF8CB-5B10-4ACC-B21F-75E1F22CAA8C}" destId="{54F1DF0F-216E-487A-ADC5-26AA5CCE2535}" srcOrd="2" destOrd="0" parTransId="{33CD6489-E307-4CA5-AFDA-B6B5F031E827}" sibTransId="{179A3A20-116A-4E61-8B00-4CE1255D08F6}"/>
    <dgm:cxn modelId="{74477188-E423-4B5B-B935-E70C36C56DAA}" type="presOf" srcId="{40BFF8CB-5B10-4ACC-B21F-75E1F22CAA8C}" destId="{087C9AA5-5DB6-41BC-B425-76F78E0C11D0}" srcOrd="0" destOrd="0" presId="urn:microsoft.com/office/officeart/2005/8/layout/hProcess9"/>
    <dgm:cxn modelId="{4DC4F7AA-EB7A-40D6-8672-B837A46F6CB3}" type="presOf" srcId="{A5D260C1-68DA-4E36-A955-7BE2781A245B}" destId="{087C9AA5-5DB6-41BC-B425-76F78E0C11D0}" srcOrd="0" destOrd="1" presId="urn:microsoft.com/office/officeart/2005/8/layout/hProcess9"/>
    <dgm:cxn modelId="{C814CBAB-BFC7-493F-9368-7D502E34A415}" srcId="{0D9AF8B8-1F09-4011-BA47-13C7F0015233}" destId="{40BFF8CB-5B10-4ACC-B21F-75E1F22CAA8C}" srcOrd="0" destOrd="0" parTransId="{8BC2835D-8EF6-4E76-B082-8F91CB926916}" sibTransId="{9BEA5E6D-63FA-4F56-A753-07D7AA91373B}"/>
    <dgm:cxn modelId="{91559BC4-6490-475A-B8F4-3EDD55C8380A}" type="presOf" srcId="{CF08012C-44BF-4277-8ED9-B3ACDEA02DD2}" destId="{087C9AA5-5DB6-41BC-B425-76F78E0C11D0}" srcOrd="0" destOrd="2" presId="urn:microsoft.com/office/officeart/2005/8/layout/hProcess9"/>
    <dgm:cxn modelId="{6431A4E1-3432-45CA-A3CF-042876FB0688}" type="presOf" srcId="{33D968DF-B973-4B74-A0C4-B75B79842352}" destId="{3E78E43C-E3AF-4C71-8D44-1533CCC4D0A7}" srcOrd="0" destOrd="0" presId="urn:microsoft.com/office/officeart/2005/8/layout/hProcess9"/>
    <dgm:cxn modelId="{3286B7E4-F544-4F6C-BAE4-231869273210}" type="presOf" srcId="{07480B41-818A-450C-BFAE-4DAB4D7DF2C2}" destId="{087C9AA5-5DB6-41BC-B425-76F78E0C11D0}" srcOrd="0" destOrd="4" presId="urn:microsoft.com/office/officeart/2005/8/layout/hProcess9"/>
    <dgm:cxn modelId="{49BBC9E5-72CE-4837-A82F-F348DD1D412A}" srcId="{40BFF8CB-5B10-4ACC-B21F-75E1F22CAA8C}" destId="{A5D260C1-68DA-4E36-A955-7BE2781A245B}" srcOrd="0" destOrd="0" parTransId="{788A7B2F-CEE1-4CB3-880C-7BDF2BA0F55A}" sibTransId="{C77AA3E4-ACDD-482F-B6EA-51EAF9103956}"/>
    <dgm:cxn modelId="{6656B6F4-9581-4B8F-A2C4-9843F700545C}" type="presOf" srcId="{54F1DF0F-216E-487A-ADC5-26AA5CCE2535}" destId="{087C9AA5-5DB6-41BC-B425-76F78E0C11D0}" srcOrd="0" destOrd="3" presId="urn:microsoft.com/office/officeart/2005/8/layout/hProcess9"/>
    <dgm:cxn modelId="{CB60051A-77EF-4432-A1EB-A2168763356B}" type="presParOf" srcId="{3E9CB862-0DBA-4628-A60E-69E0E03D618A}" destId="{82EBCA70-8B93-43C0-861D-3A30E21B5CE6}" srcOrd="0" destOrd="0" presId="urn:microsoft.com/office/officeart/2005/8/layout/hProcess9"/>
    <dgm:cxn modelId="{B305ADCA-0BA6-4D55-B84F-4083EC11C0CC}" type="presParOf" srcId="{3E9CB862-0DBA-4628-A60E-69E0E03D618A}" destId="{2CE560B1-2D06-4A38-BA37-553CDC26EFFA}" srcOrd="1" destOrd="0" presId="urn:microsoft.com/office/officeart/2005/8/layout/hProcess9"/>
    <dgm:cxn modelId="{3560B54C-4169-43FD-92BB-633135DF4C1A}" type="presParOf" srcId="{2CE560B1-2D06-4A38-BA37-553CDC26EFFA}" destId="{087C9AA5-5DB6-41BC-B425-76F78E0C11D0}" srcOrd="0" destOrd="0" presId="urn:microsoft.com/office/officeart/2005/8/layout/hProcess9"/>
    <dgm:cxn modelId="{67788573-0823-4BD0-AC10-65E0920D2BC7}" type="presParOf" srcId="{2CE560B1-2D06-4A38-BA37-553CDC26EFFA}" destId="{D90A1D4D-17AF-451C-A39F-89F4B256B284}" srcOrd="1" destOrd="0" presId="urn:microsoft.com/office/officeart/2005/8/layout/hProcess9"/>
    <dgm:cxn modelId="{80978347-58C9-454A-8457-434472A9854D}" type="presParOf" srcId="{2CE560B1-2D06-4A38-BA37-553CDC26EFFA}" destId="{3E78E43C-E3AF-4C71-8D44-1533CCC4D0A7}" srcOrd="2"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kumimoji="0" lang="en-US" b="0" i="0" u="none" strike="noStrike" cap="none" spc="0" normalizeH="0" baseline="0" noProof="0">
              <a:ln/>
              <a:effectLst/>
              <a:uLnTx/>
              <a:uFillTx/>
              <a:latin typeface="Segoe UI"/>
              <a:ea typeface="+mn-ea"/>
              <a:cs typeface="+mn-cs"/>
            </a:rPr>
            <a:t>What are the differences between IaaS, PaaS, SaaS and where should you position Azure SQL Database?</a:t>
          </a:r>
          <a:endParaRPr lang="en-US"/>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F2DBB80A-E5AB-4E68-B4CA-16E2E0749B84}">
      <dgm:prSet/>
      <dgm:spPr/>
      <dgm:t>
        <a:bodyPr/>
        <a:lstStyle/>
        <a:p>
          <a:pPr>
            <a:buClrTx/>
            <a:buSzTx/>
            <a:buFont typeface="Arial" panose="020B0604020202020204" pitchFamily="34" charset="0"/>
            <a:buChar char="•"/>
          </a:pPr>
          <a:r>
            <a:rPr kumimoji="0" lang="en-US" b="0" i="0" u="none" strike="noStrike" cap="none" spc="0" normalizeH="0" baseline="0" noProof="0">
              <a:ln/>
              <a:effectLst/>
              <a:uLnTx/>
              <a:uFillTx/>
              <a:latin typeface="Segoe UI"/>
              <a:ea typeface="+mn-ea"/>
              <a:cs typeface="+mn-cs"/>
            </a:rPr>
            <a:t>What are the two</a:t>
          </a:r>
          <a:r>
            <a:rPr kumimoji="0" lang="en-US" b="0" i="0" u="none" strike="noStrike" cap="none" spc="0" normalizeH="0" noProof="0">
              <a:ln/>
              <a:effectLst/>
              <a:uLnTx/>
              <a:uFillTx/>
              <a:latin typeface="Segoe UI"/>
              <a:ea typeface="+mn-ea"/>
              <a:cs typeface="+mn-cs"/>
            </a:rPr>
            <a:t> purchasing models available?</a:t>
          </a:r>
          <a:endParaRPr lang="en-US"/>
        </a:p>
      </dgm:t>
    </dgm:pt>
    <dgm:pt modelId="{0E523538-DCF9-4DA7-9B76-11BCE6C39E06}" type="parTrans" cxnId="{DA64E895-CFFE-4789-A435-7F2F742D7B34}">
      <dgm:prSet/>
      <dgm:spPr/>
      <dgm:t>
        <a:bodyPr/>
        <a:lstStyle/>
        <a:p>
          <a:endParaRPr lang="en-US"/>
        </a:p>
      </dgm:t>
    </dgm:pt>
    <dgm:pt modelId="{0BF16CF5-6EFE-4074-B2E6-B9D9CC23DB6D}" type="sibTrans" cxnId="{DA64E895-CFFE-4789-A435-7F2F742D7B34}">
      <dgm:prSet/>
      <dgm:spPr/>
      <dgm:t>
        <a:bodyPr/>
        <a:lstStyle/>
        <a:p>
          <a:endParaRPr lang="en-US"/>
        </a:p>
      </dgm:t>
    </dgm:pt>
    <dgm:pt modelId="{2B4ACDC8-7835-490C-9DE3-3DCF6D57B320}">
      <dgm:prSet/>
      <dgm:spPr/>
      <dgm:t>
        <a:bodyPr/>
        <a:lstStyle/>
        <a:p>
          <a:pPr>
            <a:buFont typeface="Arial" panose="020B0604020202020204" pitchFamily="34" charset="0"/>
            <a:buChar char="•"/>
          </a:pPr>
          <a:r>
            <a:rPr lang="en-US">
              <a:latin typeface="Segoe UI"/>
            </a:rPr>
            <a:t>What are the three vCore-based purchasing models that Azure SQL Database offers?</a:t>
          </a:r>
          <a:endParaRPr lang="en-US"/>
        </a:p>
      </dgm:t>
    </dgm:pt>
    <dgm:pt modelId="{2ED2A24A-7E7C-42E1-B255-FE0C7987EA5A}" type="parTrans" cxnId="{ABBA5B2C-17A5-463C-BF7A-11FC26948EFA}">
      <dgm:prSet/>
      <dgm:spPr/>
      <dgm:t>
        <a:bodyPr/>
        <a:lstStyle/>
        <a:p>
          <a:endParaRPr lang="en-US"/>
        </a:p>
      </dgm:t>
    </dgm:pt>
    <dgm:pt modelId="{E02B7CD6-D30C-4AE8-9AF8-1F51DCE32285}" type="sibTrans" cxnId="{ABBA5B2C-17A5-463C-BF7A-11FC26948EFA}">
      <dgm:prSet/>
      <dgm:spPr/>
      <dgm:t>
        <a:bodyPr/>
        <a:lstStyle/>
        <a:p>
          <a:endParaRPr lang="en-US"/>
        </a:p>
      </dgm:t>
    </dgm:pt>
    <dgm:pt modelId="{B4E82967-59B8-4AE3-B2FB-950B7B4FD590}">
      <dgm:prSet/>
      <dgm:spPr/>
      <dgm:t>
        <a:bodyPr/>
        <a:lstStyle/>
        <a:p>
          <a:pPr>
            <a:buFont typeface="Arial" panose="020B0604020202020204" pitchFamily="34" charset="0"/>
            <a:buChar char="•"/>
          </a:pPr>
          <a:r>
            <a:rPr lang="en-US">
              <a:latin typeface="Segoe UI"/>
            </a:rPr>
            <a:t>What are the differences between a provisioned compute tier and a serverless compute tier?</a:t>
          </a:r>
          <a:endParaRPr lang="en-US"/>
        </a:p>
      </dgm:t>
    </dgm:pt>
    <dgm:pt modelId="{5DFCD0EE-D1BD-43AB-B88A-3F5BCC393F50}" type="parTrans" cxnId="{47C70EB2-A1A2-410A-B915-A7E24D3E016E}">
      <dgm:prSet/>
      <dgm:spPr/>
      <dgm:t>
        <a:bodyPr/>
        <a:lstStyle/>
        <a:p>
          <a:endParaRPr lang="en-US"/>
        </a:p>
      </dgm:t>
    </dgm:pt>
    <dgm:pt modelId="{CED9ABD4-1DE5-449D-B14A-9632987C6543}" type="sibTrans" cxnId="{47C70EB2-A1A2-410A-B915-A7E24D3E016E}">
      <dgm:prSet/>
      <dgm:spPr/>
      <dgm:t>
        <a:bodyPr/>
        <a:lstStyle/>
        <a:p>
          <a:endParaRPr lang="en-US"/>
        </a:p>
      </dgm:t>
    </dgm:pt>
    <dgm:pt modelId="{80C88F36-7875-48E5-961A-69D454375369}">
      <dgm:prSet/>
      <dgm:spPr/>
      <dgm:t>
        <a:bodyPr/>
        <a:lstStyle/>
        <a:p>
          <a:pPr>
            <a:buFont typeface="Arial" panose="020B0604020202020204" pitchFamily="34" charset="0"/>
            <a:buChar char="•"/>
          </a:pPr>
          <a:r>
            <a:rPr lang="en-US">
              <a:latin typeface="Segoe UI"/>
            </a:rPr>
            <a:t>Which are the </a:t>
          </a:r>
          <a:r>
            <a:rPr lang="en-US"/>
            <a:t>two deployment options that can use DTU-based or the vCore-based purchasing model?</a:t>
          </a:r>
        </a:p>
      </dgm:t>
    </dgm:pt>
    <dgm:pt modelId="{2EA76D3A-5796-428B-87C8-AED63E7DC4AC}" type="parTrans" cxnId="{098DF4D9-7A69-4806-BC32-56C7F4F7A1ED}">
      <dgm:prSet/>
      <dgm:spPr/>
      <dgm:t>
        <a:bodyPr/>
        <a:lstStyle/>
        <a:p>
          <a:endParaRPr lang="en-US"/>
        </a:p>
      </dgm:t>
    </dgm:pt>
    <dgm:pt modelId="{AE3B20AA-C101-44C4-BA4A-0EEE505BA814}" type="sibTrans" cxnId="{098DF4D9-7A69-4806-BC32-56C7F4F7A1ED}">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5">
        <dgm:presLayoutVars>
          <dgm:chMax val="0"/>
          <dgm:bulletEnabled val="1"/>
        </dgm:presLayoutVars>
      </dgm:prSet>
      <dgm:spPr/>
    </dgm:pt>
    <dgm:pt modelId="{04E280C5-6868-4443-AC5F-66A5B605EBBE}" type="pres">
      <dgm:prSet presAssocID="{CAE4D9F8-FDBB-4525-9125-6BAF56328FCE}" presName="spacer" presStyleCnt="0"/>
      <dgm:spPr/>
    </dgm:pt>
    <dgm:pt modelId="{94B26D45-85D6-45AE-8D97-F12609B80896}" type="pres">
      <dgm:prSet presAssocID="{F2DBB80A-E5AB-4E68-B4CA-16E2E0749B84}" presName="parentText" presStyleLbl="node1" presStyleIdx="1" presStyleCnt="5">
        <dgm:presLayoutVars>
          <dgm:chMax val="0"/>
          <dgm:bulletEnabled val="1"/>
        </dgm:presLayoutVars>
      </dgm:prSet>
      <dgm:spPr/>
    </dgm:pt>
    <dgm:pt modelId="{C00CE72B-CA34-4E27-81EC-E70DBE48155A}" type="pres">
      <dgm:prSet presAssocID="{0BF16CF5-6EFE-4074-B2E6-B9D9CC23DB6D}" presName="spacer" presStyleCnt="0"/>
      <dgm:spPr/>
    </dgm:pt>
    <dgm:pt modelId="{25AE72C8-9DFF-4C10-8FA5-A578B7FE33C7}" type="pres">
      <dgm:prSet presAssocID="{2B4ACDC8-7835-490C-9DE3-3DCF6D57B320}" presName="parentText" presStyleLbl="node1" presStyleIdx="2" presStyleCnt="5">
        <dgm:presLayoutVars>
          <dgm:chMax val="0"/>
          <dgm:bulletEnabled val="1"/>
        </dgm:presLayoutVars>
      </dgm:prSet>
      <dgm:spPr/>
    </dgm:pt>
    <dgm:pt modelId="{F017CFAF-A1D1-4DD3-8D66-9AB62DE24EE0}" type="pres">
      <dgm:prSet presAssocID="{E02B7CD6-D30C-4AE8-9AF8-1F51DCE32285}" presName="spacer" presStyleCnt="0"/>
      <dgm:spPr/>
    </dgm:pt>
    <dgm:pt modelId="{7B0B3BC0-92E1-4BB5-AA30-BC2973F04D6F}" type="pres">
      <dgm:prSet presAssocID="{B4E82967-59B8-4AE3-B2FB-950B7B4FD590}" presName="parentText" presStyleLbl="node1" presStyleIdx="3" presStyleCnt="5">
        <dgm:presLayoutVars>
          <dgm:chMax val="0"/>
          <dgm:bulletEnabled val="1"/>
        </dgm:presLayoutVars>
      </dgm:prSet>
      <dgm:spPr/>
    </dgm:pt>
    <dgm:pt modelId="{60F10DA6-F157-4FB6-8CA4-9D9794A12C98}" type="pres">
      <dgm:prSet presAssocID="{CED9ABD4-1DE5-449D-B14A-9632987C6543}" presName="spacer" presStyleCnt="0"/>
      <dgm:spPr/>
    </dgm:pt>
    <dgm:pt modelId="{C0ECF561-1570-426D-9ED1-AD7F8DDCE81F}" type="pres">
      <dgm:prSet presAssocID="{80C88F36-7875-48E5-961A-69D454375369}" presName="parentText" presStyleLbl="node1" presStyleIdx="4" presStyleCnt="5">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ABBA5B2C-17A5-463C-BF7A-11FC26948EFA}" srcId="{15A7774C-B622-4F48-8F7B-AF1AAB74E997}" destId="{2B4ACDC8-7835-490C-9DE3-3DCF6D57B320}" srcOrd="2" destOrd="0" parTransId="{2ED2A24A-7E7C-42E1-B255-FE0C7987EA5A}" sibTransId="{E02B7CD6-D30C-4AE8-9AF8-1F51DCE32285}"/>
    <dgm:cxn modelId="{988F3E6D-B33F-42E9-97D0-2DB9335D40A4}" type="presOf" srcId="{2B4ACDC8-7835-490C-9DE3-3DCF6D57B320}" destId="{25AE72C8-9DFF-4C10-8FA5-A578B7FE33C7}" srcOrd="0" destOrd="0" presId="urn:microsoft.com/office/officeart/2005/8/layout/vList2"/>
    <dgm:cxn modelId="{DA64E895-CFFE-4789-A435-7F2F742D7B34}" srcId="{15A7774C-B622-4F48-8F7B-AF1AAB74E997}" destId="{F2DBB80A-E5AB-4E68-B4CA-16E2E0749B84}" srcOrd="1" destOrd="0" parTransId="{0E523538-DCF9-4DA7-9B76-11BCE6C39E06}" sibTransId="{0BF16CF5-6EFE-4074-B2E6-B9D9CC23DB6D}"/>
    <dgm:cxn modelId="{47C70EB2-A1A2-410A-B915-A7E24D3E016E}" srcId="{15A7774C-B622-4F48-8F7B-AF1AAB74E997}" destId="{B4E82967-59B8-4AE3-B2FB-950B7B4FD590}" srcOrd="3" destOrd="0" parTransId="{5DFCD0EE-D1BD-43AB-B88A-3F5BCC393F50}" sibTransId="{CED9ABD4-1DE5-449D-B14A-9632987C6543}"/>
    <dgm:cxn modelId="{4BB646B5-2A6D-439D-A88F-AC928930541F}" srcId="{15A7774C-B622-4F48-8F7B-AF1AAB74E997}" destId="{CDCA19B1-3B45-4B24-8F19-085A650701BC}" srcOrd="0" destOrd="0" parTransId="{74BFB16A-6DC3-47DD-AE97-F15F596B23DF}" sibTransId="{CAE4D9F8-FDBB-4525-9125-6BAF56328FCE}"/>
    <dgm:cxn modelId="{CF2E93C0-761E-4583-8DC1-DF6DA8AEA48D}" type="presOf" srcId="{B4E82967-59B8-4AE3-B2FB-950B7B4FD590}" destId="{7B0B3BC0-92E1-4BB5-AA30-BC2973F04D6F}" srcOrd="0" destOrd="0" presId="urn:microsoft.com/office/officeart/2005/8/layout/vList2"/>
    <dgm:cxn modelId="{D6D000C2-8408-44CF-AAD5-9E84CB342070}" type="presOf" srcId="{80C88F36-7875-48E5-961A-69D454375369}" destId="{C0ECF561-1570-426D-9ED1-AD7F8DDCE81F}" srcOrd="0" destOrd="0" presId="urn:microsoft.com/office/officeart/2005/8/layout/vList2"/>
    <dgm:cxn modelId="{098DF4D9-7A69-4806-BC32-56C7F4F7A1ED}" srcId="{15A7774C-B622-4F48-8F7B-AF1AAB74E997}" destId="{80C88F36-7875-48E5-961A-69D454375369}" srcOrd="4" destOrd="0" parTransId="{2EA76D3A-5796-428B-87C8-AED63E7DC4AC}" sibTransId="{AE3B20AA-C101-44C4-BA4A-0EEE505BA814}"/>
    <dgm:cxn modelId="{99B959FC-207E-459B-B2A7-7D8680FA32A8}" type="presOf" srcId="{F2DBB80A-E5AB-4E68-B4CA-16E2E0749B84}" destId="{94B26D45-85D6-45AE-8D97-F12609B80896}"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072FF2F3-57C9-412B-A13E-E04909E2B51F}" type="presParOf" srcId="{97400BD5-14CE-4761-8A6A-64BC46D23158}" destId="{04E280C5-6868-4443-AC5F-66A5B605EBBE}" srcOrd="1" destOrd="0" presId="urn:microsoft.com/office/officeart/2005/8/layout/vList2"/>
    <dgm:cxn modelId="{9B23082B-A674-4A2C-BC81-DFE8A99A5FC4}" type="presParOf" srcId="{97400BD5-14CE-4761-8A6A-64BC46D23158}" destId="{94B26D45-85D6-45AE-8D97-F12609B80896}" srcOrd="2" destOrd="0" presId="urn:microsoft.com/office/officeart/2005/8/layout/vList2"/>
    <dgm:cxn modelId="{29C6EFA7-A966-4EDA-B0C0-2AA6ED0F3558}" type="presParOf" srcId="{97400BD5-14CE-4761-8A6A-64BC46D23158}" destId="{C00CE72B-CA34-4E27-81EC-E70DBE48155A}" srcOrd="3" destOrd="0" presId="urn:microsoft.com/office/officeart/2005/8/layout/vList2"/>
    <dgm:cxn modelId="{3072B74C-3E9F-4987-961D-CC24F40B0FED}" type="presParOf" srcId="{97400BD5-14CE-4761-8A6A-64BC46D23158}" destId="{25AE72C8-9DFF-4C10-8FA5-A578B7FE33C7}" srcOrd="4" destOrd="0" presId="urn:microsoft.com/office/officeart/2005/8/layout/vList2"/>
    <dgm:cxn modelId="{6C273DA5-0B4A-4E1C-820E-176D8F6F0A7F}" type="presParOf" srcId="{97400BD5-14CE-4761-8A6A-64BC46D23158}" destId="{F017CFAF-A1D1-4DD3-8D66-9AB62DE24EE0}" srcOrd="5" destOrd="0" presId="urn:microsoft.com/office/officeart/2005/8/layout/vList2"/>
    <dgm:cxn modelId="{759041BE-24F4-4DEF-AB16-6525A0B52DC7}" type="presParOf" srcId="{97400BD5-14CE-4761-8A6A-64BC46D23158}" destId="{7B0B3BC0-92E1-4BB5-AA30-BC2973F04D6F}" srcOrd="6" destOrd="0" presId="urn:microsoft.com/office/officeart/2005/8/layout/vList2"/>
    <dgm:cxn modelId="{070538C7-070B-4DD0-9057-479DCF1B0FF8}" type="presParOf" srcId="{97400BD5-14CE-4761-8A6A-64BC46D23158}" destId="{60F10DA6-F157-4FB6-8CA4-9D9794A12C98}" srcOrd="7" destOrd="0" presId="urn:microsoft.com/office/officeart/2005/8/layout/vList2"/>
    <dgm:cxn modelId="{A87ABE46-ABB4-4195-BFE4-77CE1F713B27}" type="presParOf" srcId="{97400BD5-14CE-4761-8A6A-64BC46D23158}" destId="{C0ECF561-1570-426D-9ED1-AD7F8DDCE81F}"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76EDC4CF-A890-41DB-9A10-03E8E30F4BFC}"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A38F07CE-6207-4FF4-8338-5DEC3686E89F}">
      <dgm:prSet custT="1"/>
      <dgm:spPr/>
      <dgm:t>
        <a:bodyPr/>
        <a:lstStyle/>
        <a:p>
          <a:r>
            <a:rPr lang="en-US" sz="2400" baseline="0"/>
            <a:t>Service head that contains databases</a:t>
          </a:r>
          <a:endParaRPr lang="en-US" sz="2400"/>
        </a:p>
      </dgm:t>
    </dgm:pt>
    <dgm:pt modelId="{ABD57D2B-B585-4D09-A468-A174BC40993F}" type="parTrans" cxnId="{3FEDAF6A-36DD-4461-BA4E-DDD80781D427}">
      <dgm:prSet/>
      <dgm:spPr/>
      <dgm:t>
        <a:bodyPr/>
        <a:lstStyle/>
        <a:p>
          <a:endParaRPr lang="en-US"/>
        </a:p>
      </dgm:t>
    </dgm:pt>
    <dgm:pt modelId="{06F96C4F-61B4-4293-A67A-CF917D0C3C9C}" type="sibTrans" cxnId="{3FEDAF6A-36DD-4461-BA4E-DDD80781D427}">
      <dgm:prSet/>
      <dgm:spPr/>
      <dgm:t>
        <a:bodyPr/>
        <a:lstStyle/>
        <a:p>
          <a:endParaRPr lang="en-US"/>
        </a:p>
      </dgm:t>
    </dgm:pt>
    <dgm:pt modelId="{7C19D824-9841-432B-843C-1C27C3E7D765}">
      <dgm:prSet custT="1"/>
      <dgm:spPr/>
      <dgm:t>
        <a:bodyPr/>
        <a:lstStyle/>
        <a:p>
          <a:r>
            <a:rPr lang="en-US" sz="2400" baseline="0" dirty="0"/>
            <a:t>Connect via Fully Qualified Domain Name</a:t>
          </a:r>
          <a:endParaRPr lang="en-US" sz="2400" dirty="0"/>
        </a:p>
      </dgm:t>
    </dgm:pt>
    <dgm:pt modelId="{31CB4673-2E0A-44BC-BC0D-5A9F80C076CA}" type="parTrans" cxnId="{98136CDD-E1D5-4BA4-88D8-8A5E63C30582}">
      <dgm:prSet/>
      <dgm:spPr/>
      <dgm:t>
        <a:bodyPr/>
        <a:lstStyle/>
        <a:p>
          <a:endParaRPr lang="en-US"/>
        </a:p>
      </dgm:t>
    </dgm:pt>
    <dgm:pt modelId="{37DE3296-243C-45F8-AA5A-38921948CD5A}" type="sibTrans" cxnId="{98136CDD-E1D5-4BA4-88D8-8A5E63C30582}">
      <dgm:prSet/>
      <dgm:spPr/>
      <dgm:t>
        <a:bodyPr/>
        <a:lstStyle/>
        <a:p>
          <a:endParaRPr lang="en-US"/>
        </a:p>
      </dgm:t>
    </dgm:pt>
    <dgm:pt modelId="{C9B32BC9-1299-43F8-A76C-657F485448C0}">
      <dgm:prSet custT="1"/>
      <dgm:spPr/>
      <dgm:t>
        <a:bodyPr/>
        <a:lstStyle/>
        <a:p>
          <a:r>
            <a:rPr lang="en-US" sz="2400" baseline="0"/>
            <a:t>Initially contains only a </a:t>
          </a:r>
          <a:r>
            <a:rPr lang="en-US" sz="2400" b="1" baseline="0"/>
            <a:t>master</a:t>
          </a:r>
          <a:r>
            <a:rPr lang="en-US" sz="2400" baseline="0"/>
            <a:t> database</a:t>
          </a:r>
          <a:endParaRPr lang="en-US" sz="2400"/>
        </a:p>
      </dgm:t>
    </dgm:pt>
    <dgm:pt modelId="{0B7047D7-59BF-497C-9996-BE3B4527717B}" type="parTrans" cxnId="{50CF26A3-87DA-4D04-A92A-B4CEC7450698}">
      <dgm:prSet/>
      <dgm:spPr/>
      <dgm:t>
        <a:bodyPr/>
        <a:lstStyle/>
        <a:p>
          <a:endParaRPr lang="en-US"/>
        </a:p>
      </dgm:t>
    </dgm:pt>
    <dgm:pt modelId="{C151C3D2-5335-468B-8CC1-E65F987B2039}" type="sibTrans" cxnId="{50CF26A3-87DA-4D04-A92A-B4CEC7450698}">
      <dgm:prSet/>
      <dgm:spPr/>
      <dgm:t>
        <a:bodyPr/>
        <a:lstStyle/>
        <a:p>
          <a:endParaRPr lang="en-US"/>
        </a:p>
      </dgm:t>
    </dgm:pt>
    <dgm:pt modelId="{5FAB21A5-B131-4621-AC5F-685419DD79BD}" type="pres">
      <dgm:prSet presAssocID="{76EDC4CF-A890-41DB-9A10-03E8E30F4BFC}" presName="linear" presStyleCnt="0">
        <dgm:presLayoutVars>
          <dgm:animLvl val="lvl"/>
          <dgm:resizeHandles val="exact"/>
        </dgm:presLayoutVars>
      </dgm:prSet>
      <dgm:spPr/>
    </dgm:pt>
    <dgm:pt modelId="{5C56C630-D737-4663-A3E5-ABD804E8263D}" type="pres">
      <dgm:prSet presAssocID="{A38F07CE-6207-4FF4-8338-5DEC3686E89F}" presName="parentText" presStyleLbl="node1" presStyleIdx="0" presStyleCnt="3">
        <dgm:presLayoutVars>
          <dgm:chMax val="0"/>
          <dgm:bulletEnabled val="1"/>
        </dgm:presLayoutVars>
      </dgm:prSet>
      <dgm:spPr/>
    </dgm:pt>
    <dgm:pt modelId="{B74CA815-941F-469A-B643-2616E539B392}" type="pres">
      <dgm:prSet presAssocID="{06F96C4F-61B4-4293-A67A-CF917D0C3C9C}" presName="spacer" presStyleCnt="0"/>
      <dgm:spPr/>
    </dgm:pt>
    <dgm:pt modelId="{E25B73EA-849E-4DC2-AF7C-DC058386430E}" type="pres">
      <dgm:prSet presAssocID="{7C19D824-9841-432B-843C-1C27C3E7D765}" presName="parentText" presStyleLbl="node1" presStyleIdx="1" presStyleCnt="3">
        <dgm:presLayoutVars>
          <dgm:chMax val="0"/>
          <dgm:bulletEnabled val="1"/>
        </dgm:presLayoutVars>
      </dgm:prSet>
      <dgm:spPr/>
    </dgm:pt>
    <dgm:pt modelId="{6B1C1F07-723C-42FA-92C3-A42EE25C1EA4}" type="pres">
      <dgm:prSet presAssocID="{37DE3296-243C-45F8-AA5A-38921948CD5A}" presName="spacer" presStyleCnt="0"/>
      <dgm:spPr/>
    </dgm:pt>
    <dgm:pt modelId="{203E7617-EF69-425C-A430-A56C71E9D147}" type="pres">
      <dgm:prSet presAssocID="{C9B32BC9-1299-43F8-A76C-657F485448C0}" presName="parentText" presStyleLbl="node1" presStyleIdx="2" presStyleCnt="3">
        <dgm:presLayoutVars>
          <dgm:chMax val="0"/>
          <dgm:bulletEnabled val="1"/>
        </dgm:presLayoutVars>
      </dgm:prSet>
      <dgm:spPr/>
    </dgm:pt>
  </dgm:ptLst>
  <dgm:cxnLst>
    <dgm:cxn modelId="{44830D13-9DE5-433C-ADC3-7E36421AD4D9}" type="presOf" srcId="{A38F07CE-6207-4FF4-8338-5DEC3686E89F}" destId="{5C56C630-D737-4663-A3E5-ABD804E8263D}" srcOrd="0" destOrd="0" presId="urn:microsoft.com/office/officeart/2005/8/layout/vList2"/>
    <dgm:cxn modelId="{0204BD67-78AA-4F75-954D-CF47C1D26665}" type="presOf" srcId="{7C19D824-9841-432B-843C-1C27C3E7D765}" destId="{E25B73EA-849E-4DC2-AF7C-DC058386430E}" srcOrd="0" destOrd="0" presId="urn:microsoft.com/office/officeart/2005/8/layout/vList2"/>
    <dgm:cxn modelId="{3FEDAF6A-36DD-4461-BA4E-DDD80781D427}" srcId="{76EDC4CF-A890-41DB-9A10-03E8E30F4BFC}" destId="{A38F07CE-6207-4FF4-8338-5DEC3686E89F}" srcOrd="0" destOrd="0" parTransId="{ABD57D2B-B585-4D09-A468-A174BC40993F}" sibTransId="{06F96C4F-61B4-4293-A67A-CF917D0C3C9C}"/>
    <dgm:cxn modelId="{50CF26A3-87DA-4D04-A92A-B4CEC7450698}" srcId="{76EDC4CF-A890-41DB-9A10-03E8E30F4BFC}" destId="{C9B32BC9-1299-43F8-A76C-657F485448C0}" srcOrd="2" destOrd="0" parTransId="{0B7047D7-59BF-497C-9996-BE3B4527717B}" sibTransId="{C151C3D2-5335-468B-8CC1-E65F987B2039}"/>
    <dgm:cxn modelId="{FEE76EC5-1C36-42E4-B0AB-097988046D37}" type="presOf" srcId="{76EDC4CF-A890-41DB-9A10-03E8E30F4BFC}" destId="{5FAB21A5-B131-4621-AC5F-685419DD79BD}" srcOrd="0" destOrd="0" presId="urn:microsoft.com/office/officeart/2005/8/layout/vList2"/>
    <dgm:cxn modelId="{98136CDD-E1D5-4BA4-88D8-8A5E63C30582}" srcId="{76EDC4CF-A890-41DB-9A10-03E8E30F4BFC}" destId="{7C19D824-9841-432B-843C-1C27C3E7D765}" srcOrd="1" destOrd="0" parTransId="{31CB4673-2E0A-44BC-BC0D-5A9F80C076CA}" sibTransId="{37DE3296-243C-45F8-AA5A-38921948CD5A}"/>
    <dgm:cxn modelId="{243BD3E8-172C-4406-B529-6FA2EF970492}" type="presOf" srcId="{C9B32BC9-1299-43F8-A76C-657F485448C0}" destId="{203E7617-EF69-425C-A430-A56C71E9D147}" srcOrd="0" destOrd="0" presId="urn:microsoft.com/office/officeart/2005/8/layout/vList2"/>
    <dgm:cxn modelId="{96BA03DD-B83B-46F0-8730-0A274D63BD93}" type="presParOf" srcId="{5FAB21A5-B131-4621-AC5F-685419DD79BD}" destId="{5C56C630-D737-4663-A3E5-ABD804E8263D}" srcOrd="0" destOrd="0" presId="urn:microsoft.com/office/officeart/2005/8/layout/vList2"/>
    <dgm:cxn modelId="{A545BBE0-2510-48D7-8FCD-EE4C024E141C}" type="presParOf" srcId="{5FAB21A5-B131-4621-AC5F-685419DD79BD}" destId="{B74CA815-941F-469A-B643-2616E539B392}" srcOrd="1" destOrd="0" presId="urn:microsoft.com/office/officeart/2005/8/layout/vList2"/>
    <dgm:cxn modelId="{D34D2CE5-7BAB-4900-8188-07AD709286C1}" type="presParOf" srcId="{5FAB21A5-B131-4621-AC5F-685419DD79BD}" destId="{E25B73EA-849E-4DC2-AF7C-DC058386430E}" srcOrd="2" destOrd="0" presId="urn:microsoft.com/office/officeart/2005/8/layout/vList2"/>
    <dgm:cxn modelId="{B52814DD-2469-4F76-BD05-D6B942D165D4}" type="presParOf" srcId="{5FAB21A5-B131-4621-AC5F-685419DD79BD}" destId="{6B1C1F07-723C-42FA-92C3-A42EE25C1EA4}" srcOrd="3" destOrd="0" presId="urn:microsoft.com/office/officeart/2005/8/layout/vList2"/>
    <dgm:cxn modelId="{CF28A45D-8645-46DB-AE86-2DD12D1090E6}" type="presParOf" srcId="{5FAB21A5-B131-4621-AC5F-685419DD79BD}" destId="{203E7617-EF69-425C-A430-A56C71E9D147}"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09D39FC4-309B-4D47-BDA0-7785245AD387}" type="doc">
      <dgm:prSet loTypeId="urn:microsoft.com/office/officeart/2005/8/layout/hProcess3" loCatId="process" qsTypeId="urn:microsoft.com/office/officeart/2005/8/quickstyle/simple1" qsCatId="simple" csTypeId="urn:microsoft.com/office/officeart/2005/8/colors/accent1_2" csCatId="accent1" phldr="1"/>
      <dgm:spPr/>
    </dgm:pt>
    <dgm:pt modelId="{5519A63F-28E3-4A0A-8F21-89BA97EF06FD}">
      <dgm:prSet phldrT="[Text]" custT="1"/>
      <dgm:spPr/>
      <dgm:t>
        <a:bodyPr/>
        <a:lstStyle/>
        <a:p>
          <a:r>
            <a:rPr lang="en-US" sz="2400" dirty="0">
              <a:solidFill>
                <a:schemeClr val="bg1"/>
              </a:solidFill>
              <a:latin typeface="Arial"/>
              <a:cs typeface="Arial"/>
            </a:rPr>
            <a:t>Portal</a:t>
          </a:r>
          <a:endParaRPr lang="en-US" sz="2400" dirty="0">
            <a:solidFill>
              <a:schemeClr val="bg1"/>
            </a:solidFill>
            <a:latin typeface="Segoe UI Light"/>
            <a:cs typeface="Segoe UI Light"/>
          </a:endParaRPr>
        </a:p>
      </dgm:t>
    </dgm:pt>
    <dgm:pt modelId="{C6DDCC24-2541-4949-8582-C49AC50D8B7B}" type="parTrans" cxnId="{D602944E-CD22-4125-BFDE-5257CED0D94D}">
      <dgm:prSet/>
      <dgm:spPr/>
      <dgm:t>
        <a:bodyPr/>
        <a:lstStyle/>
        <a:p>
          <a:endParaRPr lang="en-US"/>
        </a:p>
      </dgm:t>
    </dgm:pt>
    <dgm:pt modelId="{829F9BFA-EFE7-4BC9-8D4A-0DD6C07666AB}" type="sibTrans" cxnId="{D602944E-CD22-4125-BFDE-5257CED0D94D}">
      <dgm:prSet/>
      <dgm:spPr/>
      <dgm:t>
        <a:bodyPr/>
        <a:lstStyle/>
        <a:p>
          <a:endParaRPr lang="en-US"/>
        </a:p>
      </dgm:t>
    </dgm:pt>
    <dgm:pt modelId="{4C560209-658B-40A5-899E-3DCE847A7C49}" type="pres">
      <dgm:prSet presAssocID="{09D39FC4-309B-4D47-BDA0-7785245AD387}" presName="Name0" presStyleCnt="0">
        <dgm:presLayoutVars>
          <dgm:dir/>
          <dgm:animLvl val="lvl"/>
          <dgm:resizeHandles val="exact"/>
        </dgm:presLayoutVars>
      </dgm:prSet>
      <dgm:spPr/>
    </dgm:pt>
    <dgm:pt modelId="{51896007-A0C6-4944-A2DB-E63CAD071265}" type="pres">
      <dgm:prSet presAssocID="{09D39FC4-309B-4D47-BDA0-7785245AD387}" presName="dummy" presStyleCnt="0"/>
      <dgm:spPr/>
    </dgm:pt>
    <dgm:pt modelId="{72C75228-F3CD-4DF9-81A0-89A29B86C833}" type="pres">
      <dgm:prSet presAssocID="{09D39FC4-309B-4D47-BDA0-7785245AD387}" presName="linH" presStyleCnt="0"/>
      <dgm:spPr/>
    </dgm:pt>
    <dgm:pt modelId="{A0222069-03D6-4653-9F26-C5A6DFB829FB}" type="pres">
      <dgm:prSet presAssocID="{09D39FC4-309B-4D47-BDA0-7785245AD387}" presName="padding1" presStyleCnt="0"/>
      <dgm:spPr/>
    </dgm:pt>
    <dgm:pt modelId="{3BED574B-41FD-41E2-81C6-0E95A5064D9B}" type="pres">
      <dgm:prSet presAssocID="{5519A63F-28E3-4A0A-8F21-89BA97EF06FD}" presName="linV" presStyleCnt="0"/>
      <dgm:spPr/>
    </dgm:pt>
    <dgm:pt modelId="{A1E4BF0F-B30A-4974-BF97-01B5D4ED96B5}" type="pres">
      <dgm:prSet presAssocID="{5519A63F-28E3-4A0A-8F21-89BA97EF06FD}" presName="spVertical1" presStyleCnt="0"/>
      <dgm:spPr/>
    </dgm:pt>
    <dgm:pt modelId="{CAB5F059-30BE-4E1A-9FFC-39796A4DB10B}" type="pres">
      <dgm:prSet presAssocID="{5519A63F-28E3-4A0A-8F21-89BA97EF06FD}" presName="parTx" presStyleLbl="revTx" presStyleIdx="0" presStyleCnt="1">
        <dgm:presLayoutVars>
          <dgm:chMax val="0"/>
          <dgm:chPref val="0"/>
          <dgm:bulletEnabled val="1"/>
        </dgm:presLayoutVars>
      </dgm:prSet>
      <dgm:spPr/>
    </dgm:pt>
    <dgm:pt modelId="{97F6B186-2834-428C-B5B7-DFC68054F553}" type="pres">
      <dgm:prSet presAssocID="{5519A63F-28E3-4A0A-8F21-89BA97EF06FD}" presName="spVertical2" presStyleCnt="0"/>
      <dgm:spPr/>
    </dgm:pt>
    <dgm:pt modelId="{DE76187A-DFFA-4CB1-B978-12816449B1F3}" type="pres">
      <dgm:prSet presAssocID="{5519A63F-28E3-4A0A-8F21-89BA97EF06FD}" presName="spVertical3" presStyleCnt="0"/>
      <dgm:spPr/>
    </dgm:pt>
    <dgm:pt modelId="{DD63D419-7084-4D89-81BF-675747608753}" type="pres">
      <dgm:prSet presAssocID="{09D39FC4-309B-4D47-BDA0-7785245AD387}" presName="padding2" presStyleCnt="0"/>
      <dgm:spPr/>
    </dgm:pt>
    <dgm:pt modelId="{5ECCC6FE-4195-4E6B-839A-8EA7395D5CE0}" type="pres">
      <dgm:prSet presAssocID="{09D39FC4-309B-4D47-BDA0-7785245AD387}" presName="negArrow" presStyleCnt="0"/>
      <dgm:spPr/>
    </dgm:pt>
    <dgm:pt modelId="{773AC387-A656-4258-AEA6-85A9F2922434}" type="pres">
      <dgm:prSet presAssocID="{09D39FC4-309B-4D47-BDA0-7785245AD387}" presName="backgroundArrow" presStyleLbl="node1" presStyleIdx="0" presStyleCnt="1"/>
      <dgm:spPr/>
    </dgm:pt>
  </dgm:ptLst>
  <dgm:cxnLst>
    <dgm:cxn modelId="{0CD7B023-0DAD-461F-BD1B-6282C4862424}" type="presOf" srcId="{5519A63F-28E3-4A0A-8F21-89BA97EF06FD}" destId="{CAB5F059-30BE-4E1A-9FFC-39796A4DB10B}" srcOrd="0" destOrd="0" presId="urn:microsoft.com/office/officeart/2005/8/layout/hProcess3"/>
    <dgm:cxn modelId="{D602944E-CD22-4125-BFDE-5257CED0D94D}" srcId="{09D39FC4-309B-4D47-BDA0-7785245AD387}" destId="{5519A63F-28E3-4A0A-8F21-89BA97EF06FD}" srcOrd="0" destOrd="0" parTransId="{C6DDCC24-2541-4949-8582-C49AC50D8B7B}" sibTransId="{829F9BFA-EFE7-4BC9-8D4A-0DD6C07666AB}"/>
    <dgm:cxn modelId="{D9B3BA4E-D184-4BE3-BF02-DBFA67AFD629}" type="presOf" srcId="{09D39FC4-309B-4D47-BDA0-7785245AD387}" destId="{4C560209-658B-40A5-899E-3DCE847A7C49}" srcOrd="0" destOrd="0" presId="urn:microsoft.com/office/officeart/2005/8/layout/hProcess3"/>
    <dgm:cxn modelId="{1850DE3F-ABE1-48E6-BA00-C7A6935344B7}" type="presParOf" srcId="{4C560209-658B-40A5-899E-3DCE847A7C49}" destId="{51896007-A0C6-4944-A2DB-E63CAD071265}" srcOrd="0" destOrd="0" presId="urn:microsoft.com/office/officeart/2005/8/layout/hProcess3"/>
    <dgm:cxn modelId="{8B21F6D3-C391-445F-9907-C14DBCB43612}" type="presParOf" srcId="{4C560209-658B-40A5-899E-3DCE847A7C49}" destId="{72C75228-F3CD-4DF9-81A0-89A29B86C833}" srcOrd="1" destOrd="0" presId="urn:microsoft.com/office/officeart/2005/8/layout/hProcess3"/>
    <dgm:cxn modelId="{97A0EA20-1ECA-4758-B3E5-3FED262950D9}" type="presParOf" srcId="{72C75228-F3CD-4DF9-81A0-89A29B86C833}" destId="{A0222069-03D6-4653-9F26-C5A6DFB829FB}" srcOrd="0" destOrd="0" presId="urn:microsoft.com/office/officeart/2005/8/layout/hProcess3"/>
    <dgm:cxn modelId="{C9CB2D96-87A7-45CA-8C09-C3A39F1E9514}" type="presParOf" srcId="{72C75228-F3CD-4DF9-81A0-89A29B86C833}" destId="{3BED574B-41FD-41E2-81C6-0E95A5064D9B}" srcOrd="1" destOrd="0" presId="urn:microsoft.com/office/officeart/2005/8/layout/hProcess3"/>
    <dgm:cxn modelId="{1B7388FB-F04C-4608-A3B7-3CEAB31D64B9}" type="presParOf" srcId="{3BED574B-41FD-41E2-81C6-0E95A5064D9B}" destId="{A1E4BF0F-B30A-4974-BF97-01B5D4ED96B5}" srcOrd="0" destOrd="0" presId="urn:microsoft.com/office/officeart/2005/8/layout/hProcess3"/>
    <dgm:cxn modelId="{65F75B97-5D41-4E4F-8C4E-7A4983F402E4}" type="presParOf" srcId="{3BED574B-41FD-41E2-81C6-0E95A5064D9B}" destId="{CAB5F059-30BE-4E1A-9FFC-39796A4DB10B}" srcOrd="1" destOrd="0" presId="urn:microsoft.com/office/officeart/2005/8/layout/hProcess3"/>
    <dgm:cxn modelId="{F9193C5F-E1F1-4F42-87D1-BCDAEA345720}" type="presParOf" srcId="{3BED574B-41FD-41E2-81C6-0E95A5064D9B}" destId="{97F6B186-2834-428C-B5B7-DFC68054F553}" srcOrd="2" destOrd="0" presId="urn:microsoft.com/office/officeart/2005/8/layout/hProcess3"/>
    <dgm:cxn modelId="{FD8727D7-5A30-4E23-90DD-E485E8A2E0D5}" type="presParOf" srcId="{3BED574B-41FD-41E2-81C6-0E95A5064D9B}" destId="{DE76187A-DFFA-4CB1-B978-12816449B1F3}" srcOrd="3" destOrd="0" presId="urn:microsoft.com/office/officeart/2005/8/layout/hProcess3"/>
    <dgm:cxn modelId="{6996E4D3-8A76-4F92-B446-B7845F755D62}" type="presParOf" srcId="{72C75228-F3CD-4DF9-81A0-89A29B86C833}" destId="{DD63D419-7084-4D89-81BF-675747608753}" srcOrd="2" destOrd="0" presId="urn:microsoft.com/office/officeart/2005/8/layout/hProcess3"/>
    <dgm:cxn modelId="{20962B55-1DD8-4601-BFC6-7C94DA54D949}" type="presParOf" srcId="{72C75228-F3CD-4DF9-81A0-89A29B86C833}" destId="{5ECCC6FE-4195-4E6B-839A-8EA7395D5CE0}" srcOrd="3" destOrd="0" presId="urn:microsoft.com/office/officeart/2005/8/layout/hProcess3"/>
    <dgm:cxn modelId="{204FE6AD-F528-4E45-9EE2-2A18AE911F4A}" type="presParOf" srcId="{72C75228-F3CD-4DF9-81A0-89A29B86C833}" destId="{773AC387-A656-4258-AEA6-85A9F2922434}" srcOrd="4" destOrd="0" presId="urn:microsoft.com/office/officeart/2005/8/layout/h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kumimoji="0" lang="en-US" b="0" i="0" u="none" strike="noStrike" cap="none" spc="0" normalizeH="0" baseline="0" noProof="0">
              <a:ln>
                <a:noFill/>
              </a:ln>
              <a:solidFill>
                <a:srgbClr val="FFFFFF"/>
              </a:solidFill>
              <a:effectLst/>
              <a:uLnTx/>
              <a:uFillTx/>
              <a:latin typeface="Segoe UI"/>
              <a:ea typeface="+mn-ea"/>
              <a:cs typeface="+mn-cs"/>
            </a:rPr>
            <a:t>Why do you need to configure the Azure SQL Database Firewall and why is it important?</a:t>
          </a:r>
          <a:endParaRPr lang="en-US"/>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93C5CBC8-72BF-44D2-B0DC-8B5C20032E10}">
      <dgm:prSet/>
      <dgm:spPr/>
      <dgm:t>
        <a:bodyPr/>
        <a:lstStyle/>
        <a:p>
          <a:pPr>
            <a:buClrTx/>
            <a:buSzTx/>
            <a:buFont typeface="Arial" panose="020B0604020202020204" pitchFamily="34" charset="0"/>
            <a:buChar char="•"/>
          </a:pPr>
          <a:r>
            <a:rPr kumimoji="0" lang="en-US" b="0" i="0" u="none" strike="noStrike" cap="none" spc="0" normalizeH="0" baseline="0" noProof="0">
              <a:ln>
                <a:noFill/>
              </a:ln>
              <a:solidFill>
                <a:srgbClr val="FFFFFF"/>
              </a:solidFill>
              <a:effectLst/>
              <a:uLnTx/>
              <a:uFillTx/>
              <a:latin typeface="Segoe UI"/>
              <a:ea typeface="+mn-ea"/>
              <a:cs typeface="+mn-cs"/>
            </a:rPr>
            <a:t>What options do you need to specify to create an Azure SQL Database?</a:t>
          </a:r>
          <a:endParaRPr lang="en-US"/>
        </a:p>
      </dgm:t>
    </dgm:pt>
    <dgm:pt modelId="{3770F8B6-4FEB-4467-863E-41120A2178E6}" type="parTrans" cxnId="{10999969-2584-458E-8C96-7F00E50516C7}">
      <dgm:prSet/>
      <dgm:spPr/>
      <dgm:t>
        <a:bodyPr/>
        <a:lstStyle/>
        <a:p>
          <a:endParaRPr lang="en-US"/>
        </a:p>
      </dgm:t>
    </dgm:pt>
    <dgm:pt modelId="{28AA0807-99B3-4EF2-9355-B9B094BA82EB}" type="sibTrans" cxnId="{10999969-2584-458E-8C96-7F00E50516C7}">
      <dgm:prSet/>
      <dgm:spPr/>
      <dgm:t>
        <a:bodyPr/>
        <a:lstStyle/>
        <a:p>
          <a:endParaRPr lang="en-US"/>
        </a:p>
      </dgm:t>
    </dgm:pt>
    <dgm:pt modelId="{BFC94A1F-A223-4B3B-A803-C034D2EE9589}">
      <dgm:prSet/>
      <dgm:spPr/>
      <dgm:t>
        <a:bodyPr/>
        <a:lstStyle/>
        <a:p>
          <a:pPr>
            <a:buFont typeface="Arial" panose="020B0604020202020204" pitchFamily="34" charset="0"/>
            <a:buChar char="•"/>
          </a:pPr>
          <a:r>
            <a:rPr lang="en-US">
              <a:solidFill>
                <a:srgbClr val="FFFFFF"/>
              </a:solidFill>
              <a:latin typeface="Segoe UI"/>
            </a:rPr>
            <a:t>What is a SQL server (logical server)?</a:t>
          </a:r>
          <a:endParaRPr lang="en-US"/>
        </a:p>
      </dgm:t>
    </dgm:pt>
    <dgm:pt modelId="{AA37F6F0-023F-469C-AF4F-128C20AE99FD}" type="parTrans" cxnId="{C317E429-B7D0-4B29-873E-EE4811E006B3}">
      <dgm:prSet/>
      <dgm:spPr/>
      <dgm:t>
        <a:bodyPr/>
        <a:lstStyle/>
        <a:p>
          <a:endParaRPr lang="en-US"/>
        </a:p>
      </dgm:t>
    </dgm:pt>
    <dgm:pt modelId="{5AFE67CD-BFA9-4504-AA05-B5100E5A7DE5}" type="sibTrans" cxnId="{C317E429-B7D0-4B29-873E-EE4811E006B3}">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E26549F3-2774-47AF-8B16-C2F8D86F7ED8}" type="pres">
      <dgm:prSet presAssocID="{93C5CBC8-72BF-44D2-B0DC-8B5C20032E10}" presName="parentText" presStyleLbl="node1" presStyleIdx="1" presStyleCnt="3">
        <dgm:presLayoutVars>
          <dgm:chMax val="0"/>
          <dgm:bulletEnabled val="1"/>
        </dgm:presLayoutVars>
      </dgm:prSet>
      <dgm:spPr/>
    </dgm:pt>
    <dgm:pt modelId="{5D232884-79FA-4275-A998-1B2124F5C7BA}" type="pres">
      <dgm:prSet presAssocID="{28AA0807-99B3-4EF2-9355-B9B094BA82EB}" presName="spacer" presStyleCnt="0"/>
      <dgm:spPr/>
    </dgm:pt>
    <dgm:pt modelId="{4D7EAB57-E79C-46D0-82FD-CA383850D152}" type="pres">
      <dgm:prSet presAssocID="{BFC94A1F-A223-4B3B-A803-C034D2EE9589}"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C317E429-B7D0-4B29-873E-EE4811E006B3}" srcId="{15A7774C-B622-4F48-8F7B-AF1AAB74E997}" destId="{BFC94A1F-A223-4B3B-A803-C034D2EE9589}" srcOrd="2" destOrd="0" parTransId="{AA37F6F0-023F-469C-AF4F-128C20AE99FD}" sibTransId="{5AFE67CD-BFA9-4504-AA05-B5100E5A7DE5}"/>
    <dgm:cxn modelId="{10999969-2584-458E-8C96-7F00E50516C7}" srcId="{15A7774C-B622-4F48-8F7B-AF1AAB74E997}" destId="{93C5CBC8-72BF-44D2-B0DC-8B5C20032E10}" srcOrd="1" destOrd="0" parTransId="{3770F8B6-4FEB-4467-863E-41120A2178E6}" sibTransId="{28AA0807-99B3-4EF2-9355-B9B094BA82EB}"/>
    <dgm:cxn modelId="{A999227E-627B-40AB-A238-C43C7340A042}" type="presOf" srcId="{BFC94A1F-A223-4B3B-A803-C034D2EE9589}" destId="{4D7EAB57-E79C-46D0-82FD-CA383850D152}"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4AFB10DC-6E98-4653-9258-1F01A4A4966C}" type="presOf" srcId="{93C5CBC8-72BF-44D2-B0DC-8B5C20032E10}" destId="{E26549F3-2774-47AF-8B16-C2F8D86F7ED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648A59E-0452-4104-A88E-735402C9A6FD}" type="presParOf" srcId="{97400BD5-14CE-4761-8A6A-64BC46D23158}" destId="{E26549F3-2774-47AF-8B16-C2F8D86F7ED8}" srcOrd="2" destOrd="0" presId="urn:microsoft.com/office/officeart/2005/8/layout/vList2"/>
    <dgm:cxn modelId="{E8F8A9B7-DCCE-405C-99F3-BDE6C111FEBF}" type="presParOf" srcId="{97400BD5-14CE-4761-8A6A-64BC46D23158}" destId="{5D232884-79FA-4275-A998-1B2124F5C7BA}" srcOrd="3" destOrd="0" presId="urn:microsoft.com/office/officeart/2005/8/layout/vList2"/>
    <dgm:cxn modelId="{A8B76DD2-9B01-4AF8-90DF-43DC47A6C15D}" type="presParOf" srcId="{97400BD5-14CE-4761-8A6A-64BC46D23158}" destId="{4D7EAB57-E79C-46D0-82FD-CA383850D152}"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1E22CD36-B980-4D1F-A626-CC9283CAAC74}" type="doc">
      <dgm:prSet loTypeId="urn:microsoft.com/office/officeart/2018/2/layout/IconCircleList" loCatId="icon" qsTypeId="urn:microsoft.com/office/officeart/2005/8/quickstyle/simple1" qsCatId="simple" csTypeId="urn:microsoft.com/office/officeart/2005/8/colors/accent2_2" csCatId="accent2" phldr="1"/>
      <dgm:spPr/>
      <dgm:t>
        <a:bodyPr/>
        <a:lstStyle/>
        <a:p>
          <a:endParaRPr lang="en-US"/>
        </a:p>
      </dgm:t>
    </dgm:pt>
    <dgm:pt modelId="{B26DF504-475D-4385-B051-8676CE6A3D2C}">
      <dgm:prSet phldrT="[Text]"/>
      <dgm:spPr>
        <a:xfrm>
          <a:off x="1897523" y="592279"/>
          <a:ext cx="3545460" cy="1504134"/>
        </a:xfrm>
        <a:prstGeom prst="rect">
          <a:avLst/>
        </a:prstGeom>
      </dgm:spPr>
      <dgm:t>
        <a:bodyPr/>
        <a:lstStyle/>
        <a:p>
          <a:pPr>
            <a:lnSpc>
              <a:spcPct val="100000"/>
            </a:lnSpc>
          </a:pPr>
          <a:r>
            <a:rPr lang="en-US">
              <a:latin typeface="Segoe UI  "/>
              <a:ea typeface="+mn-ea"/>
              <a:cs typeface="+mn-cs"/>
            </a:rPr>
            <a:t>Managing and scaling multiple databases that have varying and unpredictable usage demands.</a:t>
          </a:r>
        </a:p>
      </dgm:t>
    </dgm:pt>
    <dgm:pt modelId="{EAA29C3E-5603-4AF3-B00C-500C47BECF49}" type="parTrans" cxnId="{2F8EA01E-5965-4060-A21E-7B09D72090E6}">
      <dgm:prSet/>
      <dgm:spPr/>
      <dgm:t>
        <a:bodyPr/>
        <a:lstStyle/>
        <a:p>
          <a:endParaRPr lang="en-US"/>
        </a:p>
      </dgm:t>
    </dgm:pt>
    <dgm:pt modelId="{8B003F33-A1E2-4A60-818F-539BCDD008A8}" type="sibTrans" cxnId="{2F8EA01E-5965-4060-A21E-7B09D72090E6}">
      <dgm:prSet/>
      <dgm:spPr/>
      <dgm:t>
        <a:bodyPr/>
        <a:lstStyle/>
        <a:p>
          <a:pPr>
            <a:lnSpc>
              <a:spcPct val="100000"/>
            </a:lnSpc>
          </a:pPr>
          <a:endParaRPr lang="en-US"/>
        </a:p>
      </dgm:t>
    </dgm:pt>
    <dgm:pt modelId="{1E52752B-E432-49E8-B98C-BAF6094F98CB}">
      <dgm:prSet phldrT="[Text]"/>
      <dgm:spPr>
        <a:xfrm>
          <a:off x="1897523" y="2955186"/>
          <a:ext cx="3545460" cy="1504134"/>
        </a:xfrm>
        <a:prstGeom prst="rect">
          <a:avLst/>
        </a:prstGeom>
      </dgm:spPr>
      <dgm:t>
        <a:bodyPr/>
        <a:lstStyle/>
        <a:p>
          <a:pPr>
            <a:lnSpc>
              <a:spcPct val="100000"/>
            </a:lnSpc>
          </a:pPr>
          <a:r>
            <a:rPr lang="en-US">
              <a:latin typeface="Segoe UI  "/>
              <a:ea typeface="+mn-ea"/>
              <a:cs typeface="+mn-cs"/>
            </a:rPr>
            <a:t>Provisioning resources for the entire pool. It is a c</a:t>
          </a:r>
          <a:r>
            <a:rPr lang="es-ES">
              <a:latin typeface="Segoe UI  "/>
              <a:ea typeface="+mn-ea"/>
              <a:cs typeface="+mn-cs"/>
            </a:rPr>
            <a:t>ost-effective solution for running multiple data bases with a fixed Budget.</a:t>
          </a:r>
          <a:endParaRPr lang="en-US">
            <a:latin typeface="Segoe UI  "/>
            <a:ea typeface="+mn-ea"/>
            <a:cs typeface="+mn-cs"/>
          </a:endParaRPr>
        </a:p>
      </dgm:t>
    </dgm:pt>
    <dgm:pt modelId="{3B7FB27C-1FFE-43D0-ACE9-FBCA0BD42BA7}" type="parTrans" cxnId="{771ACE3A-712F-4DD0-A1DA-F52DAD0FF379}">
      <dgm:prSet/>
      <dgm:spPr/>
      <dgm:t>
        <a:bodyPr/>
        <a:lstStyle/>
        <a:p>
          <a:endParaRPr lang="en-US"/>
        </a:p>
      </dgm:t>
    </dgm:pt>
    <dgm:pt modelId="{7A8269E7-16C6-433B-8AFC-8343EBDDFFE8}" type="sibTrans" cxnId="{771ACE3A-712F-4DD0-A1DA-F52DAD0FF379}">
      <dgm:prSet/>
      <dgm:spPr/>
      <dgm:t>
        <a:bodyPr/>
        <a:lstStyle/>
        <a:p>
          <a:pPr>
            <a:lnSpc>
              <a:spcPct val="100000"/>
            </a:lnSpc>
          </a:pPr>
          <a:endParaRPr lang="en-US"/>
        </a:p>
      </dgm:t>
    </dgm:pt>
    <dgm:pt modelId="{274EF58C-F4BC-41AA-84D3-7AAA9971C60F}">
      <dgm:prSet phldrT="[Text]"/>
      <dgm:spPr>
        <a:xfrm>
          <a:off x="7887203" y="2955186"/>
          <a:ext cx="3545460" cy="1504134"/>
        </a:xfrm>
        <a:prstGeom prst="rect">
          <a:avLst/>
        </a:prstGeom>
      </dgm:spPr>
      <dgm:t>
        <a:bodyPr/>
        <a:lstStyle/>
        <a:p>
          <a:pPr>
            <a:lnSpc>
              <a:spcPct val="100000"/>
            </a:lnSpc>
          </a:pPr>
          <a:r>
            <a:rPr lang="en-US">
              <a:latin typeface="Segoe UI  "/>
              <a:ea typeface="+mn-ea"/>
              <a:cs typeface="+mn-cs"/>
            </a:rPr>
            <a:t>Simply add and remove databases with downtime.</a:t>
          </a:r>
        </a:p>
      </dgm:t>
    </dgm:pt>
    <dgm:pt modelId="{DA65E942-52C3-498C-AC38-BD5A188AB156}" type="parTrans" cxnId="{FBCAD7E7-AB08-476E-956F-95A085F3000C}">
      <dgm:prSet/>
      <dgm:spPr/>
      <dgm:t>
        <a:bodyPr/>
        <a:lstStyle/>
        <a:p>
          <a:endParaRPr lang="en-US"/>
        </a:p>
      </dgm:t>
    </dgm:pt>
    <dgm:pt modelId="{A23F2CA3-3050-40BC-8071-4C883F862121}" type="sibTrans" cxnId="{FBCAD7E7-AB08-476E-956F-95A085F3000C}">
      <dgm:prSet/>
      <dgm:spPr/>
      <dgm:t>
        <a:bodyPr/>
        <a:lstStyle/>
        <a:p>
          <a:pPr>
            <a:lnSpc>
              <a:spcPct val="100000"/>
            </a:lnSpc>
          </a:pPr>
          <a:endParaRPr lang="en-US"/>
        </a:p>
      </dgm:t>
    </dgm:pt>
    <dgm:pt modelId="{27D282E1-3FF3-4C99-AA18-F8EF9EC3C8F7}">
      <dgm:prSet/>
      <dgm:spPr>
        <a:xfrm>
          <a:off x="7887203" y="592279"/>
          <a:ext cx="3545460" cy="1504134"/>
        </a:xfrm>
        <a:prstGeom prst="rect">
          <a:avLst/>
        </a:prstGeom>
      </dgm:spPr>
      <dgm:t>
        <a:bodyPr/>
        <a:lstStyle/>
        <a:p>
          <a:pPr>
            <a:lnSpc>
              <a:spcPct val="100000"/>
            </a:lnSpc>
          </a:pPr>
          <a:r>
            <a:rPr lang="en-US">
              <a:latin typeface="Segoe UI  "/>
              <a:ea typeface="+mn-ea"/>
              <a:cs typeface="+mn-cs"/>
            </a:rPr>
            <a:t>A pool is shared by multiple databases to accommodate unpredictable periods of usage by individual databases.</a:t>
          </a:r>
        </a:p>
      </dgm:t>
    </dgm:pt>
    <dgm:pt modelId="{26DE86F1-CB91-422E-91EF-BC0CFB1EA478}" type="parTrans" cxnId="{47EDD583-DE85-43A8-81AF-95296E625CA5}">
      <dgm:prSet/>
      <dgm:spPr/>
      <dgm:t>
        <a:bodyPr/>
        <a:lstStyle/>
        <a:p>
          <a:endParaRPr lang="en-US"/>
        </a:p>
      </dgm:t>
    </dgm:pt>
    <dgm:pt modelId="{D4216218-37F3-4327-B3BF-00B2A044F16C}" type="sibTrans" cxnId="{47EDD583-DE85-43A8-81AF-95296E625CA5}">
      <dgm:prSet/>
      <dgm:spPr/>
      <dgm:t>
        <a:bodyPr/>
        <a:lstStyle/>
        <a:p>
          <a:pPr>
            <a:lnSpc>
              <a:spcPct val="100000"/>
            </a:lnSpc>
          </a:pPr>
          <a:endParaRPr lang="en-US"/>
        </a:p>
      </dgm:t>
    </dgm:pt>
    <dgm:pt modelId="{9F67E074-326E-4804-B89D-D9C49BA84E97}" type="pres">
      <dgm:prSet presAssocID="{1E22CD36-B980-4D1F-A626-CC9283CAAC74}" presName="root" presStyleCnt="0">
        <dgm:presLayoutVars>
          <dgm:dir/>
          <dgm:resizeHandles val="exact"/>
        </dgm:presLayoutVars>
      </dgm:prSet>
      <dgm:spPr/>
    </dgm:pt>
    <dgm:pt modelId="{93F63508-DB13-4D34-9BD4-94846E2E2FF9}" type="pres">
      <dgm:prSet presAssocID="{1E22CD36-B980-4D1F-A626-CC9283CAAC74}" presName="container" presStyleCnt="0">
        <dgm:presLayoutVars>
          <dgm:dir/>
          <dgm:resizeHandles val="exact"/>
        </dgm:presLayoutVars>
      </dgm:prSet>
      <dgm:spPr/>
    </dgm:pt>
    <dgm:pt modelId="{80C7EDCF-C589-4ECA-A520-8F852CB60802}" type="pres">
      <dgm:prSet presAssocID="{B26DF504-475D-4385-B051-8676CE6A3D2C}" presName="compNode" presStyleCnt="0"/>
      <dgm:spPr/>
    </dgm:pt>
    <dgm:pt modelId="{DF752EC0-869B-4511-B8A8-A87C4418E48B}" type="pres">
      <dgm:prSet presAssocID="{B26DF504-475D-4385-B051-8676CE6A3D2C}" presName="iconBgRect" presStyleLbl="bgShp" presStyleIdx="0" presStyleCnt="4"/>
      <dgm:spPr>
        <a:xfrm>
          <a:off x="71074" y="592279"/>
          <a:ext cx="1504134" cy="1504134"/>
        </a:xfrm>
        <a:prstGeom prst="ellipse">
          <a:avLst/>
        </a:prstGeom>
      </dgm:spPr>
    </dgm:pt>
    <dgm:pt modelId="{CCC7A351-9BD0-47F2-8FDD-ECCB7485F09D}" type="pres">
      <dgm:prSet presAssocID="{B26DF504-475D-4385-B051-8676CE6A3D2C}" presName="iconRect" presStyleLbl="node1" presStyleIdx="0" presStyleCnt="4"/>
      <dgm:spPr>
        <a:xfrm>
          <a:off x="386942" y="908147"/>
          <a:ext cx="872398" cy="87239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Lightning"/>
        </a:ext>
      </dgm:extLst>
    </dgm:pt>
    <dgm:pt modelId="{07027B7E-ED44-454D-91D7-C9886AD52D89}" type="pres">
      <dgm:prSet presAssocID="{B26DF504-475D-4385-B051-8676CE6A3D2C}" presName="spaceRect" presStyleCnt="0"/>
      <dgm:spPr/>
    </dgm:pt>
    <dgm:pt modelId="{FD5A582D-34AF-4655-82C5-F3E4F7440448}" type="pres">
      <dgm:prSet presAssocID="{B26DF504-475D-4385-B051-8676CE6A3D2C}" presName="textRect" presStyleLbl="revTx" presStyleIdx="0" presStyleCnt="4">
        <dgm:presLayoutVars>
          <dgm:chMax val="1"/>
          <dgm:chPref val="1"/>
        </dgm:presLayoutVars>
      </dgm:prSet>
      <dgm:spPr/>
    </dgm:pt>
    <dgm:pt modelId="{713F63A1-C6A6-4489-BA69-EB68300C9F08}" type="pres">
      <dgm:prSet presAssocID="{8B003F33-A1E2-4A60-818F-539BCDD008A8}" presName="sibTrans" presStyleLbl="sibTrans2D1" presStyleIdx="0" presStyleCnt="0"/>
      <dgm:spPr/>
    </dgm:pt>
    <dgm:pt modelId="{73598343-03DC-4903-BA7D-7701AD14CE19}" type="pres">
      <dgm:prSet presAssocID="{27D282E1-3FF3-4C99-AA18-F8EF9EC3C8F7}" presName="compNode" presStyleCnt="0"/>
      <dgm:spPr/>
    </dgm:pt>
    <dgm:pt modelId="{C58E5284-C690-4DA0-B2CC-0C038F45289A}" type="pres">
      <dgm:prSet presAssocID="{27D282E1-3FF3-4C99-AA18-F8EF9EC3C8F7}" presName="iconBgRect" presStyleLbl="bgShp" presStyleIdx="1" presStyleCnt="4"/>
      <dgm:spPr>
        <a:xfrm>
          <a:off x="6060754" y="592279"/>
          <a:ext cx="1504134" cy="1504134"/>
        </a:xfrm>
        <a:prstGeom prst="ellipse">
          <a:avLst/>
        </a:prstGeom>
      </dgm:spPr>
    </dgm:pt>
    <dgm:pt modelId="{0253D46D-5FB6-4C0F-BBFC-955AD166ED18}" type="pres">
      <dgm:prSet presAssocID="{27D282E1-3FF3-4C99-AA18-F8EF9EC3C8F7}" presName="iconRect" presStyleLbl="node1" presStyleIdx="1" presStyleCnt="4"/>
      <dgm:spPr>
        <a:xfrm>
          <a:off x="6376622" y="908147"/>
          <a:ext cx="872398" cy="87239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Swim"/>
        </a:ext>
      </dgm:extLst>
    </dgm:pt>
    <dgm:pt modelId="{40194BA4-6010-4BB7-9C78-1E2FD033D043}" type="pres">
      <dgm:prSet presAssocID="{27D282E1-3FF3-4C99-AA18-F8EF9EC3C8F7}" presName="spaceRect" presStyleCnt="0"/>
      <dgm:spPr/>
    </dgm:pt>
    <dgm:pt modelId="{1389228F-876C-429C-B418-752481504F32}" type="pres">
      <dgm:prSet presAssocID="{27D282E1-3FF3-4C99-AA18-F8EF9EC3C8F7}" presName="textRect" presStyleLbl="revTx" presStyleIdx="1" presStyleCnt="4">
        <dgm:presLayoutVars>
          <dgm:chMax val="1"/>
          <dgm:chPref val="1"/>
        </dgm:presLayoutVars>
      </dgm:prSet>
      <dgm:spPr/>
    </dgm:pt>
    <dgm:pt modelId="{9E63EF85-37F2-4D81-A4FD-C2F1AE0FD2BC}" type="pres">
      <dgm:prSet presAssocID="{D4216218-37F3-4327-B3BF-00B2A044F16C}" presName="sibTrans" presStyleLbl="sibTrans2D1" presStyleIdx="0" presStyleCnt="0"/>
      <dgm:spPr/>
    </dgm:pt>
    <dgm:pt modelId="{38DDA627-0835-46E1-AC8D-342F9812A28D}" type="pres">
      <dgm:prSet presAssocID="{1E52752B-E432-49E8-B98C-BAF6094F98CB}" presName="compNode" presStyleCnt="0"/>
      <dgm:spPr/>
    </dgm:pt>
    <dgm:pt modelId="{E0E8212D-A52D-48AD-BCA2-47A608292DA9}" type="pres">
      <dgm:prSet presAssocID="{1E52752B-E432-49E8-B98C-BAF6094F98CB}" presName="iconBgRect" presStyleLbl="bgShp" presStyleIdx="2" presStyleCnt="4"/>
      <dgm:spPr>
        <a:xfrm>
          <a:off x="71074" y="2955186"/>
          <a:ext cx="1504134" cy="1504134"/>
        </a:xfrm>
        <a:prstGeom prst="ellipse">
          <a:avLst/>
        </a:prstGeom>
      </dgm:spPr>
    </dgm:pt>
    <dgm:pt modelId="{98925B9E-937B-452D-8BB8-43CFBC01DFEA}" type="pres">
      <dgm:prSet presAssocID="{1E52752B-E432-49E8-B98C-BAF6094F98CB}" presName="iconRect" presStyleLbl="node1" presStyleIdx="2" presStyleCnt="4"/>
      <dgm:spPr>
        <a:xfrm>
          <a:off x="386942" y="3271054"/>
          <a:ext cx="872398" cy="87239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Database"/>
        </a:ext>
      </dgm:extLst>
    </dgm:pt>
    <dgm:pt modelId="{58CAF737-0976-46F0-81BC-7C44123B9E74}" type="pres">
      <dgm:prSet presAssocID="{1E52752B-E432-49E8-B98C-BAF6094F98CB}" presName="spaceRect" presStyleCnt="0"/>
      <dgm:spPr/>
    </dgm:pt>
    <dgm:pt modelId="{AE72845C-8262-434D-8A0B-E3FEF613E607}" type="pres">
      <dgm:prSet presAssocID="{1E52752B-E432-49E8-B98C-BAF6094F98CB}" presName="textRect" presStyleLbl="revTx" presStyleIdx="2" presStyleCnt="4">
        <dgm:presLayoutVars>
          <dgm:chMax val="1"/>
          <dgm:chPref val="1"/>
        </dgm:presLayoutVars>
      </dgm:prSet>
      <dgm:spPr/>
    </dgm:pt>
    <dgm:pt modelId="{BC98AC8D-991A-4546-BCF9-57541D3BFC40}" type="pres">
      <dgm:prSet presAssocID="{7A8269E7-16C6-433B-8AFC-8343EBDDFFE8}" presName="sibTrans" presStyleLbl="sibTrans2D1" presStyleIdx="0" presStyleCnt="0"/>
      <dgm:spPr/>
    </dgm:pt>
    <dgm:pt modelId="{38ECD267-D446-4500-9060-C47F4985F5CE}" type="pres">
      <dgm:prSet presAssocID="{274EF58C-F4BC-41AA-84D3-7AAA9971C60F}" presName="compNode" presStyleCnt="0"/>
      <dgm:spPr/>
    </dgm:pt>
    <dgm:pt modelId="{7342989F-3DEA-4EA8-9F00-C71C7B8B6F4B}" type="pres">
      <dgm:prSet presAssocID="{274EF58C-F4BC-41AA-84D3-7AAA9971C60F}" presName="iconBgRect" presStyleLbl="bgShp" presStyleIdx="3" presStyleCnt="4"/>
      <dgm:spPr>
        <a:xfrm>
          <a:off x="6060754" y="2955186"/>
          <a:ext cx="1504134" cy="1504134"/>
        </a:xfrm>
        <a:prstGeom prst="ellipse">
          <a:avLst/>
        </a:prstGeom>
      </dgm:spPr>
    </dgm:pt>
    <dgm:pt modelId="{753AE2D2-F3B4-4D61-BD27-9C36FC6CC663}" type="pres">
      <dgm:prSet presAssocID="{274EF58C-F4BC-41AA-84D3-7AAA9971C60F}" presName="iconRect" presStyleLbl="node1" presStyleIdx="3" presStyleCnt="4"/>
      <dgm:spPr>
        <a:xfrm>
          <a:off x="6376622" y="3271054"/>
          <a:ext cx="872398" cy="87239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Table"/>
        </a:ext>
      </dgm:extLst>
    </dgm:pt>
    <dgm:pt modelId="{4763DA38-FD92-44A7-A0A3-43FEE9911C46}" type="pres">
      <dgm:prSet presAssocID="{274EF58C-F4BC-41AA-84D3-7AAA9971C60F}" presName="spaceRect" presStyleCnt="0"/>
      <dgm:spPr/>
    </dgm:pt>
    <dgm:pt modelId="{AC3E4965-08B7-40FB-85F5-CBDF47EC714F}" type="pres">
      <dgm:prSet presAssocID="{274EF58C-F4BC-41AA-84D3-7AAA9971C60F}" presName="textRect" presStyleLbl="revTx" presStyleIdx="3" presStyleCnt="4">
        <dgm:presLayoutVars>
          <dgm:chMax val="1"/>
          <dgm:chPref val="1"/>
        </dgm:presLayoutVars>
      </dgm:prSet>
      <dgm:spPr/>
    </dgm:pt>
  </dgm:ptLst>
  <dgm:cxnLst>
    <dgm:cxn modelId="{FF320E05-A05B-4E7B-A013-CBC712003696}" type="presOf" srcId="{27D282E1-3FF3-4C99-AA18-F8EF9EC3C8F7}" destId="{1389228F-876C-429C-B418-752481504F32}" srcOrd="0" destOrd="0" presId="urn:microsoft.com/office/officeart/2018/2/layout/IconCircleList"/>
    <dgm:cxn modelId="{2F8EA01E-5965-4060-A21E-7B09D72090E6}" srcId="{1E22CD36-B980-4D1F-A626-CC9283CAAC74}" destId="{B26DF504-475D-4385-B051-8676CE6A3D2C}" srcOrd="0" destOrd="0" parTransId="{EAA29C3E-5603-4AF3-B00C-500C47BECF49}" sibTransId="{8B003F33-A1E2-4A60-818F-539BCDD008A8}"/>
    <dgm:cxn modelId="{771ACE3A-712F-4DD0-A1DA-F52DAD0FF379}" srcId="{1E22CD36-B980-4D1F-A626-CC9283CAAC74}" destId="{1E52752B-E432-49E8-B98C-BAF6094F98CB}" srcOrd="2" destOrd="0" parTransId="{3B7FB27C-1FFE-43D0-ACE9-FBCA0BD42BA7}" sibTransId="{7A8269E7-16C6-433B-8AFC-8343EBDDFFE8}"/>
    <dgm:cxn modelId="{C2B2D35C-D7D6-4174-BABB-777E5E100B4B}" type="presOf" srcId="{7A8269E7-16C6-433B-8AFC-8343EBDDFFE8}" destId="{BC98AC8D-991A-4546-BCF9-57541D3BFC40}" srcOrd="0" destOrd="0" presId="urn:microsoft.com/office/officeart/2018/2/layout/IconCircleList"/>
    <dgm:cxn modelId="{A7BEDE5F-049F-4598-9AA9-88A33FB219CB}" type="presOf" srcId="{274EF58C-F4BC-41AA-84D3-7AAA9971C60F}" destId="{AC3E4965-08B7-40FB-85F5-CBDF47EC714F}" srcOrd="0" destOrd="0" presId="urn:microsoft.com/office/officeart/2018/2/layout/IconCircleList"/>
    <dgm:cxn modelId="{E70C8F44-4CE8-4563-906E-BD1C046C139A}" type="presOf" srcId="{1E52752B-E432-49E8-B98C-BAF6094F98CB}" destId="{AE72845C-8262-434D-8A0B-E3FEF613E607}" srcOrd="0" destOrd="0" presId="urn:microsoft.com/office/officeart/2018/2/layout/IconCircleList"/>
    <dgm:cxn modelId="{DB10B36E-F12A-4F72-9ECE-6F3D472717C8}" type="presOf" srcId="{D4216218-37F3-4327-B3BF-00B2A044F16C}" destId="{9E63EF85-37F2-4D81-A4FD-C2F1AE0FD2BC}" srcOrd="0" destOrd="0" presId="urn:microsoft.com/office/officeart/2018/2/layout/IconCircleList"/>
    <dgm:cxn modelId="{A635947B-FF57-4215-BF7C-5DAF8A4B882F}" type="presOf" srcId="{B26DF504-475D-4385-B051-8676CE6A3D2C}" destId="{FD5A582D-34AF-4655-82C5-F3E4F7440448}" srcOrd="0" destOrd="0" presId="urn:microsoft.com/office/officeart/2018/2/layout/IconCircleList"/>
    <dgm:cxn modelId="{47EDD583-DE85-43A8-81AF-95296E625CA5}" srcId="{1E22CD36-B980-4D1F-A626-CC9283CAAC74}" destId="{27D282E1-3FF3-4C99-AA18-F8EF9EC3C8F7}" srcOrd="1" destOrd="0" parTransId="{26DE86F1-CB91-422E-91EF-BC0CFB1EA478}" sibTransId="{D4216218-37F3-4327-B3BF-00B2A044F16C}"/>
    <dgm:cxn modelId="{1A3083A4-B13A-4929-9B4F-AD93CC51CF96}" type="presOf" srcId="{1E22CD36-B980-4D1F-A626-CC9283CAAC74}" destId="{9F67E074-326E-4804-B89D-D9C49BA84E97}" srcOrd="0" destOrd="0" presId="urn:microsoft.com/office/officeart/2018/2/layout/IconCircleList"/>
    <dgm:cxn modelId="{B8DEFBE4-CE6B-442D-A299-E788F36CDC41}" type="presOf" srcId="{8B003F33-A1E2-4A60-818F-539BCDD008A8}" destId="{713F63A1-C6A6-4489-BA69-EB68300C9F08}" srcOrd="0" destOrd="0" presId="urn:microsoft.com/office/officeart/2018/2/layout/IconCircleList"/>
    <dgm:cxn modelId="{FBCAD7E7-AB08-476E-956F-95A085F3000C}" srcId="{1E22CD36-B980-4D1F-A626-CC9283CAAC74}" destId="{274EF58C-F4BC-41AA-84D3-7AAA9971C60F}" srcOrd="3" destOrd="0" parTransId="{DA65E942-52C3-498C-AC38-BD5A188AB156}" sibTransId="{A23F2CA3-3050-40BC-8071-4C883F862121}"/>
    <dgm:cxn modelId="{8FC6E6CC-0E20-405F-A10C-605B321F4AF4}" type="presParOf" srcId="{9F67E074-326E-4804-B89D-D9C49BA84E97}" destId="{93F63508-DB13-4D34-9BD4-94846E2E2FF9}" srcOrd="0" destOrd="0" presId="urn:microsoft.com/office/officeart/2018/2/layout/IconCircleList"/>
    <dgm:cxn modelId="{B6A68577-2279-4060-9836-C13691EC9289}" type="presParOf" srcId="{93F63508-DB13-4D34-9BD4-94846E2E2FF9}" destId="{80C7EDCF-C589-4ECA-A520-8F852CB60802}" srcOrd="0" destOrd="0" presId="urn:microsoft.com/office/officeart/2018/2/layout/IconCircleList"/>
    <dgm:cxn modelId="{0A667517-F0D8-4BA8-B599-C889838DAFF4}" type="presParOf" srcId="{80C7EDCF-C589-4ECA-A520-8F852CB60802}" destId="{DF752EC0-869B-4511-B8A8-A87C4418E48B}" srcOrd="0" destOrd="0" presId="urn:microsoft.com/office/officeart/2018/2/layout/IconCircleList"/>
    <dgm:cxn modelId="{C1BDC8B4-C1A6-4A56-84B6-442EED4C1ACB}" type="presParOf" srcId="{80C7EDCF-C589-4ECA-A520-8F852CB60802}" destId="{CCC7A351-9BD0-47F2-8FDD-ECCB7485F09D}" srcOrd="1" destOrd="0" presId="urn:microsoft.com/office/officeart/2018/2/layout/IconCircleList"/>
    <dgm:cxn modelId="{F66A3E22-52C0-4415-9654-94C3065A8208}" type="presParOf" srcId="{80C7EDCF-C589-4ECA-A520-8F852CB60802}" destId="{07027B7E-ED44-454D-91D7-C9886AD52D89}" srcOrd="2" destOrd="0" presId="urn:microsoft.com/office/officeart/2018/2/layout/IconCircleList"/>
    <dgm:cxn modelId="{8B10D8CA-3E00-45B4-AE1A-D9B287BC5EAC}" type="presParOf" srcId="{80C7EDCF-C589-4ECA-A520-8F852CB60802}" destId="{FD5A582D-34AF-4655-82C5-F3E4F7440448}" srcOrd="3" destOrd="0" presId="urn:microsoft.com/office/officeart/2018/2/layout/IconCircleList"/>
    <dgm:cxn modelId="{16586E44-F37A-40ED-998D-3558E36A06C7}" type="presParOf" srcId="{93F63508-DB13-4D34-9BD4-94846E2E2FF9}" destId="{713F63A1-C6A6-4489-BA69-EB68300C9F08}" srcOrd="1" destOrd="0" presId="urn:microsoft.com/office/officeart/2018/2/layout/IconCircleList"/>
    <dgm:cxn modelId="{08DD665D-09DD-4055-9DE3-022E65539121}" type="presParOf" srcId="{93F63508-DB13-4D34-9BD4-94846E2E2FF9}" destId="{73598343-03DC-4903-BA7D-7701AD14CE19}" srcOrd="2" destOrd="0" presId="urn:microsoft.com/office/officeart/2018/2/layout/IconCircleList"/>
    <dgm:cxn modelId="{03280F33-56F9-46FF-B5CD-6C576160442F}" type="presParOf" srcId="{73598343-03DC-4903-BA7D-7701AD14CE19}" destId="{C58E5284-C690-4DA0-B2CC-0C038F45289A}" srcOrd="0" destOrd="0" presId="urn:microsoft.com/office/officeart/2018/2/layout/IconCircleList"/>
    <dgm:cxn modelId="{2E9A11B3-CFFE-48A7-A792-CF3FF27C47D9}" type="presParOf" srcId="{73598343-03DC-4903-BA7D-7701AD14CE19}" destId="{0253D46D-5FB6-4C0F-BBFC-955AD166ED18}" srcOrd="1" destOrd="0" presId="urn:microsoft.com/office/officeart/2018/2/layout/IconCircleList"/>
    <dgm:cxn modelId="{C6D33166-02CA-444B-AB2A-D7D26933A1B9}" type="presParOf" srcId="{73598343-03DC-4903-BA7D-7701AD14CE19}" destId="{40194BA4-6010-4BB7-9C78-1E2FD033D043}" srcOrd="2" destOrd="0" presId="urn:microsoft.com/office/officeart/2018/2/layout/IconCircleList"/>
    <dgm:cxn modelId="{88A13AA8-31C7-4D00-9C9D-1DDE4EA3722E}" type="presParOf" srcId="{73598343-03DC-4903-BA7D-7701AD14CE19}" destId="{1389228F-876C-429C-B418-752481504F32}" srcOrd="3" destOrd="0" presId="urn:microsoft.com/office/officeart/2018/2/layout/IconCircleList"/>
    <dgm:cxn modelId="{1736B72A-E4FE-492B-81C1-F53462CFF03F}" type="presParOf" srcId="{93F63508-DB13-4D34-9BD4-94846E2E2FF9}" destId="{9E63EF85-37F2-4D81-A4FD-C2F1AE0FD2BC}" srcOrd="3" destOrd="0" presId="urn:microsoft.com/office/officeart/2018/2/layout/IconCircleList"/>
    <dgm:cxn modelId="{9B8715AA-C68F-4B29-8C89-F735D42962EE}" type="presParOf" srcId="{93F63508-DB13-4D34-9BD4-94846E2E2FF9}" destId="{38DDA627-0835-46E1-AC8D-342F9812A28D}" srcOrd="4" destOrd="0" presId="urn:microsoft.com/office/officeart/2018/2/layout/IconCircleList"/>
    <dgm:cxn modelId="{1667E2CF-5497-4DB6-8357-20C052C5D3AC}" type="presParOf" srcId="{38DDA627-0835-46E1-AC8D-342F9812A28D}" destId="{E0E8212D-A52D-48AD-BCA2-47A608292DA9}" srcOrd="0" destOrd="0" presId="urn:microsoft.com/office/officeart/2018/2/layout/IconCircleList"/>
    <dgm:cxn modelId="{E916782D-A99F-44A9-BDE5-A0F760DA9FFE}" type="presParOf" srcId="{38DDA627-0835-46E1-AC8D-342F9812A28D}" destId="{98925B9E-937B-452D-8BB8-43CFBC01DFEA}" srcOrd="1" destOrd="0" presId="urn:microsoft.com/office/officeart/2018/2/layout/IconCircleList"/>
    <dgm:cxn modelId="{891BBF89-7E7D-41AC-A166-68A4276A245C}" type="presParOf" srcId="{38DDA627-0835-46E1-AC8D-342F9812A28D}" destId="{58CAF737-0976-46F0-81BC-7C44123B9E74}" srcOrd="2" destOrd="0" presId="urn:microsoft.com/office/officeart/2018/2/layout/IconCircleList"/>
    <dgm:cxn modelId="{D74C81EE-6CB8-4FB6-8D3D-49AFAB60792E}" type="presParOf" srcId="{38DDA627-0835-46E1-AC8D-342F9812A28D}" destId="{AE72845C-8262-434D-8A0B-E3FEF613E607}" srcOrd="3" destOrd="0" presId="urn:microsoft.com/office/officeart/2018/2/layout/IconCircleList"/>
    <dgm:cxn modelId="{7C8F636A-C233-4478-B004-24DE87E191FC}" type="presParOf" srcId="{93F63508-DB13-4D34-9BD4-94846E2E2FF9}" destId="{BC98AC8D-991A-4546-BCF9-57541D3BFC40}" srcOrd="5" destOrd="0" presId="urn:microsoft.com/office/officeart/2018/2/layout/IconCircleList"/>
    <dgm:cxn modelId="{AA86C287-C85D-4697-97BE-BC9C5A36365A}" type="presParOf" srcId="{93F63508-DB13-4D34-9BD4-94846E2E2FF9}" destId="{38ECD267-D446-4500-9060-C47F4985F5CE}" srcOrd="6" destOrd="0" presId="urn:microsoft.com/office/officeart/2018/2/layout/IconCircleList"/>
    <dgm:cxn modelId="{487DD80B-20DB-4528-B388-DB8DD1C87E15}" type="presParOf" srcId="{38ECD267-D446-4500-9060-C47F4985F5CE}" destId="{7342989F-3DEA-4EA8-9F00-C71C7B8B6F4B}" srcOrd="0" destOrd="0" presId="urn:microsoft.com/office/officeart/2018/2/layout/IconCircleList"/>
    <dgm:cxn modelId="{A8154D76-18ED-4AD0-BCA8-53FE858C3069}" type="presParOf" srcId="{38ECD267-D446-4500-9060-C47F4985F5CE}" destId="{753AE2D2-F3B4-4D61-BD27-9C36FC6CC663}" srcOrd="1" destOrd="0" presId="urn:microsoft.com/office/officeart/2018/2/layout/IconCircleList"/>
    <dgm:cxn modelId="{60AE143E-0BDB-4910-A16D-6C02BAAFEAF7}" type="presParOf" srcId="{38ECD267-D446-4500-9060-C47F4985F5CE}" destId="{4763DA38-FD92-44A7-A0A3-43FEE9911C46}" srcOrd="2" destOrd="0" presId="urn:microsoft.com/office/officeart/2018/2/layout/IconCircleList"/>
    <dgm:cxn modelId="{A0315E04-D9C6-49B7-AEFC-E54B76403CBE}" type="presParOf" srcId="{38ECD267-D446-4500-9060-C47F4985F5CE}" destId="{AC3E4965-08B7-40FB-85F5-CBDF47EC714F}"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83A9040D-138B-4554-8C1B-1507E64B4097}" type="doc">
      <dgm:prSet loTypeId="urn:microsoft.com/office/officeart/2005/8/layout/matrix3" loCatId="matrix" qsTypeId="urn:microsoft.com/office/officeart/2005/8/quickstyle/simple1" qsCatId="simple" csTypeId="urn:microsoft.com/office/officeart/2005/8/colors/accent0_3" csCatId="mainScheme"/>
      <dgm:spPr/>
      <dgm:t>
        <a:bodyPr/>
        <a:lstStyle/>
        <a:p>
          <a:endParaRPr lang="en-US"/>
        </a:p>
      </dgm:t>
    </dgm:pt>
    <dgm:pt modelId="{1260D4A5-54B4-47D7-9F8B-3351C2856564}">
      <dgm:prSet/>
      <dgm:spPr/>
      <dgm:t>
        <a:bodyPr/>
        <a:lstStyle/>
        <a:p>
          <a:r>
            <a:rPr lang="en-US" baseline="0"/>
            <a:t>Assessing database utilization patterns.</a:t>
          </a:r>
          <a:endParaRPr lang="en-US"/>
        </a:p>
      </dgm:t>
    </dgm:pt>
    <dgm:pt modelId="{3FF52B71-0B12-40E7-AC88-3ABFB3E2FB11}" type="parTrans" cxnId="{997BB3D3-B77D-4586-B005-45ACCFCF5666}">
      <dgm:prSet/>
      <dgm:spPr/>
      <dgm:t>
        <a:bodyPr/>
        <a:lstStyle/>
        <a:p>
          <a:endParaRPr lang="en-US"/>
        </a:p>
      </dgm:t>
    </dgm:pt>
    <dgm:pt modelId="{A26B04A7-2AAD-4098-B3EA-59EA7A04E90A}" type="sibTrans" cxnId="{997BB3D3-B77D-4586-B005-45ACCFCF5666}">
      <dgm:prSet/>
      <dgm:spPr/>
      <dgm:t>
        <a:bodyPr/>
        <a:lstStyle/>
        <a:p>
          <a:endParaRPr lang="en-US"/>
        </a:p>
      </dgm:t>
    </dgm:pt>
    <dgm:pt modelId="{6EDB9F26-A951-4DF1-A89A-AD926EC5D26B}">
      <dgm:prSet/>
      <dgm:spPr/>
      <dgm:t>
        <a:bodyPr/>
        <a:lstStyle/>
        <a:p>
          <a:r>
            <a:rPr lang="en-US" baseline="0"/>
            <a:t>There are large differences between peak utilization and average utilization per database. </a:t>
          </a:r>
          <a:endParaRPr lang="en-US"/>
        </a:p>
      </dgm:t>
    </dgm:pt>
    <dgm:pt modelId="{34D5CDAB-E206-4E61-835C-36DD5964E4A4}" type="parTrans" cxnId="{D527CA63-7E5F-4406-B802-E35EAB94F230}">
      <dgm:prSet/>
      <dgm:spPr/>
      <dgm:t>
        <a:bodyPr/>
        <a:lstStyle/>
        <a:p>
          <a:endParaRPr lang="en-US"/>
        </a:p>
      </dgm:t>
    </dgm:pt>
    <dgm:pt modelId="{97A5619D-DC34-4A4D-8507-5673A687BE12}" type="sibTrans" cxnId="{D527CA63-7E5F-4406-B802-E35EAB94F230}">
      <dgm:prSet/>
      <dgm:spPr/>
      <dgm:t>
        <a:bodyPr/>
        <a:lstStyle/>
        <a:p>
          <a:endParaRPr lang="en-US"/>
        </a:p>
      </dgm:t>
    </dgm:pt>
    <dgm:pt modelId="{A004482F-AF81-4245-919F-627045A0F1D3}">
      <dgm:prSet/>
      <dgm:spPr/>
      <dgm:t>
        <a:bodyPr/>
        <a:lstStyle/>
        <a:p>
          <a:r>
            <a:rPr lang="en-US" baseline="0"/>
            <a:t>The peak utilization for each database occurs at different points in time.</a:t>
          </a:r>
          <a:endParaRPr lang="en-US"/>
        </a:p>
      </dgm:t>
    </dgm:pt>
    <dgm:pt modelId="{CA6C347F-7B6D-46A3-A7B5-56D381B5AE57}" type="parTrans" cxnId="{05DCE916-1BE8-4E44-BEDA-42B74A8B8839}">
      <dgm:prSet/>
      <dgm:spPr/>
      <dgm:t>
        <a:bodyPr/>
        <a:lstStyle/>
        <a:p>
          <a:endParaRPr lang="en-US"/>
        </a:p>
      </dgm:t>
    </dgm:pt>
    <dgm:pt modelId="{AE7C9321-B9BB-44F2-8ED1-6049FFED6BA1}" type="sibTrans" cxnId="{05DCE916-1BE8-4E44-BEDA-42B74A8B8839}">
      <dgm:prSet/>
      <dgm:spPr/>
      <dgm:t>
        <a:bodyPr/>
        <a:lstStyle/>
        <a:p>
          <a:endParaRPr lang="en-US"/>
        </a:p>
      </dgm:t>
    </dgm:pt>
    <dgm:pt modelId="{C5D6861B-13B4-430E-B65B-91A21BA0C497}">
      <dgm:prSet/>
      <dgm:spPr/>
      <dgm:t>
        <a:bodyPr/>
        <a:lstStyle/>
        <a:p>
          <a:r>
            <a:rPr lang="en-US" baseline="0"/>
            <a:t>eDTUs are shared between many databases.</a:t>
          </a:r>
          <a:endParaRPr lang="en-US"/>
        </a:p>
      </dgm:t>
    </dgm:pt>
    <dgm:pt modelId="{AA461A7A-6CF5-42F7-BCEE-591C71F28E01}" type="parTrans" cxnId="{17C13F1F-1F78-4363-88F0-E3BE0C146332}">
      <dgm:prSet/>
      <dgm:spPr/>
      <dgm:t>
        <a:bodyPr/>
        <a:lstStyle/>
        <a:p>
          <a:endParaRPr lang="en-US"/>
        </a:p>
      </dgm:t>
    </dgm:pt>
    <dgm:pt modelId="{71ABD241-7F9F-4953-92A4-04E16C6B87D5}" type="sibTrans" cxnId="{17C13F1F-1F78-4363-88F0-E3BE0C146332}">
      <dgm:prSet/>
      <dgm:spPr/>
      <dgm:t>
        <a:bodyPr/>
        <a:lstStyle/>
        <a:p>
          <a:endParaRPr lang="en-US"/>
        </a:p>
      </dgm:t>
    </dgm:pt>
    <dgm:pt modelId="{359E429C-9450-41E3-87D6-287DE063211A}" type="pres">
      <dgm:prSet presAssocID="{83A9040D-138B-4554-8C1B-1507E64B4097}" presName="matrix" presStyleCnt="0">
        <dgm:presLayoutVars>
          <dgm:chMax val="1"/>
          <dgm:dir/>
          <dgm:resizeHandles val="exact"/>
        </dgm:presLayoutVars>
      </dgm:prSet>
      <dgm:spPr/>
    </dgm:pt>
    <dgm:pt modelId="{CAF183C5-AC65-49CB-82E6-B20C75F9ABEA}" type="pres">
      <dgm:prSet presAssocID="{83A9040D-138B-4554-8C1B-1507E64B4097}" presName="diamond" presStyleLbl="bgShp" presStyleIdx="0" presStyleCnt="1"/>
      <dgm:spPr/>
    </dgm:pt>
    <dgm:pt modelId="{7D60F02D-F5B1-4B97-A6CB-E1006EAB7BD5}" type="pres">
      <dgm:prSet presAssocID="{83A9040D-138B-4554-8C1B-1507E64B4097}" presName="quad1" presStyleLbl="node1" presStyleIdx="0" presStyleCnt="4">
        <dgm:presLayoutVars>
          <dgm:chMax val="0"/>
          <dgm:chPref val="0"/>
          <dgm:bulletEnabled val="1"/>
        </dgm:presLayoutVars>
      </dgm:prSet>
      <dgm:spPr/>
    </dgm:pt>
    <dgm:pt modelId="{3CE36045-BCCD-4C02-B79C-9DCD5F96BFBE}" type="pres">
      <dgm:prSet presAssocID="{83A9040D-138B-4554-8C1B-1507E64B4097}" presName="quad2" presStyleLbl="node1" presStyleIdx="1" presStyleCnt="4">
        <dgm:presLayoutVars>
          <dgm:chMax val="0"/>
          <dgm:chPref val="0"/>
          <dgm:bulletEnabled val="1"/>
        </dgm:presLayoutVars>
      </dgm:prSet>
      <dgm:spPr/>
    </dgm:pt>
    <dgm:pt modelId="{969146FB-B190-4F41-93AF-77E4CD6951AD}" type="pres">
      <dgm:prSet presAssocID="{83A9040D-138B-4554-8C1B-1507E64B4097}" presName="quad3" presStyleLbl="node1" presStyleIdx="2" presStyleCnt="4">
        <dgm:presLayoutVars>
          <dgm:chMax val="0"/>
          <dgm:chPref val="0"/>
          <dgm:bulletEnabled val="1"/>
        </dgm:presLayoutVars>
      </dgm:prSet>
      <dgm:spPr/>
    </dgm:pt>
    <dgm:pt modelId="{50F8C368-45B1-4DFA-9A9C-7E22E2F79484}" type="pres">
      <dgm:prSet presAssocID="{83A9040D-138B-4554-8C1B-1507E64B4097}" presName="quad4" presStyleLbl="node1" presStyleIdx="3" presStyleCnt="4">
        <dgm:presLayoutVars>
          <dgm:chMax val="0"/>
          <dgm:chPref val="0"/>
          <dgm:bulletEnabled val="1"/>
        </dgm:presLayoutVars>
      </dgm:prSet>
      <dgm:spPr/>
    </dgm:pt>
  </dgm:ptLst>
  <dgm:cxnLst>
    <dgm:cxn modelId="{05DCE916-1BE8-4E44-BEDA-42B74A8B8839}" srcId="{83A9040D-138B-4554-8C1B-1507E64B4097}" destId="{A004482F-AF81-4245-919F-627045A0F1D3}" srcOrd="2" destOrd="0" parTransId="{CA6C347F-7B6D-46A3-A7B5-56D381B5AE57}" sibTransId="{AE7C9321-B9BB-44F2-8ED1-6049FFED6BA1}"/>
    <dgm:cxn modelId="{17C13F1F-1F78-4363-88F0-E3BE0C146332}" srcId="{83A9040D-138B-4554-8C1B-1507E64B4097}" destId="{C5D6861B-13B4-430E-B65B-91A21BA0C497}" srcOrd="3" destOrd="0" parTransId="{AA461A7A-6CF5-42F7-BCEE-591C71F28E01}" sibTransId="{71ABD241-7F9F-4953-92A4-04E16C6B87D5}"/>
    <dgm:cxn modelId="{01FCD825-AFE0-427C-A15B-5583F0D38656}" type="presOf" srcId="{A004482F-AF81-4245-919F-627045A0F1D3}" destId="{969146FB-B190-4F41-93AF-77E4CD6951AD}" srcOrd="0" destOrd="0" presId="urn:microsoft.com/office/officeart/2005/8/layout/matrix3"/>
    <dgm:cxn modelId="{FFC91C2E-C1D5-40DE-9EEA-B13F6AF6E88F}" type="presOf" srcId="{1260D4A5-54B4-47D7-9F8B-3351C2856564}" destId="{7D60F02D-F5B1-4B97-A6CB-E1006EAB7BD5}" srcOrd="0" destOrd="0" presId="urn:microsoft.com/office/officeart/2005/8/layout/matrix3"/>
    <dgm:cxn modelId="{D527CA63-7E5F-4406-B802-E35EAB94F230}" srcId="{83A9040D-138B-4554-8C1B-1507E64B4097}" destId="{6EDB9F26-A951-4DF1-A89A-AD926EC5D26B}" srcOrd="1" destOrd="0" parTransId="{34D5CDAB-E206-4E61-835C-36DD5964E4A4}" sibTransId="{97A5619D-DC34-4A4D-8507-5673A687BE12}"/>
    <dgm:cxn modelId="{46698266-9194-4301-AC55-A4A2DAE794A6}" type="presOf" srcId="{83A9040D-138B-4554-8C1B-1507E64B4097}" destId="{359E429C-9450-41E3-87D6-287DE063211A}" srcOrd="0" destOrd="0" presId="urn:microsoft.com/office/officeart/2005/8/layout/matrix3"/>
    <dgm:cxn modelId="{A8C60071-0CA2-4C83-BDD3-00F24BABDC63}" type="presOf" srcId="{C5D6861B-13B4-430E-B65B-91A21BA0C497}" destId="{50F8C368-45B1-4DFA-9A9C-7E22E2F79484}" srcOrd="0" destOrd="0" presId="urn:microsoft.com/office/officeart/2005/8/layout/matrix3"/>
    <dgm:cxn modelId="{E81383AF-9E1E-4519-8860-FD38A3A2C31B}" type="presOf" srcId="{6EDB9F26-A951-4DF1-A89A-AD926EC5D26B}" destId="{3CE36045-BCCD-4C02-B79C-9DCD5F96BFBE}" srcOrd="0" destOrd="0" presId="urn:microsoft.com/office/officeart/2005/8/layout/matrix3"/>
    <dgm:cxn modelId="{997BB3D3-B77D-4586-B005-45ACCFCF5666}" srcId="{83A9040D-138B-4554-8C1B-1507E64B4097}" destId="{1260D4A5-54B4-47D7-9F8B-3351C2856564}" srcOrd="0" destOrd="0" parTransId="{3FF52B71-0B12-40E7-AC88-3ABFB3E2FB11}" sibTransId="{A26B04A7-2AAD-4098-B3EA-59EA7A04E90A}"/>
    <dgm:cxn modelId="{209D1C68-CF81-4806-9E6E-7DD9F0AF8508}" type="presParOf" srcId="{359E429C-9450-41E3-87D6-287DE063211A}" destId="{CAF183C5-AC65-49CB-82E6-B20C75F9ABEA}" srcOrd="0" destOrd="0" presId="urn:microsoft.com/office/officeart/2005/8/layout/matrix3"/>
    <dgm:cxn modelId="{D8151A55-D12A-4077-93BC-7311DD178E8B}" type="presParOf" srcId="{359E429C-9450-41E3-87D6-287DE063211A}" destId="{7D60F02D-F5B1-4B97-A6CB-E1006EAB7BD5}" srcOrd="1" destOrd="0" presId="urn:microsoft.com/office/officeart/2005/8/layout/matrix3"/>
    <dgm:cxn modelId="{EFFED698-CA3C-4DC0-8C06-2450A55BD7B8}" type="presParOf" srcId="{359E429C-9450-41E3-87D6-287DE063211A}" destId="{3CE36045-BCCD-4C02-B79C-9DCD5F96BFBE}" srcOrd="2" destOrd="0" presId="urn:microsoft.com/office/officeart/2005/8/layout/matrix3"/>
    <dgm:cxn modelId="{D47EAD4A-4868-496E-9EEC-560E5806CD84}" type="presParOf" srcId="{359E429C-9450-41E3-87D6-287DE063211A}" destId="{969146FB-B190-4F41-93AF-77E4CD6951AD}" srcOrd="3" destOrd="0" presId="urn:microsoft.com/office/officeart/2005/8/layout/matrix3"/>
    <dgm:cxn modelId="{2644309D-66C0-4796-9C4B-7A52E1FABCEC}" type="presParOf" srcId="{359E429C-9450-41E3-87D6-287DE063211A}" destId="{50F8C368-45B1-4DFA-9A9C-7E22E2F79484}"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71F273C6-90A2-4A3B-8BA3-05AAF92A7BAE}" type="doc">
      <dgm:prSet loTypeId="urn:microsoft.com/office/officeart/2018/2/layout/IconLabelDescriptionList" loCatId="icon" qsTypeId="urn:microsoft.com/office/officeart/2005/8/quickstyle/simple1" qsCatId="simple" csTypeId="urn:microsoft.com/office/officeart/2005/8/colors/accent1_2" csCatId="accent1" phldr="1"/>
      <dgm:spPr/>
      <dgm:t>
        <a:bodyPr/>
        <a:lstStyle/>
        <a:p>
          <a:endParaRPr lang="en-US"/>
        </a:p>
      </dgm:t>
    </dgm:pt>
    <dgm:pt modelId="{75A65946-8C49-4E26-B3FC-D33975C5F0E8}">
      <dgm:prSet phldrT="[Text]" custT="1"/>
      <dgm:spPr/>
      <dgm:t>
        <a:bodyPr/>
        <a:lstStyle/>
        <a:p>
          <a:pPr>
            <a:lnSpc>
              <a:spcPct val="100000"/>
            </a:lnSpc>
            <a:defRPr b="1"/>
          </a:pPr>
          <a:r>
            <a:rPr lang="en-US" sz="1400" dirty="0">
              <a:solidFill>
                <a:srgbClr val="0078D7"/>
              </a:solidFill>
              <a:latin typeface="+mj-lt"/>
            </a:rPr>
            <a:t>Minimum number of databases</a:t>
          </a:r>
        </a:p>
      </dgm:t>
    </dgm:pt>
    <dgm:pt modelId="{22304767-ED56-4B7D-B845-C2475C962F39}" type="parTrans" cxnId="{FDA700CB-A852-47E4-9C48-36443C83CAE2}">
      <dgm:prSet/>
      <dgm:spPr/>
      <dgm:t>
        <a:bodyPr/>
        <a:lstStyle/>
        <a:p>
          <a:endParaRPr lang="en-US"/>
        </a:p>
      </dgm:t>
    </dgm:pt>
    <dgm:pt modelId="{26E41366-22B3-4661-99D5-13A34FC6D978}" type="sibTrans" cxnId="{FDA700CB-A852-47E4-9C48-36443C83CAE2}">
      <dgm:prSet/>
      <dgm:spPr/>
      <dgm:t>
        <a:bodyPr/>
        <a:lstStyle/>
        <a:p>
          <a:endParaRPr lang="en-US"/>
        </a:p>
      </dgm:t>
    </dgm:pt>
    <dgm:pt modelId="{22FF5DC8-D40C-40CE-B01C-8DFD7DDE7CC7}">
      <dgm:prSet phldrT="[Text]" custT="1"/>
      <dgm:spPr/>
      <dgm:t>
        <a:bodyPr/>
        <a:lstStyle/>
        <a:p>
          <a:pPr>
            <a:lnSpc>
              <a:spcPct val="100000"/>
            </a:lnSpc>
          </a:pPr>
          <a:r>
            <a:rPr lang="en-US" sz="1400">
              <a:latin typeface="+mj-lt"/>
            </a:rPr>
            <a:t>The sum of the DTUs of performance levels for single databases is more than 1.5x the </a:t>
          </a:r>
          <a:r>
            <a:rPr lang="en-US" sz="1400" err="1">
              <a:latin typeface="+mj-lt"/>
            </a:rPr>
            <a:t>eDTUs</a:t>
          </a:r>
          <a:r>
            <a:rPr lang="en-US" sz="1400">
              <a:latin typeface="+mj-lt"/>
            </a:rPr>
            <a:t> needed for the pool.</a:t>
          </a:r>
        </a:p>
      </dgm:t>
    </dgm:pt>
    <dgm:pt modelId="{DADF330F-0AB3-4933-A080-D4309D0496AE}" type="parTrans" cxnId="{390DCDBD-E720-4E42-8E52-907DC3DAF5C0}">
      <dgm:prSet/>
      <dgm:spPr/>
      <dgm:t>
        <a:bodyPr/>
        <a:lstStyle/>
        <a:p>
          <a:endParaRPr lang="en-US"/>
        </a:p>
      </dgm:t>
    </dgm:pt>
    <dgm:pt modelId="{0F935047-0620-4B1A-94F3-EF5CAD76911E}" type="sibTrans" cxnId="{390DCDBD-E720-4E42-8E52-907DC3DAF5C0}">
      <dgm:prSet/>
      <dgm:spPr/>
      <dgm:t>
        <a:bodyPr/>
        <a:lstStyle/>
        <a:p>
          <a:endParaRPr lang="en-US"/>
        </a:p>
      </dgm:t>
    </dgm:pt>
    <dgm:pt modelId="{DD060133-9BDE-4D55-847F-2646B5D8F086}">
      <dgm:prSet phldrT="[Text]" custT="1"/>
      <dgm:spPr/>
      <dgm:t>
        <a:bodyPr/>
        <a:lstStyle/>
        <a:p>
          <a:pPr>
            <a:lnSpc>
              <a:spcPct val="100000"/>
            </a:lnSpc>
            <a:defRPr b="1"/>
          </a:pPr>
          <a:r>
            <a:rPr lang="en-US" sz="1400" dirty="0">
              <a:solidFill>
                <a:srgbClr val="0078D7"/>
              </a:solidFill>
              <a:latin typeface="+mj-lt"/>
            </a:rPr>
            <a:t>Maximum number of concurrently peaking databases</a:t>
          </a:r>
        </a:p>
      </dgm:t>
    </dgm:pt>
    <dgm:pt modelId="{D43FD702-160E-4EA5-B97D-7C03BC52D87D}" type="parTrans" cxnId="{948528B0-F54C-49B4-BD15-89A52A1BDAF1}">
      <dgm:prSet/>
      <dgm:spPr/>
      <dgm:t>
        <a:bodyPr/>
        <a:lstStyle/>
        <a:p>
          <a:endParaRPr lang="en-US"/>
        </a:p>
      </dgm:t>
    </dgm:pt>
    <dgm:pt modelId="{73592278-FCC1-4C9A-A593-82A6BF3A509F}" type="sibTrans" cxnId="{948528B0-F54C-49B4-BD15-89A52A1BDAF1}">
      <dgm:prSet/>
      <dgm:spPr/>
      <dgm:t>
        <a:bodyPr/>
        <a:lstStyle/>
        <a:p>
          <a:endParaRPr lang="en-US"/>
        </a:p>
      </dgm:t>
    </dgm:pt>
    <dgm:pt modelId="{D80E7720-E34C-4E80-A5E7-4773A8635893}">
      <dgm:prSet phldrT="[Text]" custT="1"/>
      <dgm:spPr/>
      <dgm:t>
        <a:bodyPr/>
        <a:lstStyle/>
        <a:p>
          <a:pPr>
            <a:lnSpc>
              <a:spcPct val="100000"/>
            </a:lnSpc>
          </a:pPr>
          <a:r>
            <a:rPr lang="en-US" sz="1400" dirty="0">
              <a:latin typeface="+mj-lt"/>
            </a:rPr>
            <a:t>Not more than 2/3 (or 67%) of the databases in the pool should simultaneously peak to their </a:t>
          </a:r>
          <a:r>
            <a:rPr lang="en-US" sz="1400" dirty="0" err="1">
              <a:latin typeface="+mj-lt"/>
            </a:rPr>
            <a:t>eDTU</a:t>
          </a:r>
          <a:r>
            <a:rPr lang="en-US" sz="1400" dirty="0">
              <a:latin typeface="+mj-lt"/>
            </a:rPr>
            <a:t> limit.</a:t>
          </a:r>
        </a:p>
      </dgm:t>
    </dgm:pt>
    <dgm:pt modelId="{37B60466-26A4-40AE-BDC5-5DEC4B61C716}" type="parTrans" cxnId="{C6FBA83B-31D5-42A5-A498-7F7B3FEB6A78}">
      <dgm:prSet/>
      <dgm:spPr/>
      <dgm:t>
        <a:bodyPr/>
        <a:lstStyle/>
        <a:p>
          <a:endParaRPr lang="en-US"/>
        </a:p>
      </dgm:t>
    </dgm:pt>
    <dgm:pt modelId="{350A6D27-17DC-494C-9247-6E508C86B5BA}" type="sibTrans" cxnId="{C6FBA83B-31D5-42A5-A498-7F7B3FEB6A78}">
      <dgm:prSet/>
      <dgm:spPr/>
      <dgm:t>
        <a:bodyPr/>
        <a:lstStyle/>
        <a:p>
          <a:endParaRPr lang="en-US"/>
        </a:p>
      </dgm:t>
    </dgm:pt>
    <dgm:pt modelId="{73440F75-2AAA-4C2B-B3E8-14E338E508CB}">
      <dgm:prSet phldrT="[Text]" custT="1"/>
      <dgm:spPr/>
      <dgm:t>
        <a:bodyPr/>
        <a:lstStyle/>
        <a:p>
          <a:pPr>
            <a:lnSpc>
              <a:spcPct val="100000"/>
            </a:lnSpc>
            <a:defRPr b="1"/>
          </a:pPr>
          <a:r>
            <a:rPr lang="en-US" sz="1400">
              <a:solidFill>
                <a:srgbClr val="0078D7"/>
              </a:solidFill>
              <a:latin typeface="+mj-lt"/>
            </a:rPr>
            <a:t>DTU utilization per database</a:t>
          </a:r>
        </a:p>
      </dgm:t>
    </dgm:pt>
    <dgm:pt modelId="{F57C6FEB-B7A3-4EB2-BB37-F5C5D0B7AC09}" type="parTrans" cxnId="{9DCDA111-4673-48A9-8A07-A24BD03453A9}">
      <dgm:prSet/>
      <dgm:spPr/>
      <dgm:t>
        <a:bodyPr/>
        <a:lstStyle/>
        <a:p>
          <a:endParaRPr lang="en-US"/>
        </a:p>
      </dgm:t>
    </dgm:pt>
    <dgm:pt modelId="{331D6214-D1F6-445B-9A8C-1655B3D6F898}" type="sibTrans" cxnId="{9DCDA111-4673-48A9-8A07-A24BD03453A9}">
      <dgm:prSet/>
      <dgm:spPr/>
      <dgm:t>
        <a:bodyPr/>
        <a:lstStyle/>
        <a:p>
          <a:endParaRPr lang="en-US"/>
        </a:p>
      </dgm:t>
    </dgm:pt>
    <dgm:pt modelId="{E4748C10-B355-4196-ABCD-0553AC080A45}">
      <dgm:prSet phldrT="[Text]" custT="1"/>
      <dgm:spPr/>
      <dgm:t>
        <a:bodyPr/>
        <a:lstStyle/>
        <a:p>
          <a:pPr>
            <a:lnSpc>
              <a:spcPct val="100000"/>
            </a:lnSpc>
          </a:pPr>
          <a:r>
            <a:rPr lang="en-US" sz="1400">
              <a:latin typeface="+mj-lt"/>
            </a:rPr>
            <a:t>A database should be considered for a pool when its peak utilization is about 1.5 times greater than its average utilization.</a:t>
          </a:r>
        </a:p>
      </dgm:t>
    </dgm:pt>
    <dgm:pt modelId="{24C3D76D-662E-4E40-AF7F-C4835602C2FF}" type="parTrans" cxnId="{7DD559D6-A78C-4666-BE78-7B843E136215}">
      <dgm:prSet/>
      <dgm:spPr/>
      <dgm:t>
        <a:bodyPr/>
        <a:lstStyle/>
        <a:p>
          <a:endParaRPr lang="en-US"/>
        </a:p>
      </dgm:t>
    </dgm:pt>
    <dgm:pt modelId="{168EEDF3-C030-41C6-AF0D-F32D6077F268}" type="sibTrans" cxnId="{7DD559D6-A78C-4666-BE78-7B843E136215}">
      <dgm:prSet/>
      <dgm:spPr/>
      <dgm:t>
        <a:bodyPr/>
        <a:lstStyle/>
        <a:p>
          <a:endParaRPr lang="en-US"/>
        </a:p>
      </dgm:t>
    </dgm:pt>
    <dgm:pt modelId="{37CCC937-0BA2-4C9B-A950-40E010587AD2}">
      <dgm:prSet phldrT="[Text]" custT="1"/>
      <dgm:spPr/>
      <dgm:t>
        <a:bodyPr/>
        <a:lstStyle/>
        <a:p>
          <a:pPr>
            <a:lnSpc>
              <a:spcPct val="100000"/>
            </a:lnSpc>
            <a:defRPr b="1"/>
          </a:pPr>
          <a:r>
            <a:rPr lang="en-US" sz="1400" b="1" kern="1200" dirty="0">
              <a:solidFill>
                <a:srgbClr val="0078D7"/>
              </a:solidFill>
              <a:latin typeface="Segoe UI Light"/>
              <a:ea typeface="+mn-ea"/>
              <a:cs typeface="+mn-cs"/>
            </a:rPr>
            <a:t>Maximum number of </a:t>
          </a:r>
          <a:r>
            <a:rPr lang="en-US" sz="1400" b="1" kern="1200" dirty="0" err="1">
              <a:solidFill>
                <a:srgbClr val="0078D7"/>
              </a:solidFill>
              <a:latin typeface="Segoe UI Light"/>
              <a:ea typeface="+mn-ea"/>
              <a:cs typeface="+mn-cs"/>
            </a:rPr>
            <a:t>vCores</a:t>
          </a:r>
          <a:endParaRPr lang="en-US" sz="1400" b="1" kern="1200" dirty="0">
            <a:solidFill>
              <a:srgbClr val="0078D7"/>
            </a:solidFill>
            <a:latin typeface="Segoe UI Light"/>
            <a:ea typeface="+mn-ea"/>
            <a:cs typeface="+mn-cs"/>
          </a:endParaRPr>
        </a:p>
      </dgm:t>
    </dgm:pt>
    <dgm:pt modelId="{FE963D0A-4CC4-4BDC-951E-0DF75622CB68}" type="parTrans" cxnId="{7F089A5A-9B24-45C6-85AE-8817402BFA77}">
      <dgm:prSet/>
      <dgm:spPr/>
      <dgm:t>
        <a:bodyPr/>
        <a:lstStyle/>
        <a:p>
          <a:endParaRPr lang="en-US"/>
        </a:p>
      </dgm:t>
    </dgm:pt>
    <dgm:pt modelId="{9562F72F-5AB2-4C78-9C80-F62F19939D20}" type="sibTrans" cxnId="{7F089A5A-9B24-45C6-85AE-8817402BFA77}">
      <dgm:prSet/>
      <dgm:spPr/>
      <dgm:t>
        <a:bodyPr/>
        <a:lstStyle/>
        <a:p>
          <a:endParaRPr lang="en-US"/>
        </a:p>
      </dgm:t>
    </dgm:pt>
    <dgm:pt modelId="{9B8DD260-DEBA-428C-91F4-13BC13752389}">
      <dgm:prSet phldrT="[Text]" custT="1"/>
      <dgm:spPr/>
      <dgm:t>
        <a:bodyPr/>
        <a:lstStyle/>
        <a:p>
          <a:pPr>
            <a:lnSpc>
              <a:spcPct val="100000"/>
            </a:lnSpc>
            <a:defRPr b="1"/>
          </a:pPr>
          <a:r>
            <a:rPr lang="en-US" sz="1400" b="1" kern="1200">
              <a:solidFill>
                <a:srgbClr val="0078D7"/>
              </a:solidFill>
              <a:latin typeface="Segoe UI Light"/>
              <a:ea typeface="+mn-ea"/>
              <a:cs typeface="+mn-cs"/>
            </a:rPr>
            <a:t>The minimum number of vCores</a:t>
          </a:r>
        </a:p>
      </dgm:t>
    </dgm:pt>
    <dgm:pt modelId="{6D4CEB64-0AA7-4632-9A09-7A62CFAAA326}" type="parTrans" cxnId="{59A4101A-D510-41B0-A83F-E7328144D3E2}">
      <dgm:prSet/>
      <dgm:spPr/>
      <dgm:t>
        <a:bodyPr/>
        <a:lstStyle/>
        <a:p>
          <a:endParaRPr lang="en-US"/>
        </a:p>
      </dgm:t>
    </dgm:pt>
    <dgm:pt modelId="{A138E6C9-5858-4143-9B02-ED5864A9D522}" type="sibTrans" cxnId="{59A4101A-D510-41B0-A83F-E7328144D3E2}">
      <dgm:prSet/>
      <dgm:spPr/>
      <dgm:t>
        <a:bodyPr/>
        <a:lstStyle/>
        <a:p>
          <a:endParaRPr lang="en-US"/>
        </a:p>
      </dgm:t>
    </dgm:pt>
    <dgm:pt modelId="{EFAC60ED-450E-40E9-931B-3B959C46AC70}">
      <dgm:prSet phldrT="[Text]" custT="1"/>
      <dgm:spPr/>
      <dgm:t>
        <a:bodyPr/>
        <a:lstStyle/>
        <a:p>
          <a:pPr>
            <a:lnSpc>
              <a:spcPct val="100000"/>
            </a:lnSpc>
          </a:pPr>
          <a:r>
            <a:rPr lang="en-US" sz="1400" kern="1200">
              <a:solidFill>
                <a:schemeClr val="tx1"/>
              </a:solidFill>
              <a:latin typeface="+mj-lt"/>
              <a:ea typeface="+mn-ea"/>
              <a:cs typeface="+mn-cs"/>
            </a:rPr>
            <a:t>Set max vCores per database high enough to handle peaks in database utilization. </a:t>
          </a:r>
        </a:p>
      </dgm:t>
    </dgm:pt>
    <dgm:pt modelId="{8F38AEEA-68C3-41FB-800D-4D2BDA2D0921}" type="parTrans" cxnId="{9C0FCC0A-4218-414B-8337-BC24492871C4}">
      <dgm:prSet/>
      <dgm:spPr/>
      <dgm:t>
        <a:bodyPr/>
        <a:lstStyle/>
        <a:p>
          <a:endParaRPr lang="en-US"/>
        </a:p>
      </dgm:t>
    </dgm:pt>
    <dgm:pt modelId="{EFB7E751-0C55-4F4B-9D09-E0F188F1D06B}" type="sibTrans" cxnId="{9C0FCC0A-4218-414B-8337-BC24492871C4}">
      <dgm:prSet/>
      <dgm:spPr/>
      <dgm:t>
        <a:bodyPr/>
        <a:lstStyle/>
        <a:p>
          <a:endParaRPr lang="en-US"/>
        </a:p>
      </dgm:t>
    </dgm:pt>
    <dgm:pt modelId="{F79129A3-4A4B-42EC-ACDE-43C0E5F8E67E}">
      <dgm:prSet phldrT="[Text]" custT="1"/>
      <dgm:spPr/>
      <dgm:t>
        <a:bodyPr/>
        <a:lstStyle/>
        <a:p>
          <a:pPr>
            <a:lnSpc>
              <a:spcPct val="100000"/>
            </a:lnSpc>
          </a:pPr>
          <a:r>
            <a:rPr lang="en-US" sz="1400" kern="1200" dirty="0">
              <a:solidFill>
                <a:schemeClr val="tx1"/>
              </a:solidFill>
              <a:latin typeface="Segoe UI Light"/>
              <a:ea typeface="+mn-ea"/>
              <a:cs typeface="+mn-cs"/>
            </a:rPr>
            <a:t>The product of the number of databases in the pool and the minimum </a:t>
          </a:r>
          <a:r>
            <a:rPr lang="en-US" sz="1400" kern="1200" dirty="0" err="1">
              <a:solidFill>
                <a:schemeClr val="tx1"/>
              </a:solidFill>
              <a:latin typeface="Segoe UI Light"/>
              <a:ea typeface="+mn-ea"/>
              <a:cs typeface="+mn-cs"/>
            </a:rPr>
            <a:t>vCores</a:t>
          </a:r>
          <a:r>
            <a:rPr lang="en-US" sz="1400" kern="1200" dirty="0">
              <a:solidFill>
                <a:schemeClr val="tx1"/>
              </a:solidFill>
              <a:latin typeface="Segoe UI Light"/>
              <a:ea typeface="+mn-ea"/>
              <a:cs typeface="+mn-cs"/>
            </a:rPr>
            <a:t> per database cannot exceed the </a:t>
          </a:r>
          <a:r>
            <a:rPr lang="en-US" sz="1400" kern="1200" dirty="0" err="1">
              <a:solidFill>
                <a:schemeClr val="tx1"/>
              </a:solidFill>
              <a:latin typeface="Segoe UI Light"/>
              <a:ea typeface="+mn-ea"/>
              <a:cs typeface="+mn-cs"/>
            </a:rPr>
            <a:t>vCores</a:t>
          </a:r>
          <a:r>
            <a:rPr lang="en-US" sz="1400" kern="1200" dirty="0">
              <a:solidFill>
                <a:schemeClr val="tx1"/>
              </a:solidFill>
              <a:latin typeface="Segoe UI Light"/>
              <a:ea typeface="+mn-ea"/>
              <a:cs typeface="+mn-cs"/>
            </a:rPr>
            <a:t> per pool.</a:t>
          </a:r>
        </a:p>
      </dgm:t>
    </dgm:pt>
    <dgm:pt modelId="{9196E532-3CB6-4B95-98F2-7BB0AFF9EC4A}" type="parTrans" cxnId="{A571696A-84D5-4790-A423-B545B9F83398}">
      <dgm:prSet/>
      <dgm:spPr/>
      <dgm:t>
        <a:bodyPr/>
        <a:lstStyle/>
        <a:p>
          <a:endParaRPr lang="en-US"/>
        </a:p>
      </dgm:t>
    </dgm:pt>
    <dgm:pt modelId="{410B5CD0-9FFA-4D4E-A325-9A64F4166BFC}" type="sibTrans" cxnId="{A571696A-84D5-4790-A423-B545B9F83398}">
      <dgm:prSet/>
      <dgm:spPr/>
      <dgm:t>
        <a:bodyPr/>
        <a:lstStyle/>
        <a:p>
          <a:endParaRPr lang="en-US"/>
        </a:p>
      </dgm:t>
    </dgm:pt>
    <dgm:pt modelId="{0CB0878B-C0D1-40D2-8C91-3B611876273D}">
      <dgm:prSet phldrT="[Text]" custT="1"/>
      <dgm:spPr/>
      <dgm:t>
        <a:bodyPr/>
        <a:lstStyle/>
        <a:p>
          <a:pPr>
            <a:lnSpc>
              <a:spcPct val="100000"/>
            </a:lnSpc>
          </a:pPr>
          <a:r>
            <a:rPr lang="en-US" sz="1400">
              <a:solidFill>
                <a:schemeClr val="tx1"/>
              </a:solidFill>
              <a:latin typeface="+mj-lt"/>
            </a:rPr>
            <a:t>Max database size refers to the maximum size of the data files and does not include the space used by log files.</a:t>
          </a:r>
        </a:p>
      </dgm:t>
    </dgm:pt>
    <dgm:pt modelId="{3ED40AEF-C3D7-4001-938F-85F5796EA34E}" type="parTrans" cxnId="{413C391F-1172-432D-92B5-2D1616C0D298}">
      <dgm:prSet/>
      <dgm:spPr/>
      <dgm:t>
        <a:bodyPr/>
        <a:lstStyle/>
        <a:p>
          <a:endParaRPr lang="en-US"/>
        </a:p>
      </dgm:t>
    </dgm:pt>
    <dgm:pt modelId="{438710FB-5EA6-44A5-8E05-90B20B1B19C8}" type="sibTrans" cxnId="{413C391F-1172-432D-92B5-2D1616C0D298}">
      <dgm:prSet/>
      <dgm:spPr/>
      <dgm:t>
        <a:bodyPr/>
        <a:lstStyle/>
        <a:p>
          <a:endParaRPr lang="en-US"/>
        </a:p>
      </dgm:t>
    </dgm:pt>
    <dgm:pt modelId="{1578442A-DA2A-49D2-9E77-E278B171B8AE}">
      <dgm:prSet phldrT="[Text]" custT="1"/>
      <dgm:spPr/>
      <dgm:t>
        <a:bodyPr/>
        <a:lstStyle/>
        <a:p>
          <a:pPr>
            <a:lnSpc>
              <a:spcPct val="100000"/>
            </a:lnSpc>
            <a:defRPr b="1"/>
          </a:pPr>
          <a:r>
            <a:rPr lang="en-US" sz="1400" kern="1200">
              <a:solidFill>
                <a:srgbClr val="0078D7"/>
              </a:solidFill>
              <a:effectLst/>
            </a:rPr>
            <a:t>Max storage per database</a:t>
          </a:r>
          <a:endParaRPr lang="en-US" sz="1400" kern="1200">
            <a:solidFill>
              <a:srgbClr val="0078D7"/>
            </a:solidFill>
            <a:latin typeface="+mj-lt"/>
          </a:endParaRPr>
        </a:p>
      </dgm:t>
    </dgm:pt>
    <dgm:pt modelId="{2CB3E898-97FA-4742-AEAE-3FFC16FD0D14}" type="parTrans" cxnId="{541799C3-A281-41CA-885D-7FBE1BADB2B8}">
      <dgm:prSet/>
      <dgm:spPr/>
      <dgm:t>
        <a:bodyPr/>
        <a:lstStyle/>
        <a:p>
          <a:endParaRPr lang="en-US"/>
        </a:p>
      </dgm:t>
    </dgm:pt>
    <dgm:pt modelId="{F81A9392-2283-4813-B948-48B8EA5AF98F}" type="sibTrans" cxnId="{541799C3-A281-41CA-885D-7FBE1BADB2B8}">
      <dgm:prSet/>
      <dgm:spPr/>
      <dgm:t>
        <a:bodyPr/>
        <a:lstStyle/>
        <a:p>
          <a:endParaRPr lang="en-US"/>
        </a:p>
      </dgm:t>
    </dgm:pt>
    <dgm:pt modelId="{7D0846AD-0A03-4AE9-8F2D-F6983B1A7DDF}">
      <dgm:prSet phldrT="[Text]" custT="1"/>
      <dgm:spPr/>
      <dgm:t>
        <a:bodyPr/>
        <a:lstStyle/>
        <a:p>
          <a:pPr>
            <a:lnSpc>
              <a:spcPct val="100000"/>
            </a:lnSpc>
          </a:pPr>
          <a:r>
            <a:rPr lang="en-US" sz="1400" b="0" kern="1200">
              <a:solidFill>
                <a:schemeClr val="tx1"/>
              </a:solidFill>
              <a:latin typeface="Segoe UI Light"/>
              <a:ea typeface="+mn-ea"/>
              <a:cs typeface="+mn-cs"/>
            </a:rPr>
            <a:t>The maximum database size set by the user for a database in a pool</a:t>
          </a:r>
          <a:r>
            <a:rPr lang="en-US" sz="1400" b="0" kern="1200">
              <a:solidFill>
                <a:schemeClr val="tx1"/>
              </a:solidFill>
              <a:latin typeface="+mj-lt"/>
            </a:rPr>
            <a:t>.</a:t>
          </a:r>
        </a:p>
      </dgm:t>
    </dgm:pt>
    <dgm:pt modelId="{844D05DB-90FB-4A67-AB9D-3AD4385D55D8}" type="parTrans" cxnId="{ACB921D2-BBEE-4477-9C9B-AF5CEC3032FA}">
      <dgm:prSet/>
      <dgm:spPr/>
      <dgm:t>
        <a:bodyPr/>
        <a:lstStyle/>
        <a:p>
          <a:endParaRPr lang="en-US"/>
        </a:p>
      </dgm:t>
    </dgm:pt>
    <dgm:pt modelId="{47680C51-9057-4A42-A92E-75B507314B89}" type="sibTrans" cxnId="{ACB921D2-BBEE-4477-9C9B-AF5CEC3032FA}">
      <dgm:prSet/>
      <dgm:spPr/>
      <dgm:t>
        <a:bodyPr/>
        <a:lstStyle/>
        <a:p>
          <a:endParaRPr lang="en-US"/>
        </a:p>
      </dgm:t>
    </dgm:pt>
    <dgm:pt modelId="{30DCB2DD-BA60-481F-A64F-62405C36CFF9}">
      <dgm:prSet phldrT="[Text]" custT="1"/>
      <dgm:spPr/>
      <dgm:t>
        <a:bodyPr/>
        <a:lstStyle/>
        <a:p>
          <a:pPr>
            <a:lnSpc>
              <a:spcPct val="100000"/>
            </a:lnSpc>
          </a:pPr>
          <a:r>
            <a:rPr lang="en-US" sz="1400" b="0" kern="1200">
              <a:solidFill>
                <a:schemeClr val="tx1"/>
              </a:solidFill>
              <a:latin typeface="Segoe UI Light"/>
              <a:ea typeface="+mn-ea"/>
              <a:cs typeface="+mn-cs"/>
            </a:rPr>
            <a:t>The maximum number of vCores that any database in the pool may use, if available based on utilization by other databases in the pool.</a:t>
          </a:r>
        </a:p>
      </dgm:t>
    </dgm:pt>
    <dgm:pt modelId="{B51E62E7-FDE3-4C35-B26E-2BA42425C75B}" type="parTrans" cxnId="{5D42890D-37D3-4DDB-97A7-82C58B6F491F}">
      <dgm:prSet/>
      <dgm:spPr/>
      <dgm:t>
        <a:bodyPr/>
        <a:lstStyle/>
        <a:p>
          <a:endParaRPr lang="en-US"/>
        </a:p>
      </dgm:t>
    </dgm:pt>
    <dgm:pt modelId="{9460C228-3ADC-4058-8E2C-CBD0781F64A2}" type="sibTrans" cxnId="{5D42890D-37D3-4DDB-97A7-82C58B6F491F}">
      <dgm:prSet/>
      <dgm:spPr/>
      <dgm:t>
        <a:bodyPr/>
        <a:lstStyle/>
        <a:p>
          <a:endParaRPr lang="en-US"/>
        </a:p>
      </dgm:t>
    </dgm:pt>
    <dgm:pt modelId="{90661510-DF0A-4E05-9CAF-8E86D7ED323D}">
      <dgm:prSet phldrT="[Text]" custT="1"/>
      <dgm:spPr/>
      <dgm:t>
        <a:bodyPr/>
        <a:lstStyle/>
        <a:p>
          <a:pPr>
            <a:lnSpc>
              <a:spcPct val="100000"/>
            </a:lnSpc>
          </a:pPr>
          <a:r>
            <a:rPr lang="en-US" sz="1400" b="0" kern="1200">
              <a:solidFill>
                <a:schemeClr val="tx1"/>
              </a:solidFill>
              <a:latin typeface="Segoe UI Light"/>
              <a:ea typeface="+mn-ea"/>
              <a:cs typeface="+mn-cs"/>
            </a:rPr>
            <a:t>The minimum number of vCores that any database in the pool is guaranteed.</a:t>
          </a:r>
        </a:p>
      </dgm:t>
    </dgm:pt>
    <dgm:pt modelId="{5A933B69-0B56-4FE3-AA8C-B005FEC971AC}" type="parTrans" cxnId="{3B1F778A-A7E4-4233-ABE4-4939F22D718A}">
      <dgm:prSet/>
      <dgm:spPr/>
      <dgm:t>
        <a:bodyPr/>
        <a:lstStyle/>
        <a:p>
          <a:endParaRPr lang="en-US"/>
        </a:p>
      </dgm:t>
    </dgm:pt>
    <dgm:pt modelId="{DD766239-E9CA-49B5-80AE-7EF09142D14C}" type="sibTrans" cxnId="{3B1F778A-A7E4-4233-ABE4-4939F22D718A}">
      <dgm:prSet/>
      <dgm:spPr/>
      <dgm:t>
        <a:bodyPr/>
        <a:lstStyle/>
        <a:p>
          <a:endParaRPr lang="en-US"/>
        </a:p>
      </dgm:t>
    </dgm:pt>
    <dgm:pt modelId="{FC55391C-B403-4C00-822B-AE8D0B56DEF3}" type="pres">
      <dgm:prSet presAssocID="{71F273C6-90A2-4A3B-8BA3-05AAF92A7BAE}" presName="root" presStyleCnt="0">
        <dgm:presLayoutVars>
          <dgm:dir/>
          <dgm:resizeHandles val="exact"/>
        </dgm:presLayoutVars>
      </dgm:prSet>
      <dgm:spPr/>
    </dgm:pt>
    <dgm:pt modelId="{A8BA3FAC-55D0-47CF-BF48-37DE8D1A0822}" type="pres">
      <dgm:prSet presAssocID="{75A65946-8C49-4E26-B3FC-D33975C5F0E8}" presName="compNode" presStyleCnt="0"/>
      <dgm:spPr/>
    </dgm:pt>
    <dgm:pt modelId="{218157BA-BB03-4204-8930-1EF8900026E8}" type="pres">
      <dgm:prSet presAssocID="{75A65946-8C49-4E26-B3FC-D33975C5F0E8}" presName="iconRect" presStyleLbl="node1" presStyleIdx="0" presStyleCnt="6" custLinFactNeighborX="55899"/>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abase"/>
        </a:ext>
      </dgm:extLst>
    </dgm:pt>
    <dgm:pt modelId="{520F22E5-8541-4446-9C7D-4B4D3BA3E742}" type="pres">
      <dgm:prSet presAssocID="{75A65946-8C49-4E26-B3FC-D33975C5F0E8}" presName="iconSpace" presStyleCnt="0"/>
      <dgm:spPr/>
    </dgm:pt>
    <dgm:pt modelId="{D2B50A89-EFF0-42FA-A913-3977A82D5139}" type="pres">
      <dgm:prSet presAssocID="{75A65946-8C49-4E26-B3FC-D33975C5F0E8}" presName="parTx" presStyleLbl="revTx" presStyleIdx="0" presStyleCnt="12">
        <dgm:presLayoutVars>
          <dgm:chMax val="0"/>
          <dgm:chPref val="0"/>
        </dgm:presLayoutVars>
      </dgm:prSet>
      <dgm:spPr/>
    </dgm:pt>
    <dgm:pt modelId="{7A77B319-0A4F-4075-9229-D78B7E21EA77}" type="pres">
      <dgm:prSet presAssocID="{75A65946-8C49-4E26-B3FC-D33975C5F0E8}" presName="txSpace" presStyleCnt="0"/>
      <dgm:spPr/>
    </dgm:pt>
    <dgm:pt modelId="{9B32CE45-B84E-4A1E-9DDD-09FF7F631778}" type="pres">
      <dgm:prSet presAssocID="{75A65946-8C49-4E26-B3FC-D33975C5F0E8}" presName="desTx" presStyleLbl="revTx" presStyleIdx="1" presStyleCnt="12">
        <dgm:presLayoutVars/>
      </dgm:prSet>
      <dgm:spPr/>
    </dgm:pt>
    <dgm:pt modelId="{2BB8FFF4-16FE-46AF-85A4-2865F1C35BAB}" type="pres">
      <dgm:prSet presAssocID="{26E41366-22B3-4661-99D5-13A34FC6D978}" presName="sibTrans" presStyleCnt="0"/>
      <dgm:spPr/>
    </dgm:pt>
    <dgm:pt modelId="{B4E60ABA-E1FF-4B2E-989B-C1EAB569F13D}" type="pres">
      <dgm:prSet presAssocID="{DD060133-9BDE-4D55-847F-2646B5D8F086}" presName="compNode" presStyleCnt="0"/>
      <dgm:spPr/>
    </dgm:pt>
    <dgm:pt modelId="{F0B1679A-D843-4CF6-B00C-32D7E48B79FB}" type="pres">
      <dgm:prSet presAssocID="{DD060133-9BDE-4D55-847F-2646B5D8F086}" presName="iconRect" presStyleLbl="node1" presStyleIdx="1" presStyleCnt="6" custLinFactNeighborX="54051"/>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aximize"/>
        </a:ext>
      </dgm:extLst>
    </dgm:pt>
    <dgm:pt modelId="{E1816356-207B-423B-A447-3DEB12E07621}" type="pres">
      <dgm:prSet presAssocID="{DD060133-9BDE-4D55-847F-2646B5D8F086}" presName="iconSpace" presStyleCnt="0"/>
      <dgm:spPr/>
    </dgm:pt>
    <dgm:pt modelId="{004EDCD5-F6F4-4D29-BFBB-9CA95E4273DF}" type="pres">
      <dgm:prSet presAssocID="{DD060133-9BDE-4D55-847F-2646B5D8F086}" presName="parTx" presStyleLbl="revTx" presStyleIdx="2" presStyleCnt="12">
        <dgm:presLayoutVars>
          <dgm:chMax val="0"/>
          <dgm:chPref val="0"/>
        </dgm:presLayoutVars>
      </dgm:prSet>
      <dgm:spPr/>
    </dgm:pt>
    <dgm:pt modelId="{49235B2D-97D0-456F-83B8-B9378732784D}" type="pres">
      <dgm:prSet presAssocID="{DD060133-9BDE-4D55-847F-2646B5D8F086}" presName="txSpace" presStyleCnt="0"/>
      <dgm:spPr/>
    </dgm:pt>
    <dgm:pt modelId="{A64B8581-55F8-44BD-B27F-C104B2A008CD}" type="pres">
      <dgm:prSet presAssocID="{DD060133-9BDE-4D55-847F-2646B5D8F086}" presName="desTx" presStyleLbl="revTx" presStyleIdx="3" presStyleCnt="12">
        <dgm:presLayoutVars/>
      </dgm:prSet>
      <dgm:spPr/>
    </dgm:pt>
    <dgm:pt modelId="{0563DC62-1AA2-444E-9127-8AC86E650013}" type="pres">
      <dgm:prSet presAssocID="{73592278-FCC1-4C9A-A593-82A6BF3A509F}" presName="sibTrans" presStyleCnt="0"/>
      <dgm:spPr/>
    </dgm:pt>
    <dgm:pt modelId="{697FE4D5-B905-4148-9E90-C6445BC23A2E}" type="pres">
      <dgm:prSet presAssocID="{73440F75-2AAA-4C2B-B3E8-14E338E508CB}" presName="compNode" presStyleCnt="0"/>
      <dgm:spPr/>
    </dgm:pt>
    <dgm:pt modelId="{B467AF67-3E2B-4303-84F5-F64CBF76E05D}" type="pres">
      <dgm:prSet presAssocID="{73440F75-2AAA-4C2B-B3E8-14E338E508CB}" presName="iconRect" presStyleLbl="node1" presStyleIdx="2" presStyleCnt="6" custLinFactNeighborX="72652"/>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usiness Growth"/>
        </a:ext>
      </dgm:extLst>
    </dgm:pt>
    <dgm:pt modelId="{7CEDDC50-7769-4848-866C-5BEE3072FAF1}" type="pres">
      <dgm:prSet presAssocID="{73440F75-2AAA-4C2B-B3E8-14E338E508CB}" presName="iconSpace" presStyleCnt="0"/>
      <dgm:spPr/>
    </dgm:pt>
    <dgm:pt modelId="{6928E9B5-5BEA-483D-9645-FA542FD05D43}" type="pres">
      <dgm:prSet presAssocID="{73440F75-2AAA-4C2B-B3E8-14E338E508CB}" presName="parTx" presStyleLbl="revTx" presStyleIdx="4" presStyleCnt="12">
        <dgm:presLayoutVars>
          <dgm:chMax val="0"/>
          <dgm:chPref val="0"/>
        </dgm:presLayoutVars>
      </dgm:prSet>
      <dgm:spPr/>
    </dgm:pt>
    <dgm:pt modelId="{2DCD4E88-8E8F-4659-9C55-BB08D0E2F636}" type="pres">
      <dgm:prSet presAssocID="{73440F75-2AAA-4C2B-B3E8-14E338E508CB}" presName="txSpace" presStyleCnt="0"/>
      <dgm:spPr/>
    </dgm:pt>
    <dgm:pt modelId="{5CE668D1-D082-43DA-AF33-9563095CD879}" type="pres">
      <dgm:prSet presAssocID="{73440F75-2AAA-4C2B-B3E8-14E338E508CB}" presName="desTx" presStyleLbl="revTx" presStyleIdx="5" presStyleCnt="12">
        <dgm:presLayoutVars/>
      </dgm:prSet>
      <dgm:spPr/>
    </dgm:pt>
    <dgm:pt modelId="{6CCDC448-FB3D-4677-8458-B1A382BCD876}" type="pres">
      <dgm:prSet presAssocID="{331D6214-D1F6-445B-9A8C-1655B3D6F898}" presName="sibTrans" presStyleCnt="0"/>
      <dgm:spPr/>
    </dgm:pt>
    <dgm:pt modelId="{C9DB1105-162F-406F-9046-4051ED3056B7}" type="pres">
      <dgm:prSet presAssocID="{37CCC937-0BA2-4C9B-A950-40E010587AD2}" presName="compNode" presStyleCnt="0"/>
      <dgm:spPr/>
    </dgm:pt>
    <dgm:pt modelId="{034460A0-160A-4AB2-B461-C7E1CE2F16E7}" type="pres">
      <dgm:prSet presAssocID="{37CCC937-0BA2-4C9B-A950-40E010587AD2}"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Gauge"/>
        </a:ext>
      </dgm:extLst>
    </dgm:pt>
    <dgm:pt modelId="{465C1DA8-A1EF-4780-9303-FE2C0A4FFF4F}" type="pres">
      <dgm:prSet presAssocID="{37CCC937-0BA2-4C9B-A950-40E010587AD2}" presName="iconSpace" presStyleCnt="0"/>
      <dgm:spPr/>
    </dgm:pt>
    <dgm:pt modelId="{68C5483E-9255-4A82-896F-C917AC06ECB8}" type="pres">
      <dgm:prSet presAssocID="{37CCC937-0BA2-4C9B-A950-40E010587AD2}" presName="parTx" presStyleLbl="revTx" presStyleIdx="6" presStyleCnt="12">
        <dgm:presLayoutVars>
          <dgm:chMax val="0"/>
          <dgm:chPref val="0"/>
        </dgm:presLayoutVars>
      </dgm:prSet>
      <dgm:spPr/>
    </dgm:pt>
    <dgm:pt modelId="{4A35EA36-D467-4F0F-800E-C6BEDAEAF906}" type="pres">
      <dgm:prSet presAssocID="{37CCC937-0BA2-4C9B-A950-40E010587AD2}" presName="txSpace" presStyleCnt="0"/>
      <dgm:spPr/>
    </dgm:pt>
    <dgm:pt modelId="{16273255-3A96-4664-ABF9-5A6F7CF652FD}" type="pres">
      <dgm:prSet presAssocID="{37CCC937-0BA2-4C9B-A950-40E010587AD2}" presName="desTx" presStyleLbl="revTx" presStyleIdx="7" presStyleCnt="12">
        <dgm:presLayoutVars/>
      </dgm:prSet>
      <dgm:spPr/>
    </dgm:pt>
    <dgm:pt modelId="{9F06B306-CD00-4CBD-B8DF-CDB037087D22}" type="pres">
      <dgm:prSet presAssocID="{9562F72F-5AB2-4C78-9C80-F62F19939D20}" presName="sibTrans" presStyleCnt="0"/>
      <dgm:spPr/>
    </dgm:pt>
    <dgm:pt modelId="{9779967C-C7F8-4F81-8F00-E783E50E7001}" type="pres">
      <dgm:prSet presAssocID="{9B8DD260-DEBA-428C-91F4-13BC13752389}" presName="compNode" presStyleCnt="0"/>
      <dgm:spPr/>
    </dgm:pt>
    <dgm:pt modelId="{E32AC405-30FD-4041-900D-D2D4EE03B0DA}" type="pres">
      <dgm:prSet presAssocID="{9B8DD260-DEBA-428C-91F4-13BC13752389}"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Research"/>
        </a:ext>
      </dgm:extLst>
    </dgm:pt>
    <dgm:pt modelId="{34DF1EB4-A7A7-4180-B35C-9137FCFEBE5C}" type="pres">
      <dgm:prSet presAssocID="{9B8DD260-DEBA-428C-91F4-13BC13752389}" presName="iconSpace" presStyleCnt="0"/>
      <dgm:spPr/>
    </dgm:pt>
    <dgm:pt modelId="{2D30791F-C3CC-4D72-8178-FF0C405EC5C8}" type="pres">
      <dgm:prSet presAssocID="{9B8DD260-DEBA-428C-91F4-13BC13752389}" presName="parTx" presStyleLbl="revTx" presStyleIdx="8" presStyleCnt="12">
        <dgm:presLayoutVars>
          <dgm:chMax val="0"/>
          <dgm:chPref val="0"/>
        </dgm:presLayoutVars>
      </dgm:prSet>
      <dgm:spPr/>
    </dgm:pt>
    <dgm:pt modelId="{7E7F9F72-9EBE-429D-84AE-0C4CE5732EC2}" type="pres">
      <dgm:prSet presAssocID="{9B8DD260-DEBA-428C-91F4-13BC13752389}" presName="txSpace" presStyleCnt="0"/>
      <dgm:spPr/>
    </dgm:pt>
    <dgm:pt modelId="{FB5E316D-0872-4EB5-A970-2528CF0CC74C}" type="pres">
      <dgm:prSet presAssocID="{9B8DD260-DEBA-428C-91F4-13BC13752389}" presName="desTx" presStyleLbl="revTx" presStyleIdx="9" presStyleCnt="12">
        <dgm:presLayoutVars/>
      </dgm:prSet>
      <dgm:spPr/>
    </dgm:pt>
    <dgm:pt modelId="{E47FB5B1-FDDF-4DA4-BECC-DD364F91C912}" type="pres">
      <dgm:prSet presAssocID="{A138E6C9-5858-4143-9B02-ED5864A9D522}" presName="sibTrans" presStyleCnt="0"/>
      <dgm:spPr/>
    </dgm:pt>
    <dgm:pt modelId="{5EE7D55C-3214-4C6C-BD9E-914BA0457298}" type="pres">
      <dgm:prSet presAssocID="{1578442A-DA2A-49D2-9E77-E278B171B8AE}" presName="compNode" presStyleCnt="0"/>
      <dgm:spPr/>
    </dgm:pt>
    <dgm:pt modelId="{19B96D80-5012-460F-9D39-9C4B4E402FF0}" type="pres">
      <dgm:prSet presAssocID="{1578442A-DA2A-49D2-9E77-E278B171B8AE}"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dgm:spPr>
      <dgm:extLst>
        <a:ext uri="{E40237B7-FDA0-4F09-8148-C483321AD2D9}">
          <dgm14:cNvPr xmlns:dgm14="http://schemas.microsoft.com/office/drawing/2010/diagram" id="0" name="" descr="Ruler"/>
        </a:ext>
      </dgm:extLst>
    </dgm:pt>
    <dgm:pt modelId="{8996F742-2D6C-4A57-BF3B-1C9D3206A8E3}" type="pres">
      <dgm:prSet presAssocID="{1578442A-DA2A-49D2-9E77-E278B171B8AE}" presName="iconSpace" presStyleCnt="0"/>
      <dgm:spPr/>
    </dgm:pt>
    <dgm:pt modelId="{F09F2A1B-DA2E-4418-A6DE-7DE308BA316D}" type="pres">
      <dgm:prSet presAssocID="{1578442A-DA2A-49D2-9E77-E278B171B8AE}" presName="parTx" presStyleLbl="revTx" presStyleIdx="10" presStyleCnt="12">
        <dgm:presLayoutVars>
          <dgm:chMax val="0"/>
          <dgm:chPref val="0"/>
        </dgm:presLayoutVars>
      </dgm:prSet>
      <dgm:spPr/>
    </dgm:pt>
    <dgm:pt modelId="{55E1DEA8-5A8E-4B77-BCEF-06F530DA9014}" type="pres">
      <dgm:prSet presAssocID="{1578442A-DA2A-49D2-9E77-E278B171B8AE}" presName="txSpace" presStyleCnt="0"/>
      <dgm:spPr/>
    </dgm:pt>
    <dgm:pt modelId="{BF6326F4-8BB3-45DF-8AFD-117DCBBC36D9}" type="pres">
      <dgm:prSet presAssocID="{1578442A-DA2A-49D2-9E77-E278B171B8AE}" presName="desTx" presStyleLbl="revTx" presStyleIdx="11" presStyleCnt="12">
        <dgm:presLayoutVars/>
      </dgm:prSet>
      <dgm:spPr/>
    </dgm:pt>
  </dgm:ptLst>
  <dgm:cxnLst>
    <dgm:cxn modelId="{893D8006-B405-4C20-A2F4-86F7D1AF5074}" type="presOf" srcId="{22FF5DC8-D40C-40CE-B01C-8DFD7DDE7CC7}" destId="{9B32CE45-B84E-4A1E-9DDD-09FF7F631778}" srcOrd="0" destOrd="0" presId="urn:microsoft.com/office/officeart/2018/2/layout/IconLabelDescriptionList"/>
    <dgm:cxn modelId="{9C0FCC0A-4218-414B-8337-BC24492871C4}" srcId="{37CCC937-0BA2-4C9B-A950-40E010587AD2}" destId="{EFAC60ED-450E-40E9-931B-3B959C46AC70}" srcOrd="1" destOrd="0" parTransId="{8F38AEEA-68C3-41FB-800D-4D2BDA2D0921}" sibTransId="{EFB7E751-0C55-4F4B-9D09-E0F188F1D06B}"/>
    <dgm:cxn modelId="{5D42890D-37D3-4DDB-97A7-82C58B6F491F}" srcId="{37CCC937-0BA2-4C9B-A950-40E010587AD2}" destId="{30DCB2DD-BA60-481F-A64F-62405C36CFF9}" srcOrd="0" destOrd="0" parTransId="{B51E62E7-FDE3-4C35-B26E-2BA42425C75B}" sibTransId="{9460C228-3ADC-4058-8E2C-CBD0781F64A2}"/>
    <dgm:cxn modelId="{9DCDA111-4673-48A9-8A07-A24BD03453A9}" srcId="{71F273C6-90A2-4A3B-8BA3-05AAF92A7BAE}" destId="{73440F75-2AAA-4C2B-B3E8-14E338E508CB}" srcOrd="2" destOrd="0" parTransId="{F57C6FEB-B7A3-4EB2-BB37-F5C5D0B7AC09}" sibTransId="{331D6214-D1F6-445B-9A8C-1655B3D6F898}"/>
    <dgm:cxn modelId="{59A4101A-D510-41B0-A83F-E7328144D3E2}" srcId="{71F273C6-90A2-4A3B-8BA3-05AAF92A7BAE}" destId="{9B8DD260-DEBA-428C-91F4-13BC13752389}" srcOrd="4" destOrd="0" parTransId="{6D4CEB64-0AA7-4632-9A09-7A62CFAAA326}" sibTransId="{A138E6C9-5858-4143-9B02-ED5864A9D522}"/>
    <dgm:cxn modelId="{413C391F-1172-432D-92B5-2D1616C0D298}" srcId="{1578442A-DA2A-49D2-9E77-E278B171B8AE}" destId="{0CB0878B-C0D1-40D2-8C91-3B611876273D}" srcOrd="1" destOrd="0" parTransId="{3ED40AEF-C3D7-4001-938F-85F5796EA34E}" sibTransId="{438710FB-5EA6-44A5-8E05-90B20B1B19C8}"/>
    <dgm:cxn modelId="{545A372A-74C4-403A-92D4-95A68BD284BD}" type="presOf" srcId="{DD060133-9BDE-4D55-847F-2646B5D8F086}" destId="{004EDCD5-F6F4-4D29-BFBB-9CA95E4273DF}" srcOrd="0" destOrd="0" presId="urn:microsoft.com/office/officeart/2018/2/layout/IconLabelDescriptionList"/>
    <dgm:cxn modelId="{C6FBA83B-31D5-42A5-A498-7F7B3FEB6A78}" srcId="{DD060133-9BDE-4D55-847F-2646B5D8F086}" destId="{D80E7720-E34C-4E80-A5E7-4773A8635893}" srcOrd="0" destOrd="0" parTransId="{37B60466-26A4-40AE-BDC5-5DEC4B61C716}" sibTransId="{350A6D27-17DC-494C-9247-6E508C86B5BA}"/>
    <dgm:cxn modelId="{4AB3B85B-1444-4CA5-8565-F2D12AD762FD}" type="presOf" srcId="{D80E7720-E34C-4E80-A5E7-4773A8635893}" destId="{A64B8581-55F8-44BD-B27F-C104B2A008CD}" srcOrd="0" destOrd="0" presId="urn:microsoft.com/office/officeart/2018/2/layout/IconLabelDescriptionList"/>
    <dgm:cxn modelId="{42C61061-C788-4FBF-B0E8-1ADEDC31D3E9}" type="presOf" srcId="{7D0846AD-0A03-4AE9-8F2D-F6983B1A7DDF}" destId="{BF6326F4-8BB3-45DF-8AFD-117DCBBC36D9}" srcOrd="0" destOrd="0" presId="urn:microsoft.com/office/officeart/2018/2/layout/IconLabelDescriptionList"/>
    <dgm:cxn modelId="{845DA342-D996-44B3-B0F6-155FFC1D3823}" type="presOf" srcId="{0CB0878B-C0D1-40D2-8C91-3B611876273D}" destId="{BF6326F4-8BB3-45DF-8AFD-117DCBBC36D9}" srcOrd="0" destOrd="1" presId="urn:microsoft.com/office/officeart/2018/2/layout/IconLabelDescriptionList"/>
    <dgm:cxn modelId="{936F5F67-CF9F-4933-AA71-849990C707C5}" type="presOf" srcId="{F79129A3-4A4B-42EC-ACDE-43C0E5F8E67E}" destId="{FB5E316D-0872-4EB5-A970-2528CF0CC74C}" srcOrd="0" destOrd="1" presId="urn:microsoft.com/office/officeart/2018/2/layout/IconLabelDescriptionList"/>
    <dgm:cxn modelId="{9336D048-C216-4153-A741-7FBF55620F0F}" type="presOf" srcId="{1578442A-DA2A-49D2-9E77-E278B171B8AE}" destId="{F09F2A1B-DA2E-4418-A6DE-7DE308BA316D}" srcOrd="0" destOrd="0" presId="urn:microsoft.com/office/officeart/2018/2/layout/IconLabelDescriptionList"/>
    <dgm:cxn modelId="{A571696A-84D5-4790-A423-B545B9F83398}" srcId="{9B8DD260-DEBA-428C-91F4-13BC13752389}" destId="{F79129A3-4A4B-42EC-ACDE-43C0E5F8E67E}" srcOrd="1" destOrd="0" parTransId="{9196E532-3CB6-4B95-98F2-7BB0AFF9EC4A}" sibTransId="{410B5CD0-9FFA-4D4E-A325-9A64F4166BFC}"/>
    <dgm:cxn modelId="{7F089A5A-9B24-45C6-85AE-8817402BFA77}" srcId="{71F273C6-90A2-4A3B-8BA3-05AAF92A7BAE}" destId="{37CCC937-0BA2-4C9B-A950-40E010587AD2}" srcOrd="3" destOrd="0" parTransId="{FE963D0A-4CC4-4BDC-951E-0DF75622CB68}" sibTransId="{9562F72F-5AB2-4C78-9C80-F62F19939D20}"/>
    <dgm:cxn modelId="{A6AD987B-68F9-45F3-B364-898C9D8917E8}" type="presOf" srcId="{90661510-DF0A-4E05-9CAF-8E86D7ED323D}" destId="{FB5E316D-0872-4EB5-A970-2528CF0CC74C}" srcOrd="0" destOrd="0" presId="urn:microsoft.com/office/officeart/2018/2/layout/IconLabelDescriptionList"/>
    <dgm:cxn modelId="{01644B7D-47C6-4697-9C6F-E1B80979B22F}" type="presOf" srcId="{EFAC60ED-450E-40E9-931B-3B959C46AC70}" destId="{16273255-3A96-4664-ABF9-5A6F7CF652FD}" srcOrd="0" destOrd="1" presId="urn:microsoft.com/office/officeart/2018/2/layout/IconLabelDescriptionList"/>
    <dgm:cxn modelId="{3B1F778A-A7E4-4233-ABE4-4939F22D718A}" srcId="{9B8DD260-DEBA-428C-91F4-13BC13752389}" destId="{90661510-DF0A-4E05-9CAF-8E86D7ED323D}" srcOrd="0" destOrd="0" parTransId="{5A933B69-0B56-4FE3-AA8C-B005FEC971AC}" sibTransId="{DD766239-E9CA-49B5-80AE-7EF09142D14C}"/>
    <dgm:cxn modelId="{59F6798B-B7E7-49B3-80D6-FCE52CEC5DF1}" type="presOf" srcId="{9B8DD260-DEBA-428C-91F4-13BC13752389}" destId="{2D30791F-C3CC-4D72-8178-FF0C405EC5C8}" srcOrd="0" destOrd="0" presId="urn:microsoft.com/office/officeart/2018/2/layout/IconLabelDescriptionList"/>
    <dgm:cxn modelId="{81670F96-283F-415A-B886-9DA5F5B14A84}" type="presOf" srcId="{E4748C10-B355-4196-ABCD-0553AC080A45}" destId="{5CE668D1-D082-43DA-AF33-9563095CD879}" srcOrd="0" destOrd="0" presId="urn:microsoft.com/office/officeart/2018/2/layout/IconLabelDescriptionList"/>
    <dgm:cxn modelId="{E07D78A0-825E-4A87-91F4-57700A0E6CF0}" type="presOf" srcId="{37CCC937-0BA2-4C9B-A950-40E010587AD2}" destId="{68C5483E-9255-4A82-896F-C917AC06ECB8}" srcOrd="0" destOrd="0" presId="urn:microsoft.com/office/officeart/2018/2/layout/IconLabelDescriptionList"/>
    <dgm:cxn modelId="{948528B0-F54C-49B4-BD15-89A52A1BDAF1}" srcId="{71F273C6-90A2-4A3B-8BA3-05AAF92A7BAE}" destId="{DD060133-9BDE-4D55-847F-2646B5D8F086}" srcOrd="1" destOrd="0" parTransId="{D43FD702-160E-4EA5-B97D-7C03BC52D87D}" sibTransId="{73592278-FCC1-4C9A-A593-82A6BF3A509F}"/>
    <dgm:cxn modelId="{0CE8EAB9-71F5-4787-99D2-D4018134756E}" type="presOf" srcId="{73440F75-2AAA-4C2B-B3E8-14E338E508CB}" destId="{6928E9B5-5BEA-483D-9645-FA542FD05D43}" srcOrd="0" destOrd="0" presId="urn:microsoft.com/office/officeart/2018/2/layout/IconLabelDescriptionList"/>
    <dgm:cxn modelId="{390DCDBD-E720-4E42-8E52-907DC3DAF5C0}" srcId="{75A65946-8C49-4E26-B3FC-D33975C5F0E8}" destId="{22FF5DC8-D40C-40CE-B01C-8DFD7DDE7CC7}" srcOrd="0" destOrd="0" parTransId="{DADF330F-0AB3-4933-A080-D4309D0496AE}" sibTransId="{0F935047-0620-4B1A-94F3-EF5CAD76911E}"/>
    <dgm:cxn modelId="{541799C3-A281-41CA-885D-7FBE1BADB2B8}" srcId="{71F273C6-90A2-4A3B-8BA3-05AAF92A7BAE}" destId="{1578442A-DA2A-49D2-9E77-E278B171B8AE}" srcOrd="5" destOrd="0" parTransId="{2CB3E898-97FA-4742-AEAE-3FFC16FD0D14}" sibTransId="{F81A9392-2283-4813-B948-48B8EA5AF98F}"/>
    <dgm:cxn modelId="{FDA700CB-A852-47E4-9C48-36443C83CAE2}" srcId="{71F273C6-90A2-4A3B-8BA3-05AAF92A7BAE}" destId="{75A65946-8C49-4E26-B3FC-D33975C5F0E8}" srcOrd="0" destOrd="0" parTransId="{22304767-ED56-4B7D-B845-C2475C962F39}" sibTransId="{26E41366-22B3-4661-99D5-13A34FC6D978}"/>
    <dgm:cxn modelId="{ACB921D2-BBEE-4477-9C9B-AF5CEC3032FA}" srcId="{1578442A-DA2A-49D2-9E77-E278B171B8AE}" destId="{7D0846AD-0A03-4AE9-8F2D-F6983B1A7DDF}" srcOrd="0" destOrd="0" parTransId="{844D05DB-90FB-4A67-AB9D-3AD4385D55D8}" sibTransId="{47680C51-9057-4A42-A92E-75B507314B89}"/>
    <dgm:cxn modelId="{7DD559D6-A78C-4666-BE78-7B843E136215}" srcId="{73440F75-2AAA-4C2B-B3E8-14E338E508CB}" destId="{E4748C10-B355-4196-ABCD-0553AC080A45}" srcOrd="0" destOrd="0" parTransId="{24C3D76D-662E-4E40-AF7F-C4835602C2FF}" sibTransId="{168EEDF3-C030-41C6-AF0D-F32D6077F268}"/>
    <dgm:cxn modelId="{34AC35DA-9FA5-41F5-9E1E-A4D5097CEB6E}" type="presOf" srcId="{75A65946-8C49-4E26-B3FC-D33975C5F0E8}" destId="{D2B50A89-EFF0-42FA-A913-3977A82D5139}" srcOrd="0" destOrd="0" presId="urn:microsoft.com/office/officeart/2018/2/layout/IconLabelDescriptionList"/>
    <dgm:cxn modelId="{748068EC-FF8E-4EAF-B9C6-A6730C8B1231}" type="presOf" srcId="{30DCB2DD-BA60-481F-A64F-62405C36CFF9}" destId="{16273255-3A96-4664-ABF9-5A6F7CF652FD}" srcOrd="0" destOrd="0" presId="urn:microsoft.com/office/officeart/2018/2/layout/IconLabelDescriptionList"/>
    <dgm:cxn modelId="{2625D9F2-276F-4F62-A6B0-449494A1B61E}" type="presOf" srcId="{71F273C6-90A2-4A3B-8BA3-05AAF92A7BAE}" destId="{FC55391C-B403-4C00-822B-AE8D0B56DEF3}" srcOrd="0" destOrd="0" presId="urn:microsoft.com/office/officeart/2018/2/layout/IconLabelDescriptionList"/>
    <dgm:cxn modelId="{46D5D3E5-C139-4863-A0D9-A05E582772AE}" type="presParOf" srcId="{FC55391C-B403-4C00-822B-AE8D0B56DEF3}" destId="{A8BA3FAC-55D0-47CF-BF48-37DE8D1A0822}" srcOrd="0" destOrd="0" presId="urn:microsoft.com/office/officeart/2018/2/layout/IconLabelDescriptionList"/>
    <dgm:cxn modelId="{AC4B1BDE-CA29-4221-B099-CA80010075AB}" type="presParOf" srcId="{A8BA3FAC-55D0-47CF-BF48-37DE8D1A0822}" destId="{218157BA-BB03-4204-8930-1EF8900026E8}" srcOrd="0" destOrd="0" presId="urn:microsoft.com/office/officeart/2018/2/layout/IconLabelDescriptionList"/>
    <dgm:cxn modelId="{838C40AE-3EC1-42FE-A26A-225A253BD6EC}" type="presParOf" srcId="{A8BA3FAC-55D0-47CF-BF48-37DE8D1A0822}" destId="{520F22E5-8541-4446-9C7D-4B4D3BA3E742}" srcOrd="1" destOrd="0" presId="urn:microsoft.com/office/officeart/2018/2/layout/IconLabelDescriptionList"/>
    <dgm:cxn modelId="{13527780-FE9C-48F2-A124-26DA82FBF5F0}" type="presParOf" srcId="{A8BA3FAC-55D0-47CF-BF48-37DE8D1A0822}" destId="{D2B50A89-EFF0-42FA-A913-3977A82D5139}" srcOrd="2" destOrd="0" presId="urn:microsoft.com/office/officeart/2018/2/layout/IconLabelDescriptionList"/>
    <dgm:cxn modelId="{332DBD20-5BB2-4F28-9791-3D8AD5F8B351}" type="presParOf" srcId="{A8BA3FAC-55D0-47CF-BF48-37DE8D1A0822}" destId="{7A77B319-0A4F-4075-9229-D78B7E21EA77}" srcOrd="3" destOrd="0" presId="urn:microsoft.com/office/officeart/2018/2/layout/IconLabelDescriptionList"/>
    <dgm:cxn modelId="{9523DA4D-712F-4F2C-92A0-F05516ACB096}" type="presParOf" srcId="{A8BA3FAC-55D0-47CF-BF48-37DE8D1A0822}" destId="{9B32CE45-B84E-4A1E-9DDD-09FF7F631778}" srcOrd="4" destOrd="0" presId="urn:microsoft.com/office/officeart/2018/2/layout/IconLabelDescriptionList"/>
    <dgm:cxn modelId="{5E012E47-FFE1-4F26-9691-0FD2B14F2499}" type="presParOf" srcId="{FC55391C-B403-4C00-822B-AE8D0B56DEF3}" destId="{2BB8FFF4-16FE-46AF-85A4-2865F1C35BAB}" srcOrd="1" destOrd="0" presId="urn:microsoft.com/office/officeart/2018/2/layout/IconLabelDescriptionList"/>
    <dgm:cxn modelId="{DBFB65BD-1828-43EF-B99A-789532EEBC60}" type="presParOf" srcId="{FC55391C-B403-4C00-822B-AE8D0B56DEF3}" destId="{B4E60ABA-E1FF-4B2E-989B-C1EAB569F13D}" srcOrd="2" destOrd="0" presId="urn:microsoft.com/office/officeart/2018/2/layout/IconLabelDescriptionList"/>
    <dgm:cxn modelId="{765024FF-B752-4566-B5DC-B32603BBA31B}" type="presParOf" srcId="{B4E60ABA-E1FF-4B2E-989B-C1EAB569F13D}" destId="{F0B1679A-D843-4CF6-B00C-32D7E48B79FB}" srcOrd="0" destOrd="0" presId="urn:microsoft.com/office/officeart/2018/2/layout/IconLabelDescriptionList"/>
    <dgm:cxn modelId="{35DD7134-190A-4E58-A245-C515AF0C64F2}" type="presParOf" srcId="{B4E60ABA-E1FF-4B2E-989B-C1EAB569F13D}" destId="{E1816356-207B-423B-A447-3DEB12E07621}" srcOrd="1" destOrd="0" presId="urn:microsoft.com/office/officeart/2018/2/layout/IconLabelDescriptionList"/>
    <dgm:cxn modelId="{35214474-CCA4-4D22-A9D6-0DF4B672EFE4}" type="presParOf" srcId="{B4E60ABA-E1FF-4B2E-989B-C1EAB569F13D}" destId="{004EDCD5-F6F4-4D29-BFBB-9CA95E4273DF}" srcOrd="2" destOrd="0" presId="urn:microsoft.com/office/officeart/2018/2/layout/IconLabelDescriptionList"/>
    <dgm:cxn modelId="{BAFA38AE-A757-493A-B08B-A1C2F91809F3}" type="presParOf" srcId="{B4E60ABA-E1FF-4B2E-989B-C1EAB569F13D}" destId="{49235B2D-97D0-456F-83B8-B9378732784D}" srcOrd="3" destOrd="0" presId="urn:microsoft.com/office/officeart/2018/2/layout/IconLabelDescriptionList"/>
    <dgm:cxn modelId="{4E038DBF-C4F8-44B4-B651-2960A5E7BC1C}" type="presParOf" srcId="{B4E60ABA-E1FF-4B2E-989B-C1EAB569F13D}" destId="{A64B8581-55F8-44BD-B27F-C104B2A008CD}" srcOrd="4" destOrd="0" presId="urn:microsoft.com/office/officeart/2018/2/layout/IconLabelDescriptionList"/>
    <dgm:cxn modelId="{3D40C299-AEF4-4AAB-B2AD-547669B7BAE4}" type="presParOf" srcId="{FC55391C-B403-4C00-822B-AE8D0B56DEF3}" destId="{0563DC62-1AA2-444E-9127-8AC86E650013}" srcOrd="3" destOrd="0" presId="urn:microsoft.com/office/officeart/2018/2/layout/IconLabelDescriptionList"/>
    <dgm:cxn modelId="{7E8A4631-97FA-4DB7-B6CE-FF1510EE68B3}" type="presParOf" srcId="{FC55391C-B403-4C00-822B-AE8D0B56DEF3}" destId="{697FE4D5-B905-4148-9E90-C6445BC23A2E}" srcOrd="4" destOrd="0" presId="urn:microsoft.com/office/officeart/2018/2/layout/IconLabelDescriptionList"/>
    <dgm:cxn modelId="{93572F87-1511-4B17-BC50-731B5E7C7A29}" type="presParOf" srcId="{697FE4D5-B905-4148-9E90-C6445BC23A2E}" destId="{B467AF67-3E2B-4303-84F5-F64CBF76E05D}" srcOrd="0" destOrd="0" presId="urn:microsoft.com/office/officeart/2018/2/layout/IconLabelDescriptionList"/>
    <dgm:cxn modelId="{D1A46F5D-2101-4C55-8B6B-C53ED0A113A3}" type="presParOf" srcId="{697FE4D5-B905-4148-9E90-C6445BC23A2E}" destId="{7CEDDC50-7769-4848-866C-5BEE3072FAF1}" srcOrd="1" destOrd="0" presId="urn:microsoft.com/office/officeart/2018/2/layout/IconLabelDescriptionList"/>
    <dgm:cxn modelId="{C35BC894-A699-4775-9B06-96B209F24F63}" type="presParOf" srcId="{697FE4D5-B905-4148-9E90-C6445BC23A2E}" destId="{6928E9B5-5BEA-483D-9645-FA542FD05D43}" srcOrd="2" destOrd="0" presId="urn:microsoft.com/office/officeart/2018/2/layout/IconLabelDescriptionList"/>
    <dgm:cxn modelId="{7029E8FA-0F05-427A-B621-0CACF0531832}" type="presParOf" srcId="{697FE4D5-B905-4148-9E90-C6445BC23A2E}" destId="{2DCD4E88-8E8F-4659-9C55-BB08D0E2F636}" srcOrd="3" destOrd="0" presId="urn:microsoft.com/office/officeart/2018/2/layout/IconLabelDescriptionList"/>
    <dgm:cxn modelId="{79BE71A7-36C9-48B1-B8C1-EE4B802B3F02}" type="presParOf" srcId="{697FE4D5-B905-4148-9E90-C6445BC23A2E}" destId="{5CE668D1-D082-43DA-AF33-9563095CD879}" srcOrd="4" destOrd="0" presId="urn:microsoft.com/office/officeart/2018/2/layout/IconLabelDescriptionList"/>
    <dgm:cxn modelId="{6BF12EB7-3938-45EF-B422-5141886E159F}" type="presParOf" srcId="{FC55391C-B403-4C00-822B-AE8D0B56DEF3}" destId="{6CCDC448-FB3D-4677-8458-B1A382BCD876}" srcOrd="5" destOrd="0" presId="urn:microsoft.com/office/officeart/2018/2/layout/IconLabelDescriptionList"/>
    <dgm:cxn modelId="{8A6DCFF1-C0CB-452A-9A47-9797C33A4673}" type="presParOf" srcId="{FC55391C-B403-4C00-822B-AE8D0B56DEF3}" destId="{C9DB1105-162F-406F-9046-4051ED3056B7}" srcOrd="6" destOrd="0" presId="urn:microsoft.com/office/officeart/2018/2/layout/IconLabelDescriptionList"/>
    <dgm:cxn modelId="{86E33FBF-F3E0-4EC5-8AD9-B5FCEFA04C0F}" type="presParOf" srcId="{C9DB1105-162F-406F-9046-4051ED3056B7}" destId="{034460A0-160A-4AB2-B461-C7E1CE2F16E7}" srcOrd="0" destOrd="0" presId="urn:microsoft.com/office/officeart/2018/2/layout/IconLabelDescriptionList"/>
    <dgm:cxn modelId="{4CD4B81B-3140-4BA2-BFFC-94ECE67B5C75}" type="presParOf" srcId="{C9DB1105-162F-406F-9046-4051ED3056B7}" destId="{465C1DA8-A1EF-4780-9303-FE2C0A4FFF4F}" srcOrd="1" destOrd="0" presId="urn:microsoft.com/office/officeart/2018/2/layout/IconLabelDescriptionList"/>
    <dgm:cxn modelId="{EDEC6506-A50E-4920-BAC0-60120F3AAC0A}" type="presParOf" srcId="{C9DB1105-162F-406F-9046-4051ED3056B7}" destId="{68C5483E-9255-4A82-896F-C917AC06ECB8}" srcOrd="2" destOrd="0" presId="urn:microsoft.com/office/officeart/2018/2/layout/IconLabelDescriptionList"/>
    <dgm:cxn modelId="{DB1B4D6B-6B7F-480C-A7E2-B9264A714FEB}" type="presParOf" srcId="{C9DB1105-162F-406F-9046-4051ED3056B7}" destId="{4A35EA36-D467-4F0F-800E-C6BEDAEAF906}" srcOrd="3" destOrd="0" presId="urn:microsoft.com/office/officeart/2018/2/layout/IconLabelDescriptionList"/>
    <dgm:cxn modelId="{4DAB7208-F076-4C5B-8DB8-D5A590ACF9B8}" type="presParOf" srcId="{C9DB1105-162F-406F-9046-4051ED3056B7}" destId="{16273255-3A96-4664-ABF9-5A6F7CF652FD}" srcOrd="4" destOrd="0" presId="urn:microsoft.com/office/officeart/2018/2/layout/IconLabelDescriptionList"/>
    <dgm:cxn modelId="{03D5AD45-AB69-43EA-AE94-DA7DBB1CF2D3}" type="presParOf" srcId="{FC55391C-B403-4C00-822B-AE8D0B56DEF3}" destId="{9F06B306-CD00-4CBD-B8DF-CDB037087D22}" srcOrd="7" destOrd="0" presId="urn:microsoft.com/office/officeart/2018/2/layout/IconLabelDescriptionList"/>
    <dgm:cxn modelId="{561B062E-E387-4AA3-824D-366F0A79150E}" type="presParOf" srcId="{FC55391C-B403-4C00-822B-AE8D0B56DEF3}" destId="{9779967C-C7F8-4F81-8F00-E783E50E7001}" srcOrd="8" destOrd="0" presId="urn:microsoft.com/office/officeart/2018/2/layout/IconLabelDescriptionList"/>
    <dgm:cxn modelId="{45FAF2A4-AA59-46DF-BE8E-D1EBC6305389}" type="presParOf" srcId="{9779967C-C7F8-4F81-8F00-E783E50E7001}" destId="{E32AC405-30FD-4041-900D-D2D4EE03B0DA}" srcOrd="0" destOrd="0" presId="urn:microsoft.com/office/officeart/2018/2/layout/IconLabelDescriptionList"/>
    <dgm:cxn modelId="{EEE3D109-A5FA-484C-B990-6FD5660976C7}" type="presParOf" srcId="{9779967C-C7F8-4F81-8F00-E783E50E7001}" destId="{34DF1EB4-A7A7-4180-B35C-9137FCFEBE5C}" srcOrd="1" destOrd="0" presId="urn:microsoft.com/office/officeart/2018/2/layout/IconLabelDescriptionList"/>
    <dgm:cxn modelId="{45A653CF-5B81-4364-8B37-3E004B7ECCBD}" type="presParOf" srcId="{9779967C-C7F8-4F81-8F00-E783E50E7001}" destId="{2D30791F-C3CC-4D72-8178-FF0C405EC5C8}" srcOrd="2" destOrd="0" presId="urn:microsoft.com/office/officeart/2018/2/layout/IconLabelDescriptionList"/>
    <dgm:cxn modelId="{31247929-D30F-4B8C-8DFA-72D228F95965}" type="presParOf" srcId="{9779967C-C7F8-4F81-8F00-E783E50E7001}" destId="{7E7F9F72-9EBE-429D-84AE-0C4CE5732EC2}" srcOrd="3" destOrd="0" presId="urn:microsoft.com/office/officeart/2018/2/layout/IconLabelDescriptionList"/>
    <dgm:cxn modelId="{F7EA3423-C9F2-4E31-8363-EF1DBFF745D0}" type="presParOf" srcId="{9779967C-C7F8-4F81-8F00-E783E50E7001}" destId="{FB5E316D-0872-4EB5-A970-2528CF0CC74C}" srcOrd="4" destOrd="0" presId="urn:microsoft.com/office/officeart/2018/2/layout/IconLabelDescriptionList"/>
    <dgm:cxn modelId="{424CF083-8290-4564-84ED-3A475459CB14}" type="presParOf" srcId="{FC55391C-B403-4C00-822B-AE8D0B56DEF3}" destId="{E47FB5B1-FDDF-4DA4-BECC-DD364F91C912}" srcOrd="9" destOrd="0" presId="urn:microsoft.com/office/officeart/2018/2/layout/IconLabelDescriptionList"/>
    <dgm:cxn modelId="{9AE390D8-D85D-475C-B4E2-3014E3164577}" type="presParOf" srcId="{FC55391C-B403-4C00-822B-AE8D0B56DEF3}" destId="{5EE7D55C-3214-4C6C-BD9E-914BA0457298}" srcOrd="10" destOrd="0" presId="urn:microsoft.com/office/officeart/2018/2/layout/IconLabelDescriptionList"/>
    <dgm:cxn modelId="{19B84DB2-7D2E-4B3D-A949-BE3CCF199878}" type="presParOf" srcId="{5EE7D55C-3214-4C6C-BD9E-914BA0457298}" destId="{19B96D80-5012-460F-9D39-9C4B4E402FF0}" srcOrd="0" destOrd="0" presId="urn:microsoft.com/office/officeart/2018/2/layout/IconLabelDescriptionList"/>
    <dgm:cxn modelId="{361C0310-1D72-46E5-91A7-5EED16C4F3E1}" type="presParOf" srcId="{5EE7D55C-3214-4C6C-BD9E-914BA0457298}" destId="{8996F742-2D6C-4A57-BF3B-1C9D3206A8E3}" srcOrd="1" destOrd="0" presId="urn:microsoft.com/office/officeart/2018/2/layout/IconLabelDescriptionList"/>
    <dgm:cxn modelId="{763686F0-7ECA-4E5F-83E8-5B36449D0F6D}" type="presParOf" srcId="{5EE7D55C-3214-4C6C-BD9E-914BA0457298}" destId="{F09F2A1B-DA2E-4418-A6DE-7DE308BA316D}" srcOrd="2" destOrd="0" presId="urn:microsoft.com/office/officeart/2018/2/layout/IconLabelDescriptionList"/>
    <dgm:cxn modelId="{786BA8A0-898D-48B6-8CA0-0366E1D12393}" type="presParOf" srcId="{5EE7D55C-3214-4C6C-BD9E-914BA0457298}" destId="{55E1DEA8-5A8E-4B77-BCEF-06F530DA9014}" srcOrd="3" destOrd="0" presId="urn:microsoft.com/office/officeart/2018/2/layout/IconLabelDescriptionList"/>
    <dgm:cxn modelId="{B80B4044-19AD-433E-A810-797E554AF17A}" type="presParOf" srcId="{5EE7D55C-3214-4C6C-BD9E-914BA0457298}" destId="{BF6326F4-8BB3-45DF-8AFD-117DCBBC36D9}" srcOrd="4" destOrd="0" presId="urn:microsoft.com/office/officeart/2018/2/layout/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BDFF52ED-2391-41DC-BD2E-B49DD1D799F2}"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B2FB2392-171B-411E-BE98-9EDAD3885620}">
      <dgm:prSet/>
      <dgm:spPr/>
      <dgm:t>
        <a:bodyPr/>
        <a:lstStyle/>
        <a:p>
          <a:r>
            <a:rPr lang="en-US" baseline="0"/>
            <a:t>Create new compute instance for the elastic pool</a:t>
          </a:r>
          <a:endParaRPr lang="en-US"/>
        </a:p>
      </dgm:t>
    </dgm:pt>
    <dgm:pt modelId="{ED0CDEBD-4E3C-4D7A-8373-3708E00E0CD6}" type="parTrans" cxnId="{13C66A49-798E-4907-B4A1-D18CFC52B690}">
      <dgm:prSet/>
      <dgm:spPr/>
      <dgm:t>
        <a:bodyPr/>
        <a:lstStyle/>
        <a:p>
          <a:endParaRPr lang="en-US"/>
        </a:p>
      </dgm:t>
    </dgm:pt>
    <dgm:pt modelId="{6DDFB91A-9A8E-46D2-9B9F-F470B2BCD325}" type="sibTrans" cxnId="{13C66A49-798E-4907-B4A1-D18CFC52B690}">
      <dgm:prSet/>
      <dgm:spPr/>
      <dgm:t>
        <a:bodyPr/>
        <a:lstStyle/>
        <a:p>
          <a:endParaRPr lang="en-US"/>
        </a:p>
      </dgm:t>
    </dgm:pt>
    <dgm:pt modelId="{58972CC3-AF65-414B-B853-5A8AADFC7EDC}">
      <dgm:prSet/>
      <dgm:spPr/>
      <dgm:t>
        <a:bodyPr/>
        <a:lstStyle/>
        <a:p>
          <a:r>
            <a:rPr lang="en-US" baseline="0"/>
            <a:t>A new compute instance for the elastic pool is created with the requested service tier and compute size. </a:t>
          </a:r>
          <a:endParaRPr lang="en-US"/>
        </a:p>
      </dgm:t>
    </dgm:pt>
    <dgm:pt modelId="{F670F5B4-CD99-4D12-8ABF-5762B8D82D73}" type="parTrans" cxnId="{ED55E328-7010-4D2D-A1F7-556C03C817CD}">
      <dgm:prSet/>
      <dgm:spPr/>
      <dgm:t>
        <a:bodyPr/>
        <a:lstStyle/>
        <a:p>
          <a:endParaRPr lang="en-US"/>
        </a:p>
      </dgm:t>
    </dgm:pt>
    <dgm:pt modelId="{D783BCF0-F28C-4EA7-88EE-E4738247243C}" type="sibTrans" cxnId="{ED55E328-7010-4D2D-A1F7-556C03C817CD}">
      <dgm:prSet/>
      <dgm:spPr/>
      <dgm:t>
        <a:bodyPr/>
        <a:lstStyle/>
        <a:p>
          <a:endParaRPr lang="en-US"/>
        </a:p>
      </dgm:t>
    </dgm:pt>
    <dgm:pt modelId="{FA9FCE14-14AD-4584-B533-560719096FC1}">
      <dgm:prSet/>
      <dgm:spPr/>
      <dgm:t>
        <a:bodyPr/>
        <a:lstStyle/>
        <a:p>
          <a:r>
            <a:rPr lang="en-US" baseline="0"/>
            <a:t>Regardless, the databases remain online during this step, and connections continue to be directed to the databases in the original compute instance.</a:t>
          </a:r>
          <a:endParaRPr lang="en-US"/>
        </a:p>
      </dgm:t>
    </dgm:pt>
    <dgm:pt modelId="{604C56E6-C1ED-4D32-92E3-39CD036FFF0A}" type="parTrans" cxnId="{A36A3F50-65E4-42D0-9CD8-6EC22A6A4144}">
      <dgm:prSet/>
      <dgm:spPr/>
      <dgm:t>
        <a:bodyPr/>
        <a:lstStyle/>
        <a:p>
          <a:endParaRPr lang="en-US"/>
        </a:p>
      </dgm:t>
    </dgm:pt>
    <dgm:pt modelId="{01F3FF7D-4C7E-47DE-9AD0-B1371B0A127C}" type="sibTrans" cxnId="{A36A3F50-65E4-42D0-9CD8-6EC22A6A4144}">
      <dgm:prSet/>
      <dgm:spPr/>
      <dgm:t>
        <a:bodyPr/>
        <a:lstStyle/>
        <a:p>
          <a:endParaRPr lang="en-US"/>
        </a:p>
      </dgm:t>
    </dgm:pt>
    <dgm:pt modelId="{517E165D-8C49-4D8E-924E-148DA85EDE2A}">
      <dgm:prSet/>
      <dgm:spPr/>
      <dgm:t>
        <a:bodyPr/>
        <a:lstStyle/>
        <a:p>
          <a:r>
            <a:rPr lang="en-US" baseline="0" dirty="0"/>
            <a:t>Switch routing of connections to new compute instance</a:t>
          </a:r>
          <a:endParaRPr lang="en-US" dirty="0"/>
        </a:p>
      </dgm:t>
    </dgm:pt>
    <dgm:pt modelId="{2C776FA1-CC8C-4107-830A-7CEFC2206A17}" type="parTrans" cxnId="{C7C1356A-D82A-4D57-A2ED-B5DA5CECD228}">
      <dgm:prSet/>
      <dgm:spPr/>
      <dgm:t>
        <a:bodyPr/>
        <a:lstStyle/>
        <a:p>
          <a:endParaRPr lang="en-US"/>
        </a:p>
      </dgm:t>
    </dgm:pt>
    <dgm:pt modelId="{89053494-AEAD-4371-849A-BDC232DBF416}" type="sibTrans" cxnId="{C7C1356A-D82A-4D57-A2ED-B5DA5CECD228}">
      <dgm:prSet/>
      <dgm:spPr/>
      <dgm:t>
        <a:bodyPr/>
        <a:lstStyle/>
        <a:p>
          <a:endParaRPr lang="en-US"/>
        </a:p>
      </dgm:t>
    </dgm:pt>
    <dgm:pt modelId="{ABD5633F-EAEB-44F2-A4F4-E2D61D236E85}">
      <dgm:prSet/>
      <dgm:spPr/>
      <dgm:t>
        <a:bodyPr/>
        <a:lstStyle/>
        <a:p>
          <a:r>
            <a:rPr lang="en-US" baseline="0"/>
            <a:t>Existing connections to the databases in the original compute instance are dropped. </a:t>
          </a:r>
          <a:endParaRPr lang="en-US"/>
        </a:p>
      </dgm:t>
    </dgm:pt>
    <dgm:pt modelId="{4BDED9B7-DAA9-4CC9-9CF3-8AB3E14FAA51}" type="parTrans" cxnId="{22CD648F-E3AE-4A7B-9095-5875BEACCB55}">
      <dgm:prSet/>
      <dgm:spPr/>
      <dgm:t>
        <a:bodyPr/>
        <a:lstStyle/>
        <a:p>
          <a:endParaRPr lang="en-US"/>
        </a:p>
      </dgm:t>
    </dgm:pt>
    <dgm:pt modelId="{026E32A0-4BA9-439E-AB04-B0C4856592FC}" type="sibTrans" cxnId="{22CD648F-E3AE-4A7B-9095-5875BEACCB55}">
      <dgm:prSet/>
      <dgm:spPr/>
      <dgm:t>
        <a:bodyPr/>
        <a:lstStyle/>
        <a:p>
          <a:endParaRPr lang="en-US"/>
        </a:p>
      </dgm:t>
    </dgm:pt>
    <dgm:pt modelId="{B41CAF29-A982-40C2-BC13-201B300C2E31}">
      <dgm:prSet/>
      <dgm:spPr/>
      <dgm:t>
        <a:bodyPr/>
        <a:lstStyle/>
        <a:p>
          <a:r>
            <a:rPr lang="en-US" baseline="0"/>
            <a:t>Any new connections are established with the databases in the new compute instance. </a:t>
          </a:r>
          <a:r>
            <a:rPr lang="en-US" baseline="0">
              <a:hlinkClick xmlns:r="http://schemas.openxmlformats.org/officeDocument/2006/relationships" r:id="rId1"/>
            </a:rPr>
            <a:t>Accelerated Database Recovery</a:t>
          </a:r>
          <a:r>
            <a:rPr lang="en-US" baseline="0"/>
            <a:t> can reduce the impact from aborting long running transactions.</a:t>
          </a:r>
          <a:endParaRPr lang="en-US"/>
        </a:p>
      </dgm:t>
    </dgm:pt>
    <dgm:pt modelId="{B31BE4DA-AAC8-4239-980D-C61CCB022381}" type="parTrans" cxnId="{8ECB3DCB-6BEA-40A0-AFD1-536DFA60657C}">
      <dgm:prSet/>
      <dgm:spPr/>
      <dgm:t>
        <a:bodyPr/>
        <a:lstStyle/>
        <a:p>
          <a:endParaRPr lang="en-US"/>
        </a:p>
      </dgm:t>
    </dgm:pt>
    <dgm:pt modelId="{3115AF03-A694-4CBA-94A6-BBB7A545FCAF}" type="sibTrans" cxnId="{8ECB3DCB-6BEA-40A0-AFD1-536DFA60657C}">
      <dgm:prSet/>
      <dgm:spPr/>
      <dgm:t>
        <a:bodyPr/>
        <a:lstStyle/>
        <a:p>
          <a:endParaRPr lang="en-US"/>
        </a:p>
      </dgm:t>
    </dgm:pt>
    <dgm:pt modelId="{39331A24-EE69-489C-83E7-DC436E53C84B}">
      <dgm:prSet/>
      <dgm:spPr/>
      <dgm:t>
        <a:bodyPr/>
        <a:lstStyle/>
        <a:p>
          <a:r>
            <a:rPr lang="en-US" baseline="0"/>
            <a:t>No data is lost during any step in the workflow</a:t>
          </a:r>
          <a:endParaRPr lang="en-US"/>
        </a:p>
      </dgm:t>
    </dgm:pt>
    <dgm:pt modelId="{693175BB-7095-49EC-8BBB-AF9AC3A16A8C}" type="parTrans" cxnId="{A28542DD-5215-4453-8774-38085EFBE5EA}">
      <dgm:prSet/>
      <dgm:spPr/>
      <dgm:t>
        <a:bodyPr/>
        <a:lstStyle/>
        <a:p>
          <a:endParaRPr lang="en-US"/>
        </a:p>
      </dgm:t>
    </dgm:pt>
    <dgm:pt modelId="{D802386C-68A5-48CD-8843-B8D6FFAE9B36}" type="sibTrans" cxnId="{A28542DD-5215-4453-8774-38085EFBE5EA}">
      <dgm:prSet/>
      <dgm:spPr/>
      <dgm:t>
        <a:bodyPr/>
        <a:lstStyle/>
        <a:p>
          <a:endParaRPr lang="en-US"/>
        </a:p>
      </dgm:t>
    </dgm:pt>
    <dgm:pt modelId="{D3D7D151-D4F0-4940-901E-8FDE914622C1}" type="pres">
      <dgm:prSet presAssocID="{BDFF52ED-2391-41DC-BD2E-B49DD1D799F2}" presName="linear" presStyleCnt="0">
        <dgm:presLayoutVars>
          <dgm:animLvl val="lvl"/>
          <dgm:resizeHandles val="exact"/>
        </dgm:presLayoutVars>
      </dgm:prSet>
      <dgm:spPr/>
    </dgm:pt>
    <dgm:pt modelId="{EBC05C2B-2BFB-43D8-B4D7-0BE1C029A7DB}" type="pres">
      <dgm:prSet presAssocID="{B2FB2392-171B-411E-BE98-9EDAD3885620}" presName="parentText" presStyleLbl="node1" presStyleIdx="0" presStyleCnt="3">
        <dgm:presLayoutVars>
          <dgm:chMax val="0"/>
          <dgm:bulletEnabled val="1"/>
        </dgm:presLayoutVars>
      </dgm:prSet>
      <dgm:spPr/>
    </dgm:pt>
    <dgm:pt modelId="{F879075C-2938-4224-B163-955871829DC6}" type="pres">
      <dgm:prSet presAssocID="{B2FB2392-171B-411E-BE98-9EDAD3885620}" presName="childText" presStyleLbl="revTx" presStyleIdx="0" presStyleCnt="2">
        <dgm:presLayoutVars>
          <dgm:bulletEnabled val="1"/>
        </dgm:presLayoutVars>
      </dgm:prSet>
      <dgm:spPr/>
    </dgm:pt>
    <dgm:pt modelId="{296A6A5A-BA3E-4AFA-8A30-B017625F740E}" type="pres">
      <dgm:prSet presAssocID="{517E165D-8C49-4D8E-924E-148DA85EDE2A}" presName="parentText" presStyleLbl="node1" presStyleIdx="1" presStyleCnt="3">
        <dgm:presLayoutVars>
          <dgm:chMax val="0"/>
          <dgm:bulletEnabled val="1"/>
        </dgm:presLayoutVars>
      </dgm:prSet>
      <dgm:spPr/>
    </dgm:pt>
    <dgm:pt modelId="{DD755A61-51C2-4D39-86C6-49749FC88524}" type="pres">
      <dgm:prSet presAssocID="{517E165D-8C49-4D8E-924E-148DA85EDE2A}" presName="childText" presStyleLbl="revTx" presStyleIdx="1" presStyleCnt="2">
        <dgm:presLayoutVars>
          <dgm:bulletEnabled val="1"/>
        </dgm:presLayoutVars>
      </dgm:prSet>
      <dgm:spPr/>
    </dgm:pt>
    <dgm:pt modelId="{9B1A8706-B627-4A17-9DDD-784AB8F2BF66}" type="pres">
      <dgm:prSet presAssocID="{39331A24-EE69-489C-83E7-DC436E53C84B}" presName="parentText" presStyleLbl="node1" presStyleIdx="2" presStyleCnt="3">
        <dgm:presLayoutVars>
          <dgm:chMax val="0"/>
          <dgm:bulletEnabled val="1"/>
        </dgm:presLayoutVars>
      </dgm:prSet>
      <dgm:spPr/>
    </dgm:pt>
  </dgm:ptLst>
  <dgm:cxnLst>
    <dgm:cxn modelId="{271F0A20-912D-4D86-911E-D06073A1CB96}" type="presOf" srcId="{B41CAF29-A982-40C2-BC13-201B300C2E31}" destId="{DD755A61-51C2-4D39-86C6-49749FC88524}" srcOrd="0" destOrd="1" presId="urn:microsoft.com/office/officeart/2005/8/layout/vList2"/>
    <dgm:cxn modelId="{ED55E328-7010-4D2D-A1F7-556C03C817CD}" srcId="{B2FB2392-171B-411E-BE98-9EDAD3885620}" destId="{58972CC3-AF65-414B-B853-5A8AADFC7EDC}" srcOrd="0" destOrd="0" parTransId="{F670F5B4-CD99-4D12-8ABF-5762B8D82D73}" sibTransId="{D783BCF0-F28C-4EA7-88EE-E4738247243C}"/>
    <dgm:cxn modelId="{13C66A49-798E-4907-B4A1-D18CFC52B690}" srcId="{BDFF52ED-2391-41DC-BD2E-B49DD1D799F2}" destId="{B2FB2392-171B-411E-BE98-9EDAD3885620}" srcOrd="0" destOrd="0" parTransId="{ED0CDEBD-4E3C-4D7A-8373-3708E00E0CD6}" sibTransId="{6DDFB91A-9A8E-46D2-9B9F-F470B2BCD325}"/>
    <dgm:cxn modelId="{C7C1356A-D82A-4D57-A2ED-B5DA5CECD228}" srcId="{BDFF52ED-2391-41DC-BD2E-B49DD1D799F2}" destId="{517E165D-8C49-4D8E-924E-148DA85EDE2A}" srcOrd="1" destOrd="0" parTransId="{2C776FA1-CC8C-4107-830A-7CEFC2206A17}" sibTransId="{89053494-AEAD-4371-849A-BDC232DBF416}"/>
    <dgm:cxn modelId="{315E884D-51A1-4073-9643-C40AA927A6D1}" type="presOf" srcId="{39331A24-EE69-489C-83E7-DC436E53C84B}" destId="{9B1A8706-B627-4A17-9DDD-784AB8F2BF66}" srcOrd="0" destOrd="0" presId="urn:microsoft.com/office/officeart/2005/8/layout/vList2"/>
    <dgm:cxn modelId="{A36A3F50-65E4-42D0-9CD8-6EC22A6A4144}" srcId="{B2FB2392-171B-411E-BE98-9EDAD3885620}" destId="{FA9FCE14-14AD-4584-B533-560719096FC1}" srcOrd="1" destOrd="0" parTransId="{604C56E6-C1ED-4D32-92E3-39CD036FFF0A}" sibTransId="{01F3FF7D-4C7E-47DE-9AD0-B1371B0A127C}"/>
    <dgm:cxn modelId="{DC9E0E80-45CD-4316-B95D-89BF01E26B46}" type="presOf" srcId="{B2FB2392-171B-411E-BE98-9EDAD3885620}" destId="{EBC05C2B-2BFB-43D8-B4D7-0BE1C029A7DB}" srcOrd="0" destOrd="0" presId="urn:microsoft.com/office/officeart/2005/8/layout/vList2"/>
    <dgm:cxn modelId="{B1A53681-A999-40F5-A683-9B212B5FF290}" type="presOf" srcId="{ABD5633F-EAEB-44F2-A4F4-E2D61D236E85}" destId="{DD755A61-51C2-4D39-86C6-49749FC88524}" srcOrd="0" destOrd="0" presId="urn:microsoft.com/office/officeart/2005/8/layout/vList2"/>
    <dgm:cxn modelId="{22CD648F-E3AE-4A7B-9095-5875BEACCB55}" srcId="{517E165D-8C49-4D8E-924E-148DA85EDE2A}" destId="{ABD5633F-EAEB-44F2-A4F4-E2D61D236E85}" srcOrd="0" destOrd="0" parTransId="{4BDED9B7-DAA9-4CC9-9CF3-8AB3E14FAA51}" sibTransId="{026E32A0-4BA9-439E-AB04-B0C4856592FC}"/>
    <dgm:cxn modelId="{CEC2E294-74C3-4E53-BCC6-AAC2818FD390}" type="presOf" srcId="{58972CC3-AF65-414B-B853-5A8AADFC7EDC}" destId="{F879075C-2938-4224-B163-955871829DC6}" srcOrd="0" destOrd="0" presId="urn:microsoft.com/office/officeart/2005/8/layout/vList2"/>
    <dgm:cxn modelId="{48FF68A0-347B-4CF9-8A7A-EFD54977F847}" type="presOf" srcId="{FA9FCE14-14AD-4584-B533-560719096FC1}" destId="{F879075C-2938-4224-B163-955871829DC6}" srcOrd="0" destOrd="1" presId="urn:microsoft.com/office/officeart/2005/8/layout/vList2"/>
    <dgm:cxn modelId="{8ECB3DCB-6BEA-40A0-AFD1-536DFA60657C}" srcId="{517E165D-8C49-4D8E-924E-148DA85EDE2A}" destId="{B41CAF29-A982-40C2-BC13-201B300C2E31}" srcOrd="1" destOrd="0" parTransId="{B31BE4DA-AAC8-4239-980D-C61CCB022381}" sibTransId="{3115AF03-A694-4CBA-94A6-BBB7A545FCAF}"/>
    <dgm:cxn modelId="{4725D9DA-0213-4608-AEA2-3DC82F078613}" type="presOf" srcId="{BDFF52ED-2391-41DC-BD2E-B49DD1D799F2}" destId="{D3D7D151-D4F0-4940-901E-8FDE914622C1}" srcOrd="0" destOrd="0" presId="urn:microsoft.com/office/officeart/2005/8/layout/vList2"/>
    <dgm:cxn modelId="{A28542DD-5215-4453-8774-38085EFBE5EA}" srcId="{BDFF52ED-2391-41DC-BD2E-B49DD1D799F2}" destId="{39331A24-EE69-489C-83E7-DC436E53C84B}" srcOrd="2" destOrd="0" parTransId="{693175BB-7095-49EC-8BBB-AF9AC3A16A8C}" sibTransId="{D802386C-68A5-48CD-8843-B8D6FFAE9B36}"/>
    <dgm:cxn modelId="{31940BEB-F5A6-42F5-B436-41FCEF998554}" type="presOf" srcId="{517E165D-8C49-4D8E-924E-148DA85EDE2A}" destId="{296A6A5A-BA3E-4AFA-8A30-B017625F740E}" srcOrd="0" destOrd="0" presId="urn:microsoft.com/office/officeart/2005/8/layout/vList2"/>
    <dgm:cxn modelId="{A1B099F5-B374-4112-97E6-7F36E69F1C02}" type="presParOf" srcId="{D3D7D151-D4F0-4940-901E-8FDE914622C1}" destId="{EBC05C2B-2BFB-43D8-B4D7-0BE1C029A7DB}" srcOrd="0" destOrd="0" presId="urn:microsoft.com/office/officeart/2005/8/layout/vList2"/>
    <dgm:cxn modelId="{05BDDBAB-9A7A-489D-AA9A-A25B507405AB}" type="presParOf" srcId="{D3D7D151-D4F0-4940-901E-8FDE914622C1}" destId="{F879075C-2938-4224-B163-955871829DC6}" srcOrd="1" destOrd="0" presId="urn:microsoft.com/office/officeart/2005/8/layout/vList2"/>
    <dgm:cxn modelId="{1AF1C12C-519C-4DAE-B3D5-2C45B7211F98}" type="presParOf" srcId="{D3D7D151-D4F0-4940-901E-8FDE914622C1}" destId="{296A6A5A-BA3E-4AFA-8A30-B017625F740E}" srcOrd="2" destOrd="0" presId="urn:microsoft.com/office/officeart/2005/8/layout/vList2"/>
    <dgm:cxn modelId="{DB124EB3-ED9B-4262-B64B-B64CE7695277}" type="presParOf" srcId="{D3D7D151-D4F0-4940-901E-8FDE914622C1}" destId="{DD755A61-51C2-4D39-86C6-49749FC88524}" srcOrd="3" destOrd="0" presId="urn:microsoft.com/office/officeart/2005/8/layout/vList2"/>
    <dgm:cxn modelId="{16638F5A-DC3D-48CB-B121-117F027977CC}" type="presParOf" srcId="{D3D7D151-D4F0-4940-901E-8FDE914622C1}" destId="{9B1A8706-B627-4A17-9DDD-784AB8F2BF66}"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48DC086-EC36-48E7-B19A-296B47F8EB00}" type="doc">
      <dgm:prSet loTypeId="urn:microsoft.com/office/officeart/2005/8/layout/pyramid2" loCatId="pyramid" qsTypeId="urn:microsoft.com/office/officeart/2005/8/quickstyle/simple1" qsCatId="simple" csTypeId="urn:microsoft.com/office/officeart/2005/8/colors/accent0_3" csCatId="mainScheme" phldr="1"/>
      <dgm:spPr/>
      <dgm:t>
        <a:bodyPr/>
        <a:lstStyle/>
        <a:p>
          <a:endParaRPr lang="en-US"/>
        </a:p>
      </dgm:t>
    </dgm:pt>
    <dgm:pt modelId="{171293EB-BB80-432D-BB4D-D84E6F1D58E4}">
      <dgm:prSet/>
      <dgm:spPr/>
      <dgm:t>
        <a:bodyPr/>
        <a:lstStyle/>
        <a:p>
          <a:r>
            <a:rPr lang="en-US" b="1" baseline="0"/>
            <a:t>Client Layer</a:t>
          </a:r>
          <a:endParaRPr lang="en-US"/>
        </a:p>
      </dgm:t>
      <dgm:extLst>
        <a:ext uri="{E40237B7-FDA0-4F09-8148-C483321AD2D9}">
          <dgm14:cNvPr xmlns:dgm14="http://schemas.microsoft.com/office/drawing/2010/diagram" id="0" name="" descr="Client Layer&#10; Used by the application to communicate directly with Azure SQL Database.&#10;Services Layer&#10; Gateway between Client Layer and Platform Layer.&#10;Platform Layer&#10; Includes physical servers and services that support the Services Layer.&#10;Infrastructure Layer&#10; IT administration of the physical hardware and operating system.&#10;"/>
        </a:ext>
      </dgm:extLst>
    </dgm:pt>
    <dgm:pt modelId="{EB71A436-D642-4110-B6B3-DADC44B2F0E8}" type="parTrans" cxnId="{3EE3E1BD-D5B6-4C56-91A2-84195440BECB}">
      <dgm:prSet/>
      <dgm:spPr/>
      <dgm:t>
        <a:bodyPr/>
        <a:lstStyle/>
        <a:p>
          <a:endParaRPr lang="en-US"/>
        </a:p>
      </dgm:t>
    </dgm:pt>
    <dgm:pt modelId="{32456BD6-0859-40D0-AA49-15EF31E19198}" type="sibTrans" cxnId="{3EE3E1BD-D5B6-4C56-91A2-84195440BECB}">
      <dgm:prSet/>
      <dgm:spPr/>
      <dgm:t>
        <a:bodyPr/>
        <a:lstStyle/>
        <a:p>
          <a:endParaRPr lang="en-US"/>
        </a:p>
      </dgm:t>
    </dgm:pt>
    <dgm:pt modelId="{42C3D0B8-B58C-4AA4-B625-502610E4CF84}">
      <dgm:prSet/>
      <dgm:spPr/>
      <dgm:t>
        <a:bodyPr/>
        <a:lstStyle/>
        <a:p>
          <a:r>
            <a:rPr lang="en-US" baseline="0"/>
            <a:t>Used by the application to communicate directly with Azure SQL Database.</a:t>
          </a:r>
          <a:endParaRPr lang="en-US"/>
        </a:p>
      </dgm:t>
    </dgm:pt>
    <dgm:pt modelId="{4F4D1BFE-BEC0-4ED9-A9B1-12453EC65018}" type="parTrans" cxnId="{14E6D5A8-0FA0-4653-8379-378414AC3F5D}">
      <dgm:prSet/>
      <dgm:spPr/>
      <dgm:t>
        <a:bodyPr/>
        <a:lstStyle/>
        <a:p>
          <a:endParaRPr lang="en-US"/>
        </a:p>
      </dgm:t>
    </dgm:pt>
    <dgm:pt modelId="{5BBF64FE-3D21-4B2E-8744-510CA0F066B2}" type="sibTrans" cxnId="{14E6D5A8-0FA0-4653-8379-378414AC3F5D}">
      <dgm:prSet/>
      <dgm:spPr/>
      <dgm:t>
        <a:bodyPr/>
        <a:lstStyle/>
        <a:p>
          <a:endParaRPr lang="en-US"/>
        </a:p>
      </dgm:t>
    </dgm:pt>
    <dgm:pt modelId="{CE665BBD-C37B-4545-8FDB-31B19DE36EEB}">
      <dgm:prSet/>
      <dgm:spPr/>
      <dgm:t>
        <a:bodyPr/>
        <a:lstStyle/>
        <a:p>
          <a:r>
            <a:rPr lang="en-US" b="1" baseline="0"/>
            <a:t>Services Layer</a:t>
          </a:r>
          <a:endParaRPr lang="en-US"/>
        </a:p>
      </dgm:t>
      <dgm:extLst>
        <a:ext uri="{E40237B7-FDA0-4F09-8148-C483321AD2D9}">
          <dgm14:cNvPr xmlns:dgm14="http://schemas.microsoft.com/office/drawing/2010/diagram" id="0" name="" descr="Client Layer&#10; Used by the application to communicate directly with Azure SQL Database.&#10;Services Layer&#10; Gateway between Client Layer and Platform Layer.&#10;Platform Layer&#10; Includes physical servers and services that support the Services Layer.&#10;Infrastructure Layer&#10; IT administration of the physical hardware and operating system.&#10;"/>
        </a:ext>
      </dgm:extLst>
    </dgm:pt>
    <dgm:pt modelId="{B2D0AEF1-B937-441A-BD32-4E3B98457BCE}" type="parTrans" cxnId="{A053D88C-D571-4C56-B868-B12C498AEC1A}">
      <dgm:prSet/>
      <dgm:spPr/>
      <dgm:t>
        <a:bodyPr/>
        <a:lstStyle/>
        <a:p>
          <a:endParaRPr lang="en-US"/>
        </a:p>
      </dgm:t>
    </dgm:pt>
    <dgm:pt modelId="{7C0EE2D6-8DF1-4C8D-8F84-4A12315407F9}" type="sibTrans" cxnId="{A053D88C-D571-4C56-B868-B12C498AEC1A}">
      <dgm:prSet/>
      <dgm:spPr/>
      <dgm:t>
        <a:bodyPr/>
        <a:lstStyle/>
        <a:p>
          <a:endParaRPr lang="en-US"/>
        </a:p>
      </dgm:t>
    </dgm:pt>
    <dgm:pt modelId="{B4C5BFD1-0F49-4325-9B0B-555EC53127E6}">
      <dgm:prSet/>
      <dgm:spPr/>
      <dgm:t>
        <a:bodyPr/>
        <a:lstStyle/>
        <a:p>
          <a:r>
            <a:rPr lang="en-US" baseline="0"/>
            <a:t>Gateway between Client Layer and Platform Layer.</a:t>
          </a:r>
          <a:endParaRPr lang="en-US"/>
        </a:p>
      </dgm:t>
    </dgm:pt>
    <dgm:pt modelId="{1A36C176-3F70-4101-8076-A9E82E287843}" type="parTrans" cxnId="{8E667F83-0938-4316-9407-C0F3D0CC71D1}">
      <dgm:prSet/>
      <dgm:spPr/>
      <dgm:t>
        <a:bodyPr/>
        <a:lstStyle/>
        <a:p>
          <a:endParaRPr lang="en-US"/>
        </a:p>
      </dgm:t>
    </dgm:pt>
    <dgm:pt modelId="{C4973746-EFF7-4369-8FBF-59830BD0890F}" type="sibTrans" cxnId="{8E667F83-0938-4316-9407-C0F3D0CC71D1}">
      <dgm:prSet/>
      <dgm:spPr/>
      <dgm:t>
        <a:bodyPr/>
        <a:lstStyle/>
        <a:p>
          <a:endParaRPr lang="en-US"/>
        </a:p>
      </dgm:t>
    </dgm:pt>
    <dgm:pt modelId="{8F31C640-ACA5-42F4-97C1-E92D0C96729D}">
      <dgm:prSet/>
      <dgm:spPr/>
      <dgm:t>
        <a:bodyPr/>
        <a:lstStyle/>
        <a:p>
          <a:r>
            <a:rPr lang="en-US" b="1" baseline="0"/>
            <a:t>Platform Layer</a:t>
          </a:r>
          <a:endParaRPr lang="en-US"/>
        </a:p>
      </dgm:t>
      <dgm:extLst>
        <a:ext uri="{E40237B7-FDA0-4F09-8148-C483321AD2D9}">
          <dgm14:cNvPr xmlns:dgm14="http://schemas.microsoft.com/office/drawing/2010/diagram" id="0" name="" descr="Client Layer&#10; Used by the application to communicate directly with Azure SQL Database.&#10;Services Layer&#10; Gateway between Client Layer and Platform Layer.&#10;Platform Layer&#10; Includes physical servers and services that support the Services Layer.&#10;Infrastructure Layer&#10; IT administration of the physical hardware and operating system.&#10;"/>
        </a:ext>
      </dgm:extLst>
    </dgm:pt>
    <dgm:pt modelId="{0889FC5B-E0FD-4246-8186-313A0465627A}" type="parTrans" cxnId="{E0D430FD-936E-42E4-A1D5-CEAC87120175}">
      <dgm:prSet/>
      <dgm:spPr/>
      <dgm:t>
        <a:bodyPr/>
        <a:lstStyle/>
        <a:p>
          <a:endParaRPr lang="en-US"/>
        </a:p>
      </dgm:t>
    </dgm:pt>
    <dgm:pt modelId="{7CEC80B1-D4C8-484C-85D5-9EEE19333C89}" type="sibTrans" cxnId="{E0D430FD-936E-42E4-A1D5-CEAC87120175}">
      <dgm:prSet/>
      <dgm:spPr/>
      <dgm:t>
        <a:bodyPr/>
        <a:lstStyle/>
        <a:p>
          <a:endParaRPr lang="en-US"/>
        </a:p>
      </dgm:t>
    </dgm:pt>
    <dgm:pt modelId="{47B68A82-4E22-44E6-8198-A83D9A5C8598}">
      <dgm:prSet/>
      <dgm:spPr/>
      <dgm:t>
        <a:bodyPr/>
        <a:lstStyle/>
        <a:p>
          <a:r>
            <a:rPr lang="en-US" baseline="0"/>
            <a:t>Includes physical servers and services that support the Services Layer.</a:t>
          </a:r>
          <a:endParaRPr lang="en-US"/>
        </a:p>
      </dgm:t>
    </dgm:pt>
    <dgm:pt modelId="{968A4754-4001-48A2-9DDD-F89BDB24C741}" type="parTrans" cxnId="{A251E5EF-4498-4D49-BDF2-0EBDD24A51EC}">
      <dgm:prSet/>
      <dgm:spPr/>
      <dgm:t>
        <a:bodyPr/>
        <a:lstStyle/>
        <a:p>
          <a:endParaRPr lang="en-US"/>
        </a:p>
      </dgm:t>
    </dgm:pt>
    <dgm:pt modelId="{5ED45E82-957F-4D5C-A81E-708A3DE000B1}" type="sibTrans" cxnId="{A251E5EF-4498-4D49-BDF2-0EBDD24A51EC}">
      <dgm:prSet/>
      <dgm:spPr/>
      <dgm:t>
        <a:bodyPr/>
        <a:lstStyle/>
        <a:p>
          <a:endParaRPr lang="en-US"/>
        </a:p>
      </dgm:t>
    </dgm:pt>
    <dgm:pt modelId="{45449796-4C85-4EF8-B68B-E99E1C79C0D6}">
      <dgm:prSet/>
      <dgm:spPr/>
      <dgm:t>
        <a:bodyPr/>
        <a:lstStyle/>
        <a:p>
          <a:r>
            <a:rPr lang="en-US" b="1" baseline="0"/>
            <a:t>Infrastructure Layer</a:t>
          </a:r>
          <a:endParaRPr lang="en-US"/>
        </a:p>
      </dgm:t>
      <dgm:extLst>
        <a:ext uri="{E40237B7-FDA0-4F09-8148-C483321AD2D9}">
          <dgm14:cNvPr xmlns:dgm14="http://schemas.microsoft.com/office/drawing/2010/diagram" id="0" name="" descr="Client Layer&#10; Used by the application to communicate directly with Azure SQL Database.&#10;Services Layer&#10; Gateway between Client Layer and Platform Layer.&#10;Platform Layer&#10; Includes physical servers and services that support the Services Layer.&#10;Infrastructure Layer&#10; IT administration of the physical hardware and operating system.&#10;"/>
        </a:ext>
      </dgm:extLst>
    </dgm:pt>
    <dgm:pt modelId="{791AA8D7-EB62-4E0F-B690-D133DBFDC134}" type="parTrans" cxnId="{AFFF33E1-74FD-4D4B-96F2-C741BB1A1F74}">
      <dgm:prSet/>
      <dgm:spPr/>
      <dgm:t>
        <a:bodyPr/>
        <a:lstStyle/>
        <a:p>
          <a:endParaRPr lang="en-US"/>
        </a:p>
      </dgm:t>
    </dgm:pt>
    <dgm:pt modelId="{0AE09621-407D-4050-B129-DAA001ADE605}" type="sibTrans" cxnId="{AFFF33E1-74FD-4D4B-96F2-C741BB1A1F74}">
      <dgm:prSet/>
      <dgm:spPr/>
      <dgm:t>
        <a:bodyPr/>
        <a:lstStyle/>
        <a:p>
          <a:endParaRPr lang="en-US"/>
        </a:p>
      </dgm:t>
    </dgm:pt>
    <dgm:pt modelId="{9173C7B4-169F-482D-A787-35512C74ECA7}">
      <dgm:prSet/>
      <dgm:spPr/>
      <dgm:t>
        <a:bodyPr/>
        <a:lstStyle/>
        <a:p>
          <a:r>
            <a:rPr lang="en-US" baseline="0"/>
            <a:t>IT administration of the physical hardware and operating system.</a:t>
          </a:r>
          <a:endParaRPr lang="en-US"/>
        </a:p>
      </dgm:t>
    </dgm:pt>
    <dgm:pt modelId="{7D2E06A3-DBB9-46E8-9D59-C7D6F925A04F}" type="parTrans" cxnId="{486CE787-B862-492E-B689-790068BFF566}">
      <dgm:prSet/>
      <dgm:spPr/>
      <dgm:t>
        <a:bodyPr/>
        <a:lstStyle/>
        <a:p>
          <a:endParaRPr lang="en-US"/>
        </a:p>
      </dgm:t>
    </dgm:pt>
    <dgm:pt modelId="{3D864EF0-F357-4B0C-AD1C-2858F81B0C87}" type="sibTrans" cxnId="{486CE787-B862-492E-B689-790068BFF566}">
      <dgm:prSet/>
      <dgm:spPr/>
      <dgm:t>
        <a:bodyPr/>
        <a:lstStyle/>
        <a:p>
          <a:endParaRPr lang="en-US"/>
        </a:p>
      </dgm:t>
    </dgm:pt>
    <dgm:pt modelId="{B52DC5AD-47CA-4439-8FBC-2C0C4BA4014C}" type="pres">
      <dgm:prSet presAssocID="{148DC086-EC36-48E7-B19A-296B47F8EB00}" presName="compositeShape" presStyleCnt="0">
        <dgm:presLayoutVars>
          <dgm:dir/>
          <dgm:resizeHandles/>
        </dgm:presLayoutVars>
      </dgm:prSet>
      <dgm:spPr/>
    </dgm:pt>
    <dgm:pt modelId="{CB46A4A1-3B13-41F3-8516-C9DA3512B242}" type="pres">
      <dgm:prSet presAssocID="{148DC086-EC36-48E7-B19A-296B47F8EB00}" presName="pyramid" presStyleLbl="node1" presStyleIdx="0" presStyleCnt="1" custLinFactNeighborX="-56334"/>
      <dgm:spPr/>
    </dgm:pt>
    <dgm:pt modelId="{59D3A741-8EC6-43A5-8E15-4DF540D873A2}" type="pres">
      <dgm:prSet presAssocID="{148DC086-EC36-48E7-B19A-296B47F8EB00}" presName="theList" presStyleCnt="0"/>
      <dgm:spPr/>
    </dgm:pt>
    <dgm:pt modelId="{11C5B6FD-71B4-4A80-B03B-FAC9CB197E54}" type="pres">
      <dgm:prSet presAssocID="{171293EB-BB80-432D-BB4D-D84E6F1D58E4}" presName="aNode" presStyleLbl="fgAcc1" presStyleIdx="0" presStyleCnt="4" custLinFactNeighborX="-86656">
        <dgm:presLayoutVars>
          <dgm:bulletEnabled val="1"/>
        </dgm:presLayoutVars>
      </dgm:prSet>
      <dgm:spPr/>
    </dgm:pt>
    <dgm:pt modelId="{AF9C99DB-69E8-4EC1-8A37-330880F6E2C1}" type="pres">
      <dgm:prSet presAssocID="{171293EB-BB80-432D-BB4D-D84E6F1D58E4}" presName="aSpace" presStyleCnt="0"/>
      <dgm:spPr/>
    </dgm:pt>
    <dgm:pt modelId="{9EB0ECC3-CD0D-4D5C-8C64-28DE2A49B07A}" type="pres">
      <dgm:prSet presAssocID="{CE665BBD-C37B-4545-8FDB-31B19DE36EEB}" presName="aNode" presStyleLbl="fgAcc1" presStyleIdx="1" presStyleCnt="4" custLinFactNeighborX="-86656">
        <dgm:presLayoutVars>
          <dgm:bulletEnabled val="1"/>
        </dgm:presLayoutVars>
      </dgm:prSet>
      <dgm:spPr/>
    </dgm:pt>
    <dgm:pt modelId="{85A96929-F8C6-42B1-8ED2-1A2C477447BD}" type="pres">
      <dgm:prSet presAssocID="{CE665BBD-C37B-4545-8FDB-31B19DE36EEB}" presName="aSpace" presStyleCnt="0"/>
      <dgm:spPr/>
    </dgm:pt>
    <dgm:pt modelId="{EF86107E-7318-42B6-B785-8341D12F42B4}" type="pres">
      <dgm:prSet presAssocID="{8F31C640-ACA5-42F4-97C1-E92D0C96729D}" presName="aNode" presStyleLbl="fgAcc1" presStyleIdx="2" presStyleCnt="4" custLinFactNeighborX="-86656">
        <dgm:presLayoutVars>
          <dgm:bulletEnabled val="1"/>
        </dgm:presLayoutVars>
      </dgm:prSet>
      <dgm:spPr/>
    </dgm:pt>
    <dgm:pt modelId="{5DB0B4DF-8DC2-44CA-9B06-3E5EC5A94355}" type="pres">
      <dgm:prSet presAssocID="{8F31C640-ACA5-42F4-97C1-E92D0C96729D}" presName="aSpace" presStyleCnt="0"/>
      <dgm:spPr/>
    </dgm:pt>
    <dgm:pt modelId="{C0B629A5-D9D1-4DC3-B030-20D0BC4B4328}" type="pres">
      <dgm:prSet presAssocID="{45449796-4C85-4EF8-B68B-E99E1C79C0D6}" presName="aNode" presStyleLbl="fgAcc1" presStyleIdx="3" presStyleCnt="4" custLinFactNeighborX="-86656">
        <dgm:presLayoutVars>
          <dgm:bulletEnabled val="1"/>
        </dgm:presLayoutVars>
      </dgm:prSet>
      <dgm:spPr/>
    </dgm:pt>
    <dgm:pt modelId="{43233DBE-C055-473A-A209-9EA1D00980BB}" type="pres">
      <dgm:prSet presAssocID="{45449796-4C85-4EF8-B68B-E99E1C79C0D6}" presName="aSpace" presStyleCnt="0"/>
      <dgm:spPr/>
    </dgm:pt>
  </dgm:ptLst>
  <dgm:cxnLst>
    <dgm:cxn modelId="{DFC0EF0B-047A-40B3-9669-3BF92CFD0043}" type="presOf" srcId="{47B68A82-4E22-44E6-8198-A83D9A5C8598}" destId="{EF86107E-7318-42B6-B785-8341D12F42B4}" srcOrd="0" destOrd="1" presId="urn:microsoft.com/office/officeart/2005/8/layout/pyramid2"/>
    <dgm:cxn modelId="{5256E42A-F2BA-42D7-B25E-72BC17F0EC65}" type="presOf" srcId="{148DC086-EC36-48E7-B19A-296B47F8EB00}" destId="{B52DC5AD-47CA-4439-8FBC-2C0C4BA4014C}" srcOrd="0" destOrd="0" presId="urn:microsoft.com/office/officeart/2005/8/layout/pyramid2"/>
    <dgm:cxn modelId="{A7E3162F-4EC5-48F2-94F3-EF6B19B9E531}" type="presOf" srcId="{42C3D0B8-B58C-4AA4-B625-502610E4CF84}" destId="{11C5B6FD-71B4-4A80-B03B-FAC9CB197E54}" srcOrd="0" destOrd="1" presId="urn:microsoft.com/office/officeart/2005/8/layout/pyramid2"/>
    <dgm:cxn modelId="{1E8E6B31-E8DC-4077-866D-09CF2007704E}" type="presOf" srcId="{171293EB-BB80-432D-BB4D-D84E6F1D58E4}" destId="{11C5B6FD-71B4-4A80-B03B-FAC9CB197E54}" srcOrd="0" destOrd="0" presId="urn:microsoft.com/office/officeart/2005/8/layout/pyramid2"/>
    <dgm:cxn modelId="{0F971379-3665-4077-AA94-803D2C6B31B8}" type="presOf" srcId="{9173C7B4-169F-482D-A787-35512C74ECA7}" destId="{C0B629A5-D9D1-4DC3-B030-20D0BC4B4328}" srcOrd="0" destOrd="1" presId="urn:microsoft.com/office/officeart/2005/8/layout/pyramid2"/>
    <dgm:cxn modelId="{12E22679-4E1B-4475-BEE4-37CDFB445B3B}" type="presOf" srcId="{45449796-4C85-4EF8-B68B-E99E1C79C0D6}" destId="{C0B629A5-D9D1-4DC3-B030-20D0BC4B4328}" srcOrd="0" destOrd="0" presId="urn:microsoft.com/office/officeart/2005/8/layout/pyramid2"/>
    <dgm:cxn modelId="{C6528B7F-8F83-46C5-A610-6C71088F6312}" type="presOf" srcId="{CE665BBD-C37B-4545-8FDB-31B19DE36EEB}" destId="{9EB0ECC3-CD0D-4D5C-8C64-28DE2A49B07A}" srcOrd="0" destOrd="0" presId="urn:microsoft.com/office/officeart/2005/8/layout/pyramid2"/>
    <dgm:cxn modelId="{8E667F83-0938-4316-9407-C0F3D0CC71D1}" srcId="{CE665BBD-C37B-4545-8FDB-31B19DE36EEB}" destId="{B4C5BFD1-0F49-4325-9B0B-555EC53127E6}" srcOrd="0" destOrd="0" parTransId="{1A36C176-3F70-4101-8076-A9E82E287843}" sibTransId="{C4973746-EFF7-4369-8FBF-59830BD0890F}"/>
    <dgm:cxn modelId="{486CE787-B862-492E-B689-790068BFF566}" srcId="{45449796-4C85-4EF8-B68B-E99E1C79C0D6}" destId="{9173C7B4-169F-482D-A787-35512C74ECA7}" srcOrd="0" destOrd="0" parTransId="{7D2E06A3-DBB9-46E8-9D59-C7D6F925A04F}" sibTransId="{3D864EF0-F357-4B0C-AD1C-2858F81B0C87}"/>
    <dgm:cxn modelId="{A053D88C-D571-4C56-B868-B12C498AEC1A}" srcId="{148DC086-EC36-48E7-B19A-296B47F8EB00}" destId="{CE665BBD-C37B-4545-8FDB-31B19DE36EEB}" srcOrd="1" destOrd="0" parTransId="{B2D0AEF1-B937-441A-BD32-4E3B98457BCE}" sibTransId="{7C0EE2D6-8DF1-4C8D-8F84-4A12315407F9}"/>
    <dgm:cxn modelId="{14E6D5A8-0FA0-4653-8379-378414AC3F5D}" srcId="{171293EB-BB80-432D-BB4D-D84E6F1D58E4}" destId="{42C3D0B8-B58C-4AA4-B625-502610E4CF84}" srcOrd="0" destOrd="0" parTransId="{4F4D1BFE-BEC0-4ED9-A9B1-12453EC65018}" sibTransId="{5BBF64FE-3D21-4B2E-8744-510CA0F066B2}"/>
    <dgm:cxn modelId="{820B6EBA-7878-4CE0-8154-E0B219F900AE}" type="presOf" srcId="{8F31C640-ACA5-42F4-97C1-E92D0C96729D}" destId="{EF86107E-7318-42B6-B785-8341D12F42B4}" srcOrd="0" destOrd="0" presId="urn:microsoft.com/office/officeart/2005/8/layout/pyramid2"/>
    <dgm:cxn modelId="{3EE3E1BD-D5B6-4C56-91A2-84195440BECB}" srcId="{148DC086-EC36-48E7-B19A-296B47F8EB00}" destId="{171293EB-BB80-432D-BB4D-D84E6F1D58E4}" srcOrd="0" destOrd="0" parTransId="{EB71A436-D642-4110-B6B3-DADC44B2F0E8}" sibTransId="{32456BD6-0859-40D0-AA49-15EF31E19198}"/>
    <dgm:cxn modelId="{04B186E0-0388-4F28-AB36-3465C3173131}" type="presOf" srcId="{B4C5BFD1-0F49-4325-9B0B-555EC53127E6}" destId="{9EB0ECC3-CD0D-4D5C-8C64-28DE2A49B07A}" srcOrd="0" destOrd="1" presId="urn:microsoft.com/office/officeart/2005/8/layout/pyramid2"/>
    <dgm:cxn modelId="{AFFF33E1-74FD-4D4B-96F2-C741BB1A1F74}" srcId="{148DC086-EC36-48E7-B19A-296B47F8EB00}" destId="{45449796-4C85-4EF8-B68B-E99E1C79C0D6}" srcOrd="3" destOrd="0" parTransId="{791AA8D7-EB62-4E0F-B690-D133DBFDC134}" sibTransId="{0AE09621-407D-4050-B129-DAA001ADE605}"/>
    <dgm:cxn modelId="{A251E5EF-4498-4D49-BDF2-0EBDD24A51EC}" srcId="{8F31C640-ACA5-42F4-97C1-E92D0C96729D}" destId="{47B68A82-4E22-44E6-8198-A83D9A5C8598}" srcOrd="0" destOrd="0" parTransId="{968A4754-4001-48A2-9DDD-F89BDB24C741}" sibTransId="{5ED45E82-957F-4D5C-A81E-708A3DE000B1}"/>
    <dgm:cxn modelId="{E0D430FD-936E-42E4-A1D5-CEAC87120175}" srcId="{148DC086-EC36-48E7-B19A-296B47F8EB00}" destId="{8F31C640-ACA5-42F4-97C1-E92D0C96729D}" srcOrd="2" destOrd="0" parTransId="{0889FC5B-E0FD-4246-8186-313A0465627A}" sibTransId="{7CEC80B1-D4C8-484C-85D5-9EEE19333C89}"/>
    <dgm:cxn modelId="{06181FC6-E8A8-42A9-821A-45DE7782C6E6}" type="presParOf" srcId="{B52DC5AD-47CA-4439-8FBC-2C0C4BA4014C}" destId="{CB46A4A1-3B13-41F3-8516-C9DA3512B242}" srcOrd="0" destOrd="0" presId="urn:microsoft.com/office/officeart/2005/8/layout/pyramid2"/>
    <dgm:cxn modelId="{46A43BBC-CD16-43E9-8059-5A19865744B7}" type="presParOf" srcId="{B52DC5AD-47CA-4439-8FBC-2C0C4BA4014C}" destId="{59D3A741-8EC6-43A5-8E15-4DF540D873A2}" srcOrd="1" destOrd="0" presId="urn:microsoft.com/office/officeart/2005/8/layout/pyramid2"/>
    <dgm:cxn modelId="{8ED80B7D-CD90-474C-92FD-78F5DB73AF00}" type="presParOf" srcId="{59D3A741-8EC6-43A5-8E15-4DF540D873A2}" destId="{11C5B6FD-71B4-4A80-B03B-FAC9CB197E54}" srcOrd="0" destOrd="0" presId="urn:microsoft.com/office/officeart/2005/8/layout/pyramid2"/>
    <dgm:cxn modelId="{1A058513-2FC3-4B36-B893-CCA4CD4A0AE2}" type="presParOf" srcId="{59D3A741-8EC6-43A5-8E15-4DF540D873A2}" destId="{AF9C99DB-69E8-4EC1-8A37-330880F6E2C1}" srcOrd="1" destOrd="0" presId="urn:microsoft.com/office/officeart/2005/8/layout/pyramid2"/>
    <dgm:cxn modelId="{290AEF08-ABEE-4D85-A0EF-39E0D368B72B}" type="presParOf" srcId="{59D3A741-8EC6-43A5-8E15-4DF540D873A2}" destId="{9EB0ECC3-CD0D-4D5C-8C64-28DE2A49B07A}" srcOrd="2" destOrd="0" presId="urn:microsoft.com/office/officeart/2005/8/layout/pyramid2"/>
    <dgm:cxn modelId="{F13F9ED7-B5C9-451E-A391-1064FD626DBE}" type="presParOf" srcId="{59D3A741-8EC6-43A5-8E15-4DF540D873A2}" destId="{85A96929-F8C6-42B1-8ED2-1A2C477447BD}" srcOrd="3" destOrd="0" presId="urn:microsoft.com/office/officeart/2005/8/layout/pyramid2"/>
    <dgm:cxn modelId="{8A25D5B7-D26A-4114-B48C-87204E5FBD79}" type="presParOf" srcId="{59D3A741-8EC6-43A5-8E15-4DF540D873A2}" destId="{EF86107E-7318-42B6-B785-8341D12F42B4}" srcOrd="4" destOrd="0" presId="urn:microsoft.com/office/officeart/2005/8/layout/pyramid2"/>
    <dgm:cxn modelId="{412E79DA-4099-4EAD-A895-88F08903931E}" type="presParOf" srcId="{59D3A741-8EC6-43A5-8E15-4DF540D873A2}" destId="{5DB0B4DF-8DC2-44CA-9B06-3E5EC5A94355}" srcOrd="5" destOrd="0" presId="urn:microsoft.com/office/officeart/2005/8/layout/pyramid2"/>
    <dgm:cxn modelId="{50E73629-3711-42C9-B3AA-727DAC0CC428}" type="presParOf" srcId="{59D3A741-8EC6-43A5-8E15-4DF540D873A2}" destId="{C0B629A5-D9D1-4DC3-B030-20D0BC4B4328}" srcOrd="6" destOrd="0" presId="urn:microsoft.com/office/officeart/2005/8/layout/pyramid2"/>
    <dgm:cxn modelId="{636F3A60-E393-473B-B930-3CA199D710AF}" type="presParOf" srcId="{59D3A741-8EC6-43A5-8E15-4DF540D873A2}" destId="{43233DBE-C055-473A-A209-9EA1D00980BB}"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F6DF2905-EFA1-4493-B3FA-F4D8D0AF20C0}" type="doc">
      <dgm:prSet loTypeId="urn:microsoft.com/office/officeart/2018/2/layout/IconLabelList" loCatId="icon" qsTypeId="urn:microsoft.com/office/officeart/2005/8/quickstyle/simple1" qsCatId="simple" csTypeId="urn:microsoft.com/office/officeart/2005/8/colors/accent1_2" csCatId="accent1" phldr="1"/>
      <dgm:spPr/>
    </dgm:pt>
    <dgm:pt modelId="{5C48E68F-B9CA-4504-9491-708244614DB7}">
      <dgm:prSet phldrT="[Text]" custT="1"/>
      <dgm:spPr/>
      <dgm:t>
        <a:bodyPr/>
        <a:lstStyle/>
        <a:p>
          <a:pPr>
            <a:lnSpc>
              <a:spcPct val="100000"/>
            </a:lnSpc>
          </a:pPr>
          <a:r>
            <a:rPr lang="en-US" sz="1400" b="1" i="0"/>
            <a:t>Cost of under utilization: </a:t>
          </a:r>
          <a:r>
            <a:rPr lang="en-US" sz="1400" b="0" i="0"/>
            <a:t>When rescaling </a:t>
          </a:r>
          <a:r>
            <a:rPr lang="en-US" sz="1400" b="0" i="0" err="1"/>
            <a:t>vCores</a:t>
          </a:r>
          <a:r>
            <a:rPr lang="en-US" sz="1400" b="0" i="0"/>
            <a:t> or </a:t>
          </a:r>
          <a:r>
            <a:rPr lang="en-US" sz="1400" b="0" i="0" err="1"/>
            <a:t>eDTUs</a:t>
          </a:r>
          <a:r>
            <a:rPr lang="en-US" sz="1400" b="0" i="0"/>
            <a:t> for an elastic pool, an extra storage cost applies if (1) the storage max size of the pool is supported by the target pool, and (2) the storage max size exceeds the included storage amount of the target pool. </a:t>
          </a:r>
          <a:endParaRPr lang="en-US" sz="1400"/>
        </a:p>
      </dgm:t>
    </dgm:pt>
    <dgm:pt modelId="{86197F8E-EB60-4894-8624-8B7B2493866D}" type="parTrans" cxnId="{FFD7084A-8913-45B4-A0EB-FC32D4173C6F}">
      <dgm:prSet/>
      <dgm:spPr/>
      <dgm:t>
        <a:bodyPr/>
        <a:lstStyle/>
        <a:p>
          <a:endParaRPr lang="en-US"/>
        </a:p>
      </dgm:t>
    </dgm:pt>
    <dgm:pt modelId="{9C1A0427-68F9-4B33-9B66-4BE29A5BBB8C}" type="sibTrans" cxnId="{FFD7084A-8913-45B4-A0EB-FC32D4173C6F}">
      <dgm:prSet/>
      <dgm:spPr/>
      <dgm:t>
        <a:bodyPr/>
        <a:lstStyle/>
        <a:p>
          <a:endParaRPr lang="en-US"/>
        </a:p>
      </dgm:t>
    </dgm:pt>
    <dgm:pt modelId="{FC187348-C550-4F80-880F-DB53CB3A1201}">
      <dgm:prSet phldrT="[Text]"/>
      <dgm:spPr/>
      <dgm:t>
        <a:bodyPr/>
        <a:lstStyle/>
        <a:p>
          <a:pPr>
            <a:lnSpc>
              <a:spcPct val="100000"/>
            </a:lnSpc>
          </a:pPr>
          <a:r>
            <a:rPr lang="en-US" b="1"/>
            <a:t>Usage History</a:t>
          </a:r>
          <a:r>
            <a:rPr lang="en-US"/>
            <a:t>: Azure DB evaluates historical resource usage.</a:t>
          </a:r>
        </a:p>
      </dgm:t>
    </dgm:pt>
    <dgm:pt modelId="{AD764455-CB8A-401A-8053-C4A062105865}" type="parTrans" cxnId="{6A3C5189-674F-4375-BAFC-5465AC2C6B20}">
      <dgm:prSet/>
      <dgm:spPr/>
      <dgm:t>
        <a:bodyPr/>
        <a:lstStyle/>
        <a:p>
          <a:endParaRPr lang="en-US"/>
        </a:p>
      </dgm:t>
    </dgm:pt>
    <dgm:pt modelId="{8D07A615-6F8B-4A60-931D-5DFF656F9F0F}" type="sibTrans" cxnId="{6A3C5189-674F-4375-BAFC-5465AC2C6B20}">
      <dgm:prSet/>
      <dgm:spPr/>
      <dgm:t>
        <a:bodyPr/>
        <a:lstStyle/>
        <a:p>
          <a:endParaRPr lang="en-US"/>
        </a:p>
      </dgm:t>
    </dgm:pt>
    <dgm:pt modelId="{3819E661-7AD8-4126-97A2-A9D098E9321A}">
      <dgm:prSet phldrT="[Text]"/>
      <dgm:spPr/>
      <dgm:t>
        <a:bodyPr/>
        <a:lstStyle/>
        <a:p>
          <a:pPr>
            <a:lnSpc>
              <a:spcPct val="100000"/>
            </a:lnSpc>
          </a:pPr>
          <a:r>
            <a:rPr lang="en-US" b="1" i="0"/>
            <a:t>Billing Size</a:t>
          </a:r>
          <a:r>
            <a:rPr lang="en-US" b="0" i="0"/>
            <a:t>: You are billed for each hour a database exists using the highest service tier + compute size that applied during that hour, regardless of usage or whether the database was active for less than an hour.</a:t>
          </a:r>
          <a:endParaRPr lang="en-US"/>
        </a:p>
      </dgm:t>
    </dgm:pt>
    <dgm:pt modelId="{3F201834-0558-408D-9622-B49CF0244AE5}" type="parTrans" cxnId="{DD8E0BB4-F3F5-4E8D-92EC-310A3A3E331B}">
      <dgm:prSet/>
      <dgm:spPr/>
      <dgm:t>
        <a:bodyPr/>
        <a:lstStyle/>
        <a:p>
          <a:endParaRPr lang="en-US"/>
        </a:p>
      </dgm:t>
    </dgm:pt>
    <dgm:pt modelId="{9EDFC05D-DD33-4DD6-A505-44F8C2E18D6D}" type="sibTrans" cxnId="{DD8E0BB4-F3F5-4E8D-92EC-310A3A3E331B}">
      <dgm:prSet/>
      <dgm:spPr/>
      <dgm:t>
        <a:bodyPr/>
        <a:lstStyle/>
        <a:p>
          <a:endParaRPr lang="en-US"/>
        </a:p>
      </dgm:t>
    </dgm:pt>
    <dgm:pt modelId="{696E8AAC-75BC-4771-8074-6A908FD8D3A2}">
      <dgm:prSet phldrT="[Text]"/>
      <dgm:spPr/>
      <dgm:t>
        <a:bodyPr/>
        <a:lstStyle/>
        <a:p>
          <a:pPr>
            <a:lnSpc>
              <a:spcPct val="100000"/>
            </a:lnSpc>
          </a:pPr>
          <a:r>
            <a:rPr lang="en-US" b="1" i="0"/>
            <a:t>Storage Max Size</a:t>
          </a:r>
          <a:r>
            <a:rPr lang="en-US" b="0" i="0"/>
            <a:t>: When downsizing vCores or </a:t>
          </a:r>
          <a:r>
            <a:rPr lang="en-US" b="0" i="0" err="1"/>
            <a:t>eDTUs</a:t>
          </a:r>
          <a:r>
            <a:rPr lang="en-US" b="0" i="0"/>
            <a:t> for an elastic pool, the pool used space must be smaller than the maximum allowed size of the target service tier and pool </a:t>
          </a:r>
          <a:r>
            <a:rPr lang="en-US" b="0" i="0" err="1"/>
            <a:t>eDTUs</a:t>
          </a:r>
          <a:r>
            <a:rPr lang="en-US" b="0" i="0"/>
            <a:t>.</a:t>
          </a:r>
          <a:endParaRPr lang="en-US"/>
        </a:p>
      </dgm:t>
    </dgm:pt>
    <dgm:pt modelId="{92976303-E5BF-4C75-9399-0C0788E53A19}" type="parTrans" cxnId="{F47393F4-F0F7-4906-B8C0-6E44C69E1364}">
      <dgm:prSet/>
      <dgm:spPr/>
      <dgm:t>
        <a:bodyPr/>
        <a:lstStyle/>
        <a:p>
          <a:endParaRPr lang="en-US"/>
        </a:p>
      </dgm:t>
    </dgm:pt>
    <dgm:pt modelId="{1CECE05B-A9E4-4549-8BFA-503F67A85C05}" type="sibTrans" cxnId="{F47393F4-F0F7-4906-B8C0-6E44C69E1364}">
      <dgm:prSet/>
      <dgm:spPr/>
      <dgm:t>
        <a:bodyPr/>
        <a:lstStyle/>
        <a:p>
          <a:endParaRPr lang="en-US"/>
        </a:p>
      </dgm:t>
    </dgm:pt>
    <dgm:pt modelId="{DD1510AE-1BB8-4707-8961-18A4B0C5F604}" type="pres">
      <dgm:prSet presAssocID="{F6DF2905-EFA1-4493-B3FA-F4D8D0AF20C0}" presName="root" presStyleCnt="0">
        <dgm:presLayoutVars>
          <dgm:dir/>
          <dgm:resizeHandles val="exact"/>
        </dgm:presLayoutVars>
      </dgm:prSet>
      <dgm:spPr/>
    </dgm:pt>
    <dgm:pt modelId="{A3871891-D12A-4FA1-BD5E-63636A08E243}" type="pres">
      <dgm:prSet presAssocID="{5C48E68F-B9CA-4504-9491-708244614DB7}" presName="compNode" presStyleCnt="0"/>
      <dgm:spPr/>
    </dgm:pt>
    <dgm:pt modelId="{B884274E-40BA-41B2-BA8B-1FB6649C5E6D}" type="pres">
      <dgm:prSet presAssocID="{5C48E68F-B9CA-4504-9491-708244614DB7}" presName="iconRect" presStyleLbl="node1" presStyleIdx="0" presStyleCnt="4" custScaleX="133100" custScaleY="133100"/>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Database"/>
        </a:ext>
      </dgm:extLst>
    </dgm:pt>
    <dgm:pt modelId="{CA66F36D-51D6-40C1-A80A-7DB3F8BB961D}" type="pres">
      <dgm:prSet presAssocID="{5C48E68F-B9CA-4504-9491-708244614DB7}" presName="spaceRect" presStyleCnt="0"/>
      <dgm:spPr/>
    </dgm:pt>
    <dgm:pt modelId="{3BB1F1C5-990D-4B11-8F2C-FF671DBFF2D0}" type="pres">
      <dgm:prSet presAssocID="{5C48E68F-B9CA-4504-9491-708244614DB7}" presName="textRect" presStyleLbl="revTx" presStyleIdx="0" presStyleCnt="4" custScaleX="133100" custScaleY="133100">
        <dgm:presLayoutVars>
          <dgm:chMax val="1"/>
          <dgm:chPref val="1"/>
        </dgm:presLayoutVars>
      </dgm:prSet>
      <dgm:spPr/>
    </dgm:pt>
    <dgm:pt modelId="{AA8793E3-B636-4F64-B306-83CD5864C579}" type="pres">
      <dgm:prSet presAssocID="{9C1A0427-68F9-4B33-9B66-4BE29A5BBB8C}" presName="sibTrans" presStyleCnt="0"/>
      <dgm:spPr/>
    </dgm:pt>
    <dgm:pt modelId="{0AB40B04-E076-481B-8E1A-C6A2E1486286}" type="pres">
      <dgm:prSet presAssocID="{FC187348-C550-4F80-880F-DB53CB3A1201}" presName="compNode" presStyleCnt="0"/>
      <dgm:spPr/>
    </dgm:pt>
    <dgm:pt modelId="{95DE08DA-D117-4C16-8516-19E291E2CA12}" type="pres">
      <dgm:prSet presAssocID="{FC187348-C550-4F80-880F-DB53CB3A1201}" presName="iconRect" presStyleLbl="node1" presStyleIdx="1" presStyleCnt="4" custScaleX="133100" custScaleY="133100"/>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User"/>
        </a:ext>
      </dgm:extLst>
    </dgm:pt>
    <dgm:pt modelId="{E1017616-7B48-4618-B06B-14468572458F}" type="pres">
      <dgm:prSet presAssocID="{FC187348-C550-4F80-880F-DB53CB3A1201}" presName="spaceRect" presStyleCnt="0"/>
      <dgm:spPr/>
    </dgm:pt>
    <dgm:pt modelId="{02497A23-723F-4E1F-99A5-C6C95BE88CE5}" type="pres">
      <dgm:prSet presAssocID="{FC187348-C550-4F80-880F-DB53CB3A1201}" presName="textRect" presStyleLbl="revTx" presStyleIdx="1" presStyleCnt="4" custScaleX="133100" custScaleY="133100">
        <dgm:presLayoutVars>
          <dgm:chMax val="1"/>
          <dgm:chPref val="1"/>
        </dgm:presLayoutVars>
      </dgm:prSet>
      <dgm:spPr/>
    </dgm:pt>
    <dgm:pt modelId="{072990F8-1021-4314-9437-F40377389391}" type="pres">
      <dgm:prSet presAssocID="{8D07A615-6F8B-4A60-931D-5DFF656F9F0F}" presName="sibTrans" presStyleCnt="0"/>
      <dgm:spPr/>
    </dgm:pt>
    <dgm:pt modelId="{9B50208D-9A83-4609-95AE-6E2D755872A6}" type="pres">
      <dgm:prSet presAssocID="{3819E661-7AD8-4126-97A2-A9D098E9321A}" presName="compNode" presStyleCnt="0"/>
      <dgm:spPr/>
    </dgm:pt>
    <dgm:pt modelId="{AAAD062E-02D2-451E-A07E-391A81DA3730}" type="pres">
      <dgm:prSet presAssocID="{3819E661-7AD8-4126-97A2-A9D098E9321A}" presName="iconRect" presStyleLbl="node1" presStyleIdx="2" presStyleCnt="4" custScaleX="133100" custScaleY="133100"/>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Coins"/>
        </a:ext>
      </dgm:extLst>
    </dgm:pt>
    <dgm:pt modelId="{F8544229-E0E9-4E09-8FF3-75E61F48FAAF}" type="pres">
      <dgm:prSet presAssocID="{3819E661-7AD8-4126-97A2-A9D098E9321A}" presName="spaceRect" presStyleCnt="0"/>
      <dgm:spPr/>
    </dgm:pt>
    <dgm:pt modelId="{676497B6-C11E-48D4-9461-8B2686C31192}" type="pres">
      <dgm:prSet presAssocID="{3819E661-7AD8-4126-97A2-A9D098E9321A}" presName="textRect" presStyleLbl="revTx" presStyleIdx="2" presStyleCnt="4" custScaleX="133100" custScaleY="133100">
        <dgm:presLayoutVars>
          <dgm:chMax val="1"/>
          <dgm:chPref val="1"/>
        </dgm:presLayoutVars>
      </dgm:prSet>
      <dgm:spPr/>
    </dgm:pt>
    <dgm:pt modelId="{F5CD0FE5-F057-4E13-BB10-304BF1126135}" type="pres">
      <dgm:prSet presAssocID="{9EDFC05D-DD33-4DD6-A505-44F8C2E18D6D}" presName="sibTrans" presStyleCnt="0"/>
      <dgm:spPr/>
    </dgm:pt>
    <dgm:pt modelId="{5C8E67B0-7705-47AE-8CD4-B244E1103DE2}" type="pres">
      <dgm:prSet presAssocID="{696E8AAC-75BC-4771-8074-6A908FD8D3A2}" presName="compNode" presStyleCnt="0"/>
      <dgm:spPr/>
    </dgm:pt>
    <dgm:pt modelId="{397DF4D7-6917-4668-B6CA-4F8824F1E7B0}" type="pres">
      <dgm:prSet presAssocID="{696E8AAC-75BC-4771-8074-6A908FD8D3A2}" presName="iconRect" presStyleLbl="node1" presStyleIdx="3" presStyleCnt="4" custScaleX="133100" custScaleY="133100"/>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Downward trend RTL"/>
        </a:ext>
      </dgm:extLst>
    </dgm:pt>
    <dgm:pt modelId="{C1E21EDB-5A7E-4509-800F-5895832A7B41}" type="pres">
      <dgm:prSet presAssocID="{696E8AAC-75BC-4771-8074-6A908FD8D3A2}" presName="spaceRect" presStyleCnt="0"/>
      <dgm:spPr/>
    </dgm:pt>
    <dgm:pt modelId="{F2429306-74A9-4FB9-B9E8-A3C842557C83}" type="pres">
      <dgm:prSet presAssocID="{696E8AAC-75BC-4771-8074-6A908FD8D3A2}" presName="textRect" presStyleLbl="revTx" presStyleIdx="3" presStyleCnt="4" custScaleX="133100" custScaleY="133100">
        <dgm:presLayoutVars>
          <dgm:chMax val="1"/>
          <dgm:chPref val="1"/>
        </dgm:presLayoutVars>
      </dgm:prSet>
      <dgm:spPr/>
    </dgm:pt>
  </dgm:ptLst>
  <dgm:cxnLst>
    <dgm:cxn modelId="{7C085C19-9C3C-44BA-8448-F037E7989720}" type="presOf" srcId="{3819E661-7AD8-4126-97A2-A9D098E9321A}" destId="{676497B6-C11E-48D4-9461-8B2686C31192}" srcOrd="0" destOrd="0" presId="urn:microsoft.com/office/officeart/2018/2/layout/IconLabelList"/>
    <dgm:cxn modelId="{B1B44521-F0BF-436B-9EC7-9DDBB348A34F}" type="presOf" srcId="{F6DF2905-EFA1-4493-B3FA-F4D8D0AF20C0}" destId="{DD1510AE-1BB8-4707-8961-18A4B0C5F604}" srcOrd="0" destOrd="0" presId="urn:microsoft.com/office/officeart/2018/2/layout/IconLabelList"/>
    <dgm:cxn modelId="{FFD7084A-8913-45B4-A0EB-FC32D4173C6F}" srcId="{F6DF2905-EFA1-4493-B3FA-F4D8D0AF20C0}" destId="{5C48E68F-B9CA-4504-9491-708244614DB7}" srcOrd="0" destOrd="0" parTransId="{86197F8E-EB60-4894-8624-8B7B2493866D}" sibTransId="{9C1A0427-68F9-4B33-9B66-4BE29A5BBB8C}"/>
    <dgm:cxn modelId="{9A00CE85-5C5B-4AE9-90BD-70EE01EBAA56}" type="presOf" srcId="{FC187348-C550-4F80-880F-DB53CB3A1201}" destId="{02497A23-723F-4E1F-99A5-C6C95BE88CE5}" srcOrd="0" destOrd="0" presId="urn:microsoft.com/office/officeart/2018/2/layout/IconLabelList"/>
    <dgm:cxn modelId="{6A3C5189-674F-4375-BAFC-5465AC2C6B20}" srcId="{F6DF2905-EFA1-4493-B3FA-F4D8D0AF20C0}" destId="{FC187348-C550-4F80-880F-DB53CB3A1201}" srcOrd="1" destOrd="0" parTransId="{AD764455-CB8A-401A-8053-C4A062105865}" sibTransId="{8D07A615-6F8B-4A60-931D-5DFF656F9F0F}"/>
    <dgm:cxn modelId="{DB116C97-F460-422C-85B5-B3F808DF4C15}" type="presOf" srcId="{5C48E68F-B9CA-4504-9491-708244614DB7}" destId="{3BB1F1C5-990D-4B11-8F2C-FF671DBFF2D0}" srcOrd="0" destOrd="0" presId="urn:microsoft.com/office/officeart/2018/2/layout/IconLabelList"/>
    <dgm:cxn modelId="{DD8E0BB4-F3F5-4E8D-92EC-310A3A3E331B}" srcId="{F6DF2905-EFA1-4493-B3FA-F4D8D0AF20C0}" destId="{3819E661-7AD8-4126-97A2-A9D098E9321A}" srcOrd="2" destOrd="0" parTransId="{3F201834-0558-408D-9622-B49CF0244AE5}" sibTransId="{9EDFC05D-DD33-4DD6-A505-44F8C2E18D6D}"/>
    <dgm:cxn modelId="{24D97BDA-8562-4EC8-816D-126FFB5A867B}" type="presOf" srcId="{696E8AAC-75BC-4771-8074-6A908FD8D3A2}" destId="{F2429306-74A9-4FB9-B9E8-A3C842557C83}" srcOrd="0" destOrd="0" presId="urn:microsoft.com/office/officeart/2018/2/layout/IconLabelList"/>
    <dgm:cxn modelId="{F47393F4-F0F7-4906-B8C0-6E44C69E1364}" srcId="{F6DF2905-EFA1-4493-B3FA-F4D8D0AF20C0}" destId="{696E8AAC-75BC-4771-8074-6A908FD8D3A2}" srcOrd="3" destOrd="0" parTransId="{92976303-E5BF-4C75-9399-0C0788E53A19}" sibTransId="{1CECE05B-A9E4-4549-8BFA-503F67A85C05}"/>
    <dgm:cxn modelId="{8FF5BD82-F0E2-440C-A6DA-FDDF123DC0AE}" type="presParOf" srcId="{DD1510AE-1BB8-4707-8961-18A4B0C5F604}" destId="{A3871891-D12A-4FA1-BD5E-63636A08E243}" srcOrd="0" destOrd="0" presId="urn:microsoft.com/office/officeart/2018/2/layout/IconLabelList"/>
    <dgm:cxn modelId="{8986C673-26E4-42A6-AA0C-2FD8D5E1E3EE}" type="presParOf" srcId="{A3871891-D12A-4FA1-BD5E-63636A08E243}" destId="{B884274E-40BA-41B2-BA8B-1FB6649C5E6D}" srcOrd="0" destOrd="0" presId="urn:microsoft.com/office/officeart/2018/2/layout/IconLabelList"/>
    <dgm:cxn modelId="{2D624DE6-8758-40C8-810D-84F8E65D1334}" type="presParOf" srcId="{A3871891-D12A-4FA1-BD5E-63636A08E243}" destId="{CA66F36D-51D6-40C1-A80A-7DB3F8BB961D}" srcOrd="1" destOrd="0" presId="urn:microsoft.com/office/officeart/2018/2/layout/IconLabelList"/>
    <dgm:cxn modelId="{478FCA1E-063C-4858-8A1B-9C0750D4D732}" type="presParOf" srcId="{A3871891-D12A-4FA1-BD5E-63636A08E243}" destId="{3BB1F1C5-990D-4B11-8F2C-FF671DBFF2D0}" srcOrd="2" destOrd="0" presId="urn:microsoft.com/office/officeart/2018/2/layout/IconLabelList"/>
    <dgm:cxn modelId="{977BB409-63C6-4C91-8884-8EEF848191EE}" type="presParOf" srcId="{DD1510AE-1BB8-4707-8961-18A4B0C5F604}" destId="{AA8793E3-B636-4F64-B306-83CD5864C579}" srcOrd="1" destOrd="0" presId="urn:microsoft.com/office/officeart/2018/2/layout/IconLabelList"/>
    <dgm:cxn modelId="{A10ED1DC-E7B4-4F32-B2CF-CC1B94F17C9D}" type="presParOf" srcId="{DD1510AE-1BB8-4707-8961-18A4B0C5F604}" destId="{0AB40B04-E076-481B-8E1A-C6A2E1486286}" srcOrd="2" destOrd="0" presId="urn:microsoft.com/office/officeart/2018/2/layout/IconLabelList"/>
    <dgm:cxn modelId="{A98BF990-5CF1-423E-89CB-579B2BB49C30}" type="presParOf" srcId="{0AB40B04-E076-481B-8E1A-C6A2E1486286}" destId="{95DE08DA-D117-4C16-8516-19E291E2CA12}" srcOrd="0" destOrd="0" presId="urn:microsoft.com/office/officeart/2018/2/layout/IconLabelList"/>
    <dgm:cxn modelId="{FD55549A-8F77-4F4E-8DEF-F1E2463A2838}" type="presParOf" srcId="{0AB40B04-E076-481B-8E1A-C6A2E1486286}" destId="{E1017616-7B48-4618-B06B-14468572458F}" srcOrd="1" destOrd="0" presId="urn:microsoft.com/office/officeart/2018/2/layout/IconLabelList"/>
    <dgm:cxn modelId="{2885E4F2-1657-4E4C-B00F-D3AE9B9D209D}" type="presParOf" srcId="{0AB40B04-E076-481B-8E1A-C6A2E1486286}" destId="{02497A23-723F-4E1F-99A5-C6C95BE88CE5}" srcOrd="2" destOrd="0" presId="urn:microsoft.com/office/officeart/2018/2/layout/IconLabelList"/>
    <dgm:cxn modelId="{B705D489-A021-4041-A34A-D029E16D1E33}" type="presParOf" srcId="{DD1510AE-1BB8-4707-8961-18A4B0C5F604}" destId="{072990F8-1021-4314-9437-F40377389391}" srcOrd="3" destOrd="0" presId="urn:microsoft.com/office/officeart/2018/2/layout/IconLabelList"/>
    <dgm:cxn modelId="{586DAF71-9AEC-46D9-8BDB-4933A1274BF1}" type="presParOf" srcId="{DD1510AE-1BB8-4707-8961-18A4B0C5F604}" destId="{9B50208D-9A83-4609-95AE-6E2D755872A6}" srcOrd="4" destOrd="0" presId="urn:microsoft.com/office/officeart/2018/2/layout/IconLabelList"/>
    <dgm:cxn modelId="{D7B2133A-7CD8-4F54-8E36-838A9892142B}" type="presParOf" srcId="{9B50208D-9A83-4609-95AE-6E2D755872A6}" destId="{AAAD062E-02D2-451E-A07E-391A81DA3730}" srcOrd="0" destOrd="0" presId="urn:microsoft.com/office/officeart/2018/2/layout/IconLabelList"/>
    <dgm:cxn modelId="{66E6942E-A92D-4F8C-AABA-90D5C46EE558}" type="presParOf" srcId="{9B50208D-9A83-4609-95AE-6E2D755872A6}" destId="{F8544229-E0E9-4E09-8FF3-75E61F48FAAF}" srcOrd="1" destOrd="0" presId="urn:microsoft.com/office/officeart/2018/2/layout/IconLabelList"/>
    <dgm:cxn modelId="{3EDB3A61-0188-4226-9001-058A22432FA5}" type="presParOf" srcId="{9B50208D-9A83-4609-95AE-6E2D755872A6}" destId="{676497B6-C11E-48D4-9461-8B2686C31192}" srcOrd="2" destOrd="0" presId="urn:microsoft.com/office/officeart/2018/2/layout/IconLabelList"/>
    <dgm:cxn modelId="{605FF0A7-0289-4696-BD7F-E6AB57415C48}" type="presParOf" srcId="{DD1510AE-1BB8-4707-8961-18A4B0C5F604}" destId="{F5CD0FE5-F057-4E13-BB10-304BF1126135}" srcOrd="5" destOrd="0" presId="urn:microsoft.com/office/officeart/2018/2/layout/IconLabelList"/>
    <dgm:cxn modelId="{23752087-5E79-431C-B8A3-E8DFB95DFFE1}" type="presParOf" srcId="{DD1510AE-1BB8-4707-8961-18A4B0C5F604}" destId="{5C8E67B0-7705-47AE-8CD4-B244E1103DE2}" srcOrd="6" destOrd="0" presId="urn:microsoft.com/office/officeart/2018/2/layout/IconLabelList"/>
    <dgm:cxn modelId="{EA625CC3-BC60-43AC-B685-2D5ED8A457E7}" type="presParOf" srcId="{5C8E67B0-7705-47AE-8CD4-B244E1103DE2}" destId="{397DF4D7-6917-4668-B6CA-4F8824F1E7B0}" srcOrd="0" destOrd="0" presId="urn:microsoft.com/office/officeart/2018/2/layout/IconLabelList"/>
    <dgm:cxn modelId="{0970135E-8AE8-478E-B1D0-86AF9072B94D}" type="presParOf" srcId="{5C8E67B0-7705-47AE-8CD4-B244E1103DE2}" destId="{C1E21EDB-5A7E-4509-800F-5895832A7B41}" srcOrd="1" destOrd="0" presId="urn:microsoft.com/office/officeart/2018/2/layout/IconLabelList"/>
    <dgm:cxn modelId="{B483FA9A-0204-414C-A0DF-ED99E261990A}" type="presParOf" srcId="{5C8E67B0-7705-47AE-8CD4-B244E1103DE2}" destId="{F2429306-74A9-4FB9-B9E8-A3C842557C83}"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E39C3E59-13A4-4058-BDAE-DEA548EE6AA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3CAE6DEA-116E-4B10-92E9-560DB93F8F66}">
      <dgm:prSet/>
      <dgm:spPr/>
      <dgm:t>
        <a:bodyPr/>
        <a:lstStyle/>
        <a:p>
          <a:r>
            <a:rPr lang="en-US" baseline="0"/>
            <a:t>vCore-based purchasing model</a:t>
          </a:r>
          <a:endParaRPr lang="en-US"/>
        </a:p>
      </dgm:t>
    </dgm:pt>
    <dgm:pt modelId="{C3F0ECAB-DCDF-4E1C-9C65-091596669F45}" type="parTrans" cxnId="{A846D2C2-7C0E-45B6-8976-2E8103D7E5E4}">
      <dgm:prSet/>
      <dgm:spPr/>
      <dgm:t>
        <a:bodyPr/>
        <a:lstStyle/>
        <a:p>
          <a:endParaRPr lang="en-US"/>
        </a:p>
      </dgm:t>
    </dgm:pt>
    <dgm:pt modelId="{05812B0F-411E-41A4-9C9C-1ADE7A9B7B67}" type="sibTrans" cxnId="{A846D2C2-7C0E-45B6-8976-2E8103D7E5E4}">
      <dgm:prSet/>
      <dgm:spPr/>
      <dgm:t>
        <a:bodyPr/>
        <a:lstStyle/>
        <a:p>
          <a:endParaRPr lang="en-US"/>
        </a:p>
      </dgm:t>
    </dgm:pt>
    <dgm:pt modelId="{DBA71977-4244-4BAC-B9FB-283000219C6C}">
      <dgm:prSet/>
      <dgm:spPr/>
      <dgm:t>
        <a:bodyPr/>
        <a:lstStyle/>
        <a:p>
          <a:r>
            <a:rPr lang="en-US"/>
            <a:t>Storage can be provisioned up to the max size limit:</a:t>
          </a:r>
        </a:p>
      </dgm:t>
    </dgm:pt>
    <dgm:pt modelId="{89277590-6FF7-4D1B-80F6-6C54D2520529}" type="parTrans" cxnId="{4D12D0FA-CCE9-4999-805C-2CF38DEF7CE1}">
      <dgm:prSet/>
      <dgm:spPr/>
      <dgm:t>
        <a:bodyPr/>
        <a:lstStyle/>
        <a:p>
          <a:endParaRPr lang="en-US"/>
        </a:p>
      </dgm:t>
    </dgm:pt>
    <dgm:pt modelId="{4EF11E22-B371-4633-9029-392B273F67A3}" type="sibTrans" cxnId="{4D12D0FA-CCE9-4999-805C-2CF38DEF7CE1}">
      <dgm:prSet/>
      <dgm:spPr/>
      <dgm:t>
        <a:bodyPr/>
        <a:lstStyle/>
        <a:p>
          <a:endParaRPr lang="en-US"/>
        </a:p>
      </dgm:t>
    </dgm:pt>
    <dgm:pt modelId="{F17A8E44-AE29-4D38-AD30-757EBA514A5F}">
      <dgm:prSet/>
      <dgm:spPr/>
      <dgm:t>
        <a:bodyPr/>
        <a:lstStyle/>
        <a:p>
          <a:r>
            <a:rPr lang="en-US" baseline="0"/>
            <a:t>DTU-based purchasing model</a:t>
          </a:r>
          <a:endParaRPr lang="en-US"/>
        </a:p>
      </dgm:t>
    </dgm:pt>
    <dgm:pt modelId="{0F719EB6-691F-471F-ABCA-68BCF0753F21}" type="parTrans" cxnId="{9796F9B5-B661-4855-81B1-FD97849B9CD8}">
      <dgm:prSet/>
      <dgm:spPr/>
      <dgm:t>
        <a:bodyPr/>
        <a:lstStyle/>
        <a:p>
          <a:endParaRPr lang="en-US"/>
        </a:p>
      </dgm:t>
    </dgm:pt>
    <dgm:pt modelId="{7D4EC78F-0E06-41A3-A118-080830042D04}" type="sibTrans" cxnId="{9796F9B5-B661-4855-81B1-FD97849B9CD8}">
      <dgm:prSet/>
      <dgm:spPr/>
      <dgm:t>
        <a:bodyPr/>
        <a:lstStyle/>
        <a:p>
          <a:endParaRPr lang="en-US"/>
        </a:p>
      </dgm:t>
    </dgm:pt>
    <dgm:pt modelId="{F96E7538-B42C-4DCE-9F74-74E847EC3875}">
      <dgm:prSet/>
      <dgm:spPr/>
      <dgm:t>
        <a:bodyPr/>
        <a:lstStyle/>
        <a:p>
          <a:r>
            <a:rPr lang="en-US"/>
            <a:t>The eDTU price for an elastic pool includes a certain amount of storage at no additional cost. </a:t>
          </a:r>
        </a:p>
      </dgm:t>
    </dgm:pt>
    <dgm:pt modelId="{4A0CF8A5-4DC1-40C6-B4B2-F63B4ECC72D9}" type="parTrans" cxnId="{08656B9C-73CE-4929-88F3-F1A057EFC8FF}">
      <dgm:prSet/>
      <dgm:spPr/>
      <dgm:t>
        <a:bodyPr/>
        <a:lstStyle/>
        <a:p>
          <a:endParaRPr lang="en-US"/>
        </a:p>
      </dgm:t>
    </dgm:pt>
    <dgm:pt modelId="{57816E27-CB4E-4B40-9757-39AF04F763EE}" type="sibTrans" cxnId="{08656B9C-73CE-4929-88F3-F1A057EFC8FF}">
      <dgm:prSet/>
      <dgm:spPr/>
      <dgm:t>
        <a:bodyPr/>
        <a:lstStyle/>
        <a:p>
          <a:endParaRPr lang="en-US"/>
        </a:p>
      </dgm:t>
    </dgm:pt>
    <dgm:pt modelId="{18F1E73C-9BD4-4628-9A81-390478945F4A}">
      <dgm:prSet/>
      <dgm:spPr/>
      <dgm:t>
        <a:bodyPr/>
        <a:lstStyle/>
        <a:p>
          <a:r>
            <a:rPr lang="en-US"/>
            <a:t>Extra storage beyond the included amount can be provisioned for an additional cost up to the max size limit in increments of 250 GB up to 1 TB, and then in increments of 256 GB beyond 1 TB. </a:t>
          </a:r>
        </a:p>
      </dgm:t>
    </dgm:pt>
    <dgm:pt modelId="{064DCFF2-224D-48AD-B303-3A7F0AAFD5A8}" type="parTrans" cxnId="{293550CE-DBC9-4B51-8EC5-B5809A4D14E9}">
      <dgm:prSet/>
      <dgm:spPr/>
      <dgm:t>
        <a:bodyPr/>
        <a:lstStyle/>
        <a:p>
          <a:endParaRPr lang="en-US"/>
        </a:p>
      </dgm:t>
    </dgm:pt>
    <dgm:pt modelId="{EE112A5D-6239-4292-A131-56B3666199FB}" type="sibTrans" cxnId="{293550CE-DBC9-4B51-8EC5-B5809A4D14E9}">
      <dgm:prSet/>
      <dgm:spPr/>
      <dgm:t>
        <a:bodyPr/>
        <a:lstStyle/>
        <a:p>
          <a:endParaRPr lang="en-US"/>
        </a:p>
      </dgm:t>
    </dgm:pt>
    <dgm:pt modelId="{7A60B32F-5149-4A81-9D28-77104E00FBFE}">
      <dgm:prSet/>
      <dgm:spPr/>
      <dgm:t>
        <a:bodyPr/>
        <a:lstStyle/>
        <a:p>
          <a:r>
            <a:rPr lang="en-US"/>
            <a:t>The price of extra storage for an elastic pool is the extra storage amount multiplied by the extra storage unit price of the service tier.</a:t>
          </a:r>
        </a:p>
      </dgm:t>
    </dgm:pt>
    <dgm:pt modelId="{C9FFE253-B265-43EC-BF2F-F54320BF6E4C}" type="parTrans" cxnId="{E0DF10EE-824D-4580-9632-69B50AE4453C}">
      <dgm:prSet/>
      <dgm:spPr/>
      <dgm:t>
        <a:bodyPr/>
        <a:lstStyle/>
        <a:p>
          <a:endParaRPr lang="en-US"/>
        </a:p>
      </dgm:t>
    </dgm:pt>
    <dgm:pt modelId="{69616886-79C6-400C-8D3E-DF6DCCFF5FE7}" type="sibTrans" cxnId="{E0DF10EE-824D-4580-9632-69B50AE4453C}">
      <dgm:prSet/>
      <dgm:spPr/>
      <dgm:t>
        <a:bodyPr/>
        <a:lstStyle/>
        <a:p>
          <a:endParaRPr lang="en-US"/>
        </a:p>
      </dgm:t>
    </dgm:pt>
    <dgm:pt modelId="{F7B79B76-F671-4D78-8B42-6F0EFF8343A6}">
      <dgm:prSet/>
      <dgm:spPr/>
      <dgm:t>
        <a:bodyPr/>
        <a:lstStyle/>
        <a:p>
          <a:r>
            <a:rPr lang="en-US"/>
            <a:t>For storage in the standard or general-purpose service tiers, increase or decrease size in 10GB increments.</a:t>
          </a:r>
        </a:p>
      </dgm:t>
    </dgm:pt>
    <dgm:pt modelId="{48D37468-5CAC-4F39-BBAB-AA1F18CC3F9F}" type="parTrans" cxnId="{81B6E15E-4FB5-423D-809D-D0812F75B4E7}">
      <dgm:prSet/>
      <dgm:spPr/>
      <dgm:t>
        <a:bodyPr/>
        <a:lstStyle/>
        <a:p>
          <a:endParaRPr lang="en-US"/>
        </a:p>
      </dgm:t>
    </dgm:pt>
    <dgm:pt modelId="{4D4E2BFA-366F-4B5A-BAC9-31D975BE06C9}" type="sibTrans" cxnId="{81B6E15E-4FB5-423D-809D-D0812F75B4E7}">
      <dgm:prSet/>
      <dgm:spPr/>
      <dgm:t>
        <a:bodyPr/>
        <a:lstStyle/>
        <a:p>
          <a:endParaRPr lang="en-US"/>
        </a:p>
      </dgm:t>
    </dgm:pt>
    <dgm:pt modelId="{7A755D95-6630-4BB5-8745-5C43B594770F}">
      <dgm:prSet/>
      <dgm:spPr/>
      <dgm:t>
        <a:bodyPr/>
        <a:lstStyle/>
        <a:p>
          <a:r>
            <a:rPr lang="en-US"/>
            <a:t>For storage in the premium or business critical service tiers, increase or decrease size in 250GB increments.</a:t>
          </a:r>
        </a:p>
      </dgm:t>
    </dgm:pt>
    <dgm:pt modelId="{6BFFC0AE-AB77-472F-AD02-26DA3039E2EC}" type="parTrans" cxnId="{D14C1AD9-1FBF-40B5-8AE3-49E122C6D417}">
      <dgm:prSet/>
      <dgm:spPr/>
      <dgm:t>
        <a:bodyPr/>
        <a:lstStyle/>
        <a:p>
          <a:endParaRPr lang="en-US"/>
        </a:p>
      </dgm:t>
    </dgm:pt>
    <dgm:pt modelId="{7C5E2655-2BBB-4A4E-A490-4190F7350CC0}" type="sibTrans" cxnId="{D14C1AD9-1FBF-40B5-8AE3-49E122C6D417}">
      <dgm:prSet/>
      <dgm:spPr/>
      <dgm:t>
        <a:bodyPr/>
        <a:lstStyle/>
        <a:p>
          <a:endParaRPr lang="en-US"/>
        </a:p>
      </dgm:t>
    </dgm:pt>
    <dgm:pt modelId="{2254DDFC-195C-4E4E-8650-77C87088EE65}">
      <dgm:prSet/>
      <dgm:spPr/>
      <dgm:t>
        <a:bodyPr/>
        <a:lstStyle/>
        <a:p>
          <a:r>
            <a:rPr lang="en-US"/>
            <a:t>The price of storage for an elastic pool is the storage amount multiplied by the storage unit price of the service tier.</a:t>
          </a:r>
        </a:p>
      </dgm:t>
    </dgm:pt>
    <dgm:pt modelId="{36B9A787-3034-496B-A050-858E88B622C8}" type="parTrans" cxnId="{75F85A5F-6038-420F-AF35-74AAD03AE47C}">
      <dgm:prSet/>
      <dgm:spPr/>
      <dgm:t>
        <a:bodyPr/>
        <a:lstStyle/>
        <a:p>
          <a:endParaRPr lang="en-US"/>
        </a:p>
      </dgm:t>
    </dgm:pt>
    <dgm:pt modelId="{FA7774EA-626B-43E2-9149-C96EC26C7B7E}" type="sibTrans" cxnId="{75F85A5F-6038-420F-AF35-74AAD03AE47C}">
      <dgm:prSet/>
      <dgm:spPr/>
      <dgm:t>
        <a:bodyPr/>
        <a:lstStyle/>
        <a:p>
          <a:endParaRPr lang="en-US"/>
        </a:p>
      </dgm:t>
    </dgm:pt>
    <dgm:pt modelId="{239B4865-B856-48BC-91C1-2183B0076EA0}" type="pres">
      <dgm:prSet presAssocID="{E39C3E59-13A4-4058-BDAE-DEA548EE6AA7}" presName="linear" presStyleCnt="0">
        <dgm:presLayoutVars>
          <dgm:animLvl val="lvl"/>
          <dgm:resizeHandles val="exact"/>
        </dgm:presLayoutVars>
      </dgm:prSet>
      <dgm:spPr/>
    </dgm:pt>
    <dgm:pt modelId="{10601F1E-64D4-4E08-A0B5-61CC2CD91CC8}" type="pres">
      <dgm:prSet presAssocID="{3CAE6DEA-116E-4B10-92E9-560DB93F8F66}" presName="parentText" presStyleLbl="node1" presStyleIdx="0" presStyleCnt="2">
        <dgm:presLayoutVars>
          <dgm:chMax val="0"/>
          <dgm:bulletEnabled val="1"/>
        </dgm:presLayoutVars>
      </dgm:prSet>
      <dgm:spPr/>
    </dgm:pt>
    <dgm:pt modelId="{8308E666-D572-47FF-A7F3-AF87F26598D2}" type="pres">
      <dgm:prSet presAssocID="{3CAE6DEA-116E-4B10-92E9-560DB93F8F66}" presName="childText" presStyleLbl="revTx" presStyleIdx="0" presStyleCnt="2">
        <dgm:presLayoutVars>
          <dgm:bulletEnabled val="1"/>
        </dgm:presLayoutVars>
      </dgm:prSet>
      <dgm:spPr/>
    </dgm:pt>
    <dgm:pt modelId="{04A36839-F08C-4766-95B7-2EE2DAC8EEB8}" type="pres">
      <dgm:prSet presAssocID="{F17A8E44-AE29-4D38-AD30-757EBA514A5F}" presName="parentText" presStyleLbl="node1" presStyleIdx="1" presStyleCnt="2">
        <dgm:presLayoutVars>
          <dgm:chMax val="0"/>
          <dgm:bulletEnabled val="1"/>
        </dgm:presLayoutVars>
      </dgm:prSet>
      <dgm:spPr/>
    </dgm:pt>
    <dgm:pt modelId="{EAE25A8A-9888-432B-8B75-D7C90E7DB6F3}" type="pres">
      <dgm:prSet presAssocID="{F17A8E44-AE29-4D38-AD30-757EBA514A5F}" presName="childText" presStyleLbl="revTx" presStyleIdx="1" presStyleCnt="2">
        <dgm:presLayoutVars>
          <dgm:bulletEnabled val="1"/>
        </dgm:presLayoutVars>
      </dgm:prSet>
      <dgm:spPr/>
    </dgm:pt>
  </dgm:ptLst>
  <dgm:cxnLst>
    <dgm:cxn modelId="{6CF90232-D0A6-42F1-9D7A-927703F6DC24}" type="presOf" srcId="{F96E7538-B42C-4DCE-9F74-74E847EC3875}" destId="{EAE25A8A-9888-432B-8B75-D7C90E7DB6F3}" srcOrd="0" destOrd="0" presId="urn:microsoft.com/office/officeart/2005/8/layout/vList2"/>
    <dgm:cxn modelId="{4C7C2B40-8755-41D5-99A6-4DCEBDE85A9D}" type="presOf" srcId="{E39C3E59-13A4-4058-BDAE-DEA548EE6AA7}" destId="{239B4865-B856-48BC-91C1-2183B0076EA0}" srcOrd="0" destOrd="0" presId="urn:microsoft.com/office/officeart/2005/8/layout/vList2"/>
    <dgm:cxn modelId="{81B6E15E-4FB5-423D-809D-D0812F75B4E7}" srcId="{DBA71977-4244-4BAC-B9FB-283000219C6C}" destId="{F7B79B76-F671-4D78-8B42-6F0EFF8343A6}" srcOrd="0" destOrd="0" parTransId="{48D37468-5CAC-4F39-BBAB-AA1F18CC3F9F}" sibTransId="{4D4E2BFA-366F-4B5A-BAC9-31D975BE06C9}"/>
    <dgm:cxn modelId="{75F85A5F-6038-420F-AF35-74AAD03AE47C}" srcId="{3CAE6DEA-116E-4B10-92E9-560DB93F8F66}" destId="{2254DDFC-195C-4E4E-8650-77C87088EE65}" srcOrd="1" destOrd="0" parTransId="{36B9A787-3034-496B-A050-858E88B622C8}" sibTransId="{FA7774EA-626B-43E2-9149-C96EC26C7B7E}"/>
    <dgm:cxn modelId="{AD5E9D72-0575-4580-AB8C-52FE4955960F}" type="presOf" srcId="{F7B79B76-F671-4D78-8B42-6F0EFF8343A6}" destId="{8308E666-D572-47FF-A7F3-AF87F26598D2}" srcOrd="0" destOrd="1" presId="urn:microsoft.com/office/officeart/2005/8/layout/vList2"/>
    <dgm:cxn modelId="{CC1BC252-4831-408E-84ED-06BF930DD8A4}" type="presOf" srcId="{F17A8E44-AE29-4D38-AD30-757EBA514A5F}" destId="{04A36839-F08C-4766-95B7-2EE2DAC8EEB8}" srcOrd="0" destOrd="0" presId="urn:microsoft.com/office/officeart/2005/8/layout/vList2"/>
    <dgm:cxn modelId="{6649E381-13EB-4249-B428-D1970E080217}" type="presOf" srcId="{3CAE6DEA-116E-4B10-92E9-560DB93F8F66}" destId="{10601F1E-64D4-4E08-A0B5-61CC2CD91CC8}" srcOrd="0" destOrd="0" presId="urn:microsoft.com/office/officeart/2005/8/layout/vList2"/>
    <dgm:cxn modelId="{08656B9C-73CE-4929-88F3-F1A057EFC8FF}" srcId="{F17A8E44-AE29-4D38-AD30-757EBA514A5F}" destId="{F96E7538-B42C-4DCE-9F74-74E847EC3875}" srcOrd="0" destOrd="0" parTransId="{4A0CF8A5-4DC1-40C6-B4B2-F63B4ECC72D9}" sibTransId="{57816E27-CB4E-4B40-9757-39AF04F763EE}"/>
    <dgm:cxn modelId="{BA5DF2A2-7951-4128-A7CD-EDC6846A81A5}" type="presOf" srcId="{DBA71977-4244-4BAC-B9FB-283000219C6C}" destId="{8308E666-D572-47FF-A7F3-AF87F26598D2}" srcOrd="0" destOrd="0" presId="urn:microsoft.com/office/officeart/2005/8/layout/vList2"/>
    <dgm:cxn modelId="{3FA2ABB0-5B0A-4D89-B5E7-361E3D835C1E}" type="presOf" srcId="{7A755D95-6630-4BB5-8745-5C43B594770F}" destId="{8308E666-D572-47FF-A7F3-AF87F26598D2}" srcOrd="0" destOrd="2" presId="urn:microsoft.com/office/officeart/2005/8/layout/vList2"/>
    <dgm:cxn modelId="{9796F9B5-B661-4855-81B1-FD97849B9CD8}" srcId="{E39C3E59-13A4-4058-BDAE-DEA548EE6AA7}" destId="{F17A8E44-AE29-4D38-AD30-757EBA514A5F}" srcOrd="1" destOrd="0" parTransId="{0F719EB6-691F-471F-ABCA-68BCF0753F21}" sibTransId="{7D4EC78F-0E06-41A3-A118-080830042D04}"/>
    <dgm:cxn modelId="{A846D2C2-7C0E-45B6-8976-2E8103D7E5E4}" srcId="{E39C3E59-13A4-4058-BDAE-DEA548EE6AA7}" destId="{3CAE6DEA-116E-4B10-92E9-560DB93F8F66}" srcOrd="0" destOrd="0" parTransId="{C3F0ECAB-DCDF-4E1C-9C65-091596669F45}" sibTransId="{05812B0F-411E-41A4-9C9C-1ADE7A9B7B67}"/>
    <dgm:cxn modelId="{293550CE-DBC9-4B51-8EC5-B5809A4D14E9}" srcId="{F17A8E44-AE29-4D38-AD30-757EBA514A5F}" destId="{18F1E73C-9BD4-4628-9A81-390478945F4A}" srcOrd="1" destOrd="0" parTransId="{064DCFF2-224D-48AD-B303-3A7F0AAFD5A8}" sibTransId="{EE112A5D-6239-4292-A131-56B3666199FB}"/>
    <dgm:cxn modelId="{27E934D4-0DFE-4C1A-8A48-E4DE76BCC9DE}" type="presOf" srcId="{2254DDFC-195C-4E4E-8650-77C87088EE65}" destId="{8308E666-D572-47FF-A7F3-AF87F26598D2}" srcOrd="0" destOrd="3" presId="urn:microsoft.com/office/officeart/2005/8/layout/vList2"/>
    <dgm:cxn modelId="{D14C1AD9-1FBF-40B5-8AE3-49E122C6D417}" srcId="{DBA71977-4244-4BAC-B9FB-283000219C6C}" destId="{7A755D95-6630-4BB5-8745-5C43B594770F}" srcOrd="1" destOrd="0" parTransId="{6BFFC0AE-AB77-472F-AD02-26DA3039E2EC}" sibTransId="{7C5E2655-2BBB-4A4E-A490-4190F7350CC0}"/>
    <dgm:cxn modelId="{292B33ED-DA78-4E4E-8322-4730C662A8B5}" type="presOf" srcId="{18F1E73C-9BD4-4628-9A81-390478945F4A}" destId="{EAE25A8A-9888-432B-8B75-D7C90E7DB6F3}" srcOrd="0" destOrd="1" presId="urn:microsoft.com/office/officeart/2005/8/layout/vList2"/>
    <dgm:cxn modelId="{E0DF10EE-824D-4580-9632-69B50AE4453C}" srcId="{F17A8E44-AE29-4D38-AD30-757EBA514A5F}" destId="{7A60B32F-5149-4A81-9D28-77104E00FBFE}" srcOrd="2" destOrd="0" parTransId="{C9FFE253-B265-43EC-BF2F-F54320BF6E4C}" sibTransId="{69616886-79C6-400C-8D3E-DF6DCCFF5FE7}"/>
    <dgm:cxn modelId="{4D12D0FA-CCE9-4999-805C-2CF38DEF7CE1}" srcId="{3CAE6DEA-116E-4B10-92E9-560DB93F8F66}" destId="{DBA71977-4244-4BAC-B9FB-283000219C6C}" srcOrd="0" destOrd="0" parTransId="{89277590-6FF7-4D1B-80F6-6C54D2520529}" sibTransId="{4EF11E22-B371-4633-9029-392B273F67A3}"/>
    <dgm:cxn modelId="{00B525FF-FA1A-4145-BC3F-2233655B82CA}" type="presOf" srcId="{7A60B32F-5149-4A81-9D28-77104E00FBFE}" destId="{EAE25A8A-9888-432B-8B75-D7C90E7DB6F3}" srcOrd="0" destOrd="2" presId="urn:microsoft.com/office/officeart/2005/8/layout/vList2"/>
    <dgm:cxn modelId="{D4FA5796-53E4-46F4-AC8F-8BFC18BCA31A}" type="presParOf" srcId="{239B4865-B856-48BC-91C1-2183B0076EA0}" destId="{10601F1E-64D4-4E08-A0B5-61CC2CD91CC8}" srcOrd="0" destOrd="0" presId="urn:microsoft.com/office/officeart/2005/8/layout/vList2"/>
    <dgm:cxn modelId="{28ABD483-7F5C-4A86-B0D6-3015136F04E2}" type="presParOf" srcId="{239B4865-B856-48BC-91C1-2183B0076EA0}" destId="{8308E666-D572-47FF-A7F3-AF87F26598D2}" srcOrd="1" destOrd="0" presId="urn:microsoft.com/office/officeart/2005/8/layout/vList2"/>
    <dgm:cxn modelId="{6E4F03BB-AE2A-463D-8083-FBCB69DD7EC3}" type="presParOf" srcId="{239B4865-B856-48BC-91C1-2183B0076EA0}" destId="{04A36839-F08C-4766-95B7-2EE2DAC8EEB8}" srcOrd="2" destOrd="0" presId="urn:microsoft.com/office/officeart/2005/8/layout/vList2"/>
    <dgm:cxn modelId="{059DEF3D-F294-4EE6-A5B0-A4516623A1D6}" type="presParOf" srcId="{239B4865-B856-48BC-91C1-2183B0076EA0}" destId="{EAE25A8A-9888-432B-8B75-D7C90E7DB6F3}"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a:t>What is a SQL Elastic Pool?</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a:t>When should you consider an elastic pool instead of a single database?</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a:t>Which tools can help you to size your elastic pool?</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9F1D9399-7667-4E3F-9C6F-ED74215FF152}"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45B2E9E3-7F2D-4E44-9A15-E40A02678759}">
      <dgm:prSet phldrT="[Text]" custT="1"/>
      <dgm:spPr>
        <a:xfrm>
          <a:off x="3715" y="55258"/>
          <a:ext cx="3622601" cy="460800"/>
        </a:xfrm>
        <a:prstGeom prst="rect">
          <a:avLst/>
        </a:prstGeom>
        <a:solidFill>
          <a:srgbClr val="0078D7"/>
        </a:solidFill>
        <a:ln w="10795" cap="flat" cmpd="sng" algn="ctr">
          <a:solidFill>
            <a:srgbClr val="002050">
              <a:hueOff val="0"/>
              <a:satOff val="0"/>
              <a:lumOff val="0"/>
              <a:alphaOff val="0"/>
            </a:srgbClr>
          </a:solidFill>
          <a:prstDash val="solid"/>
        </a:ln>
        <a:effectLst/>
      </dgm:spPr>
      <dgm:t>
        <a:bodyPr/>
        <a:lstStyle/>
        <a:p>
          <a:pPr>
            <a:buFont typeface="Arial" pitchFamily="34" charset="0"/>
            <a:buNone/>
          </a:pPr>
          <a:r>
            <a:rPr lang="nl-BE" sz="1800" b="1">
              <a:solidFill>
                <a:srgbClr val="FFFFFF"/>
              </a:solidFill>
              <a:latin typeface="Segoe UI"/>
              <a:ea typeface="+mn-ea"/>
              <a:cs typeface="+mn-cs"/>
            </a:rPr>
            <a:t>Azure SQL Datababase</a:t>
          </a:r>
          <a:endParaRPr lang="en-US" sz="1800">
            <a:solidFill>
              <a:srgbClr val="FFFFFF"/>
            </a:solidFill>
            <a:latin typeface="Segoe UI"/>
            <a:ea typeface="+mn-ea"/>
            <a:cs typeface="+mn-cs"/>
          </a:endParaRPr>
        </a:p>
      </dgm:t>
    </dgm:pt>
    <dgm:pt modelId="{30B186D0-D562-423C-BFDE-1755D670E0A8}" type="parTrans" cxnId="{6D5BB19C-2400-49D8-AE14-7FF8FC08E505}">
      <dgm:prSet/>
      <dgm:spPr/>
      <dgm:t>
        <a:bodyPr/>
        <a:lstStyle/>
        <a:p>
          <a:endParaRPr lang="en-US"/>
        </a:p>
      </dgm:t>
    </dgm:pt>
    <dgm:pt modelId="{35210F35-9870-42D4-933E-ED86D8F052E5}" type="sibTrans" cxnId="{6D5BB19C-2400-49D8-AE14-7FF8FC08E505}">
      <dgm:prSet/>
      <dgm:spPr/>
      <dgm:t>
        <a:bodyPr/>
        <a:lstStyle/>
        <a:p>
          <a:endParaRPr lang="en-US"/>
        </a:p>
      </dgm:t>
    </dgm:pt>
    <dgm:pt modelId="{11E18E8A-C9DE-45FA-B8BB-697BC6E8B120}">
      <dgm:prSet custT="1">
        <dgm:style>
          <a:lnRef idx="1">
            <a:schemeClr val="accent3"/>
          </a:lnRef>
          <a:fillRef idx="2">
            <a:schemeClr val="accent3"/>
          </a:fillRef>
          <a:effectRef idx="1">
            <a:schemeClr val="accent3"/>
          </a:effectRef>
          <a:fontRef idx="minor">
            <a:schemeClr val="dk1"/>
          </a:fontRef>
        </dgm:style>
      </dgm:prSet>
      <dgm:spPr>
        <a:xfrm>
          <a:off x="3715" y="483327"/>
          <a:ext cx="3622601" cy="5294043"/>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r>
            <a:rPr lang="en-US" sz="1400">
              <a:solidFill>
                <a:srgbClr val="505050"/>
              </a:solidFill>
              <a:latin typeface="Segoe UI"/>
              <a:ea typeface="+mn-ea"/>
              <a:cs typeface="+mn-cs"/>
            </a:rPr>
            <a:t>New cloud-designed applications that want to use the latest stable SQL Server features and have time constraints in development and marketing.</a:t>
          </a:r>
          <a:endParaRPr lang="nl-BE" sz="1400">
            <a:solidFill>
              <a:srgbClr val="505050"/>
            </a:solidFill>
            <a:latin typeface="Segoe UI"/>
            <a:ea typeface="+mn-ea"/>
            <a:cs typeface="+mn-cs"/>
          </a:endParaRPr>
        </a:p>
      </dgm:t>
    </dgm:pt>
    <dgm:pt modelId="{21EC32E0-5D37-4F0B-BF47-468D13435F07}" type="parTrans" cxnId="{99A5C397-5378-4074-A56E-D90A6D149E7F}">
      <dgm:prSet/>
      <dgm:spPr/>
      <dgm:t>
        <a:bodyPr/>
        <a:lstStyle/>
        <a:p>
          <a:endParaRPr lang="en-US"/>
        </a:p>
      </dgm:t>
    </dgm:pt>
    <dgm:pt modelId="{2C2AB991-38E5-49BD-A68D-4533319EDEBF}" type="sibTrans" cxnId="{99A5C397-5378-4074-A56E-D90A6D149E7F}">
      <dgm:prSet/>
      <dgm:spPr/>
      <dgm:t>
        <a:bodyPr/>
        <a:lstStyle/>
        <a:p>
          <a:endParaRPr lang="en-US"/>
        </a:p>
      </dgm:t>
    </dgm:pt>
    <dgm:pt modelId="{2C5A763C-85CB-458E-A9A1-76D63C950B3F}">
      <dgm:prSet custT="1">
        <dgm:style>
          <a:lnRef idx="1">
            <a:schemeClr val="accent3"/>
          </a:lnRef>
          <a:fillRef idx="2">
            <a:schemeClr val="accent3"/>
          </a:fillRef>
          <a:effectRef idx="1">
            <a:schemeClr val="accent3"/>
          </a:effectRef>
          <a:fontRef idx="minor">
            <a:schemeClr val="dk1"/>
          </a:fontRef>
        </dgm:style>
      </dgm:prSet>
      <dgm:spPr>
        <a:xfrm>
          <a:off x="3715" y="483327"/>
          <a:ext cx="3622601" cy="5294043"/>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r>
            <a:rPr lang="en-US" sz="1400">
              <a:solidFill>
                <a:srgbClr val="505050"/>
              </a:solidFill>
              <a:latin typeface="Segoe UI"/>
              <a:ea typeface="+mn-ea"/>
              <a:cs typeface="+mn-cs"/>
            </a:rPr>
            <a:t>Teams that need built-in high availability, disaster recovery, and upgrade for the database.</a:t>
          </a:r>
        </a:p>
      </dgm:t>
    </dgm:pt>
    <dgm:pt modelId="{68A21D36-6E60-4539-93AC-2BA4A8629110}" type="parTrans" cxnId="{D191E525-F123-45D0-8EC2-1763FC4BBC58}">
      <dgm:prSet/>
      <dgm:spPr/>
      <dgm:t>
        <a:bodyPr/>
        <a:lstStyle/>
        <a:p>
          <a:endParaRPr lang="en-US"/>
        </a:p>
      </dgm:t>
    </dgm:pt>
    <dgm:pt modelId="{5FB85AC2-4350-4AD7-8076-2FCEE5371581}" type="sibTrans" cxnId="{D191E525-F123-45D0-8EC2-1763FC4BBC58}">
      <dgm:prSet/>
      <dgm:spPr/>
      <dgm:t>
        <a:bodyPr/>
        <a:lstStyle/>
        <a:p>
          <a:endParaRPr lang="en-US"/>
        </a:p>
      </dgm:t>
    </dgm:pt>
    <dgm:pt modelId="{029F5C2A-4625-42E6-A2EC-1140CE40BA23}">
      <dgm:prSet custT="1">
        <dgm:style>
          <a:lnRef idx="1">
            <a:schemeClr val="accent3"/>
          </a:lnRef>
          <a:fillRef idx="2">
            <a:schemeClr val="accent3"/>
          </a:fillRef>
          <a:effectRef idx="1">
            <a:schemeClr val="accent3"/>
          </a:effectRef>
          <a:fontRef idx="minor">
            <a:schemeClr val="dk1"/>
          </a:fontRef>
        </dgm:style>
      </dgm:prSet>
      <dgm:spPr>
        <a:xfrm>
          <a:off x="3715" y="483327"/>
          <a:ext cx="3622601" cy="5294043"/>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r>
            <a:rPr lang="en-US" sz="1400">
              <a:solidFill>
                <a:srgbClr val="505050"/>
              </a:solidFill>
              <a:latin typeface="Segoe UI"/>
              <a:ea typeface="+mn-ea"/>
              <a:cs typeface="+mn-cs"/>
            </a:rPr>
            <a:t>Teams that do not want to manage the underlying operating system and configuration settings.</a:t>
          </a:r>
        </a:p>
      </dgm:t>
    </dgm:pt>
    <dgm:pt modelId="{64EA1547-820C-4DD4-8542-03F7E8FFF7A8}" type="parTrans" cxnId="{CA069418-2E33-428D-80DA-532C84A33E36}">
      <dgm:prSet/>
      <dgm:spPr/>
      <dgm:t>
        <a:bodyPr/>
        <a:lstStyle/>
        <a:p>
          <a:endParaRPr lang="en-US"/>
        </a:p>
      </dgm:t>
    </dgm:pt>
    <dgm:pt modelId="{83A35BF4-DB43-4643-82B3-C0285B5F6C17}" type="sibTrans" cxnId="{CA069418-2E33-428D-80DA-532C84A33E36}">
      <dgm:prSet/>
      <dgm:spPr/>
      <dgm:t>
        <a:bodyPr/>
        <a:lstStyle/>
        <a:p>
          <a:endParaRPr lang="en-US"/>
        </a:p>
      </dgm:t>
    </dgm:pt>
    <dgm:pt modelId="{DD896099-B3F7-4024-97F0-F0D654E08CE0}">
      <dgm:prSet custT="1">
        <dgm:style>
          <a:lnRef idx="1">
            <a:schemeClr val="accent3"/>
          </a:lnRef>
          <a:fillRef idx="2">
            <a:schemeClr val="accent3"/>
          </a:fillRef>
          <a:effectRef idx="1">
            <a:schemeClr val="accent3"/>
          </a:effectRef>
          <a:fontRef idx="minor">
            <a:schemeClr val="dk1"/>
          </a:fontRef>
        </dgm:style>
      </dgm:prSet>
      <dgm:spPr>
        <a:xfrm>
          <a:off x="3715" y="483327"/>
          <a:ext cx="3622601" cy="5294043"/>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r>
            <a:rPr lang="en-US" sz="1400">
              <a:solidFill>
                <a:srgbClr val="505050"/>
              </a:solidFill>
              <a:latin typeface="Segoe UI"/>
              <a:ea typeface="+mn-ea"/>
              <a:cs typeface="+mn-cs"/>
            </a:rPr>
            <a:t>Databases of up to 4 TB, or larger databases that can be horizontally or vertically partitioned using a scale-out pattern.</a:t>
          </a:r>
        </a:p>
      </dgm:t>
    </dgm:pt>
    <dgm:pt modelId="{B527E662-79F3-477F-9D42-9B8FF8434B55}" type="parTrans" cxnId="{4137581E-6236-4652-9B48-9584091C4066}">
      <dgm:prSet/>
      <dgm:spPr/>
      <dgm:t>
        <a:bodyPr/>
        <a:lstStyle/>
        <a:p>
          <a:endParaRPr lang="en-US"/>
        </a:p>
      </dgm:t>
    </dgm:pt>
    <dgm:pt modelId="{076A6729-A287-45B0-ACB0-F6E2E086FAE0}" type="sibTrans" cxnId="{4137581E-6236-4652-9B48-9584091C4066}">
      <dgm:prSet/>
      <dgm:spPr/>
      <dgm:t>
        <a:bodyPr/>
        <a:lstStyle/>
        <a:p>
          <a:endParaRPr lang="en-US"/>
        </a:p>
      </dgm:t>
    </dgm:pt>
    <dgm:pt modelId="{6622C38D-CA4D-4395-A05B-CE2E807273EA}">
      <dgm:prSet custT="1"/>
      <dgm:spPr>
        <a:xfrm>
          <a:off x="4133480" y="71624"/>
          <a:ext cx="3622601" cy="460800"/>
        </a:xfrm>
        <a:prstGeom prst="rect">
          <a:avLst/>
        </a:prstGeom>
        <a:solidFill>
          <a:srgbClr val="0078D7"/>
        </a:solidFill>
        <a:ln w="10795" cap="flat" cmpd="sng" algn="ctr">
          <a:solidFill>
            <a:srgbClr val="002050">
              <a:hueOff val="0"/>
              <a:satOff val="0"/>
              <a:lumOff val="0"/>
              <a:alphaOff val="0"/>
            </a:srgbClr>
          </a:solidFill>
          <a:prstDash val="solid"/>
        </a:ln>
        <a:effectLst/>
      </dgm:spPr>
      <dgm:t>
        <a:bodyPr/>
        <a:lstStyle/>
        <a:p>
          <a:pPr>
            <a:buNone/>
          </a:pPr>
          <a:r>
            <a:rPr lang="nl-BE" sz="1800" b="1">
              <a:solidFill>
                <a:srgbClr val="FFFFFF"/>
              </a:solidFill>
              <a:latin typeface="Segoe UI"/>
              <a:ea typeface="+mn-ea"/>
              <a:cs typeface="+mn-cs"/>
            </a:rPr>
            <a:t>Managed Instance</a:t>
          </a:r>
          <a:endParaRPr lang="en-US" sz="1800">
            <a:solidFill>
              <a:srgbClr val="FFFFFF"/>
            </a:solidFill>
            <a:latin typeface="Segoe UI"/>
            <a:ea typeface="+mn-ea"/>
            <a:cs typeface="+mn-cs"/>
          </a:endParaRPr>
        </a:p>
      </dgm:t>
    </dgm:pt>
    <dgm:pt modelId="{05DF670A-810F-43AE-AD8A-1168962C2087}" type="parTrans" cxnId="{06F48F80-1D20-49D3-A693-62FFAB75286E}">
      <dgm:prSet/>
      <dgm:spPr/>
      <dgm:t>
        <a:bodyPr/>
        <a:lstStyle/>
        <a:p>
          <a:endParaRPr lang="en-US"/>
        </a:p>
      </dgm:t>
    </dgm:pt>
    <dgm:pt modelId="{C6D3CBF4-C26E-46F4-8E17-0F6641FA2497}" type="sibTrans" cxnId="{06F48F80-1D20-49D3-A693-62FFAB75286E}">
      <dgm:prSet/>
      <dgm:spPr/>
      <dgm:t>
        <a:bodyPr/>
        <a:lstStyle/>
        <a:p>
          <a:endParaRPr lang="en-US"/>
        </a:p>
      </dgm:t>
    </dgm:pt>
    <dgm:pt modelId="{1526D4B6-E7EC-47EA-8CF3-1B7A7A87738D}">
      <dgm:prSet custT="1">
        <dgm:style>
          <a:lnRef idx="1">
            <a:schemeClr val="accent3"/>
          </a:lnRef>
          <a:fillRef idx="2">
            <a:schemeClr val="accent3"/>
          </a:fillRef>
          <a:effectRef idx="1">
            <a:schemeClr val="accent3"/>
          </a:effectRef>
          <a:fontRef idx="minor">
            <a:schemeClr val="dk1"/>
          </a:fontRef>
        </dgm:style>
      </dgm:prSet>
      <dgm:spPr>
        <a:xfrm>
          <a:off x="4133480" y="532424"/>
          <a:ext cx="3622601" cy="5228581"/>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r>
            <a:rPr lang="en-US" sz="1400">
              <a:solidFill>
                <a:srgbClr val="505050"/>
              </a:solidFill>
              <a:latin typeface="Segoe UI"/>
              <a:ea typeface="+mn-ea"/>
              <a:cs typeface="+mn-cs"/>
            </a:rPr>
            <a:t>New applications or existing on-premises applications that want to use the latest stable SQL Server features and that are migrated to the cloud with minimal changes.</a:t>
          </a:r>
          <a:endParaRPr lang="nl-BE" sz="1400">
            <a:solidFill>
              <a:srgbClr val="505050"/>
            </a:solidFill>
            <a:latin typeface="Segoe UI"/>
            <a:ea typeface="+mn-ea"/>
            <a:cs typeface="+mn-cs"/>
          </a:endParaRPr>
        </a:p>
      </dgm:t>
    </dgm:pt>
    <dgm:pt modelId="{1EFD3C76-03A1-4B0F-97A0-60CD57E7038E}" type="parTrans" cxnId="{17C681BE-8ADC-4186-AD40-6E3AFE5EE7C9}">
      <dgm:prSet/>
      <dgm:spPr/>
      <dgm:t>
        <a:bodyPr/>
        <a:lstStyle/>
        <a:p>
          <a:endParaRPr lang="en-US"/>
        </a:p>
      </dgm:t>
    </dgm:pt>
    <dgm:pt modelId="{49486109-EA05-4877-91C9-D24D498AA2E4}" type="sibTrans" cxnId="{17C681BE-8ADC-4186-AD40-6E3AFE5EE7C9}">
      <dgm:prSet/>
      <dgm:spPr/>
      <dgm:t>
        <a:bodyPr/>
        <a:lstStyle/>
        <a:p>
          <a:endParaRPr lang="en-US"/>
        </a:p>
      </dgm:t>
    </dgm:pt>
    <dgm:pt modelId="{9BC9B252-FAF6-4A55-A635-063A947FBF3F}">
      <dgm:prSet custT="1">
        <dgm:style>
          <a:lnRef idx="1">
            <a:schemeClr val="accent3"/>
          </a:lnRef>
          <a:fillRef idx="2">
            <a:schemeClr val="accent3"/>
          </a:fillRef>
          <a:effectRef idx="1">
            <a:schemeClr val="accent3"/>
          </a:effectRef>
          <a:fontRef idx="minor">
            <a:schemeClr val="dk1"/>
          </a:fontRef>
        </dgm:style>
      </dgm:prSet>
      <dgm:spPr>
        <a:xfrm>
          <a:off x="4133480" y="532424"/>
          <a:ext cx="3622601" cy="5228581"/>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r>
            <a:rPr lang="en-US" sz="1400">
              <a:solidFill>
                <a:srgbClr val="505050"/>
              </a:solidFill>
              <a:latin typeface="Segoe UI"/>
              <a:ea typeface="+mn-ea"/>
              <a:cs typeface="+mn-cs"/>
            </a:rPr>
            <a:t>Teams that need built-in high availability, disaster recovery, and upgrade for the database.</a:t>
          </a:r>
        </a:p>
      </dgm:t>
    </dgm:pt>
    <dgm:pt modelId="{36AEC279-A643-4963-9C0F-CD5FB2573E67}" type="parTrans" cxnId="{7D2D0B60-1D00-4246-8E56-7E9A5F240C58}">
      <dgm:prSet/>
      <dgm:spPr/>
      <dgm:t>
        <a:bodyPr/>
        <a:lstStyle/>
        <a:p>
          <a:endParaRPr lang="en-US"/>
        </a:p>
      </dgm:t>
    </dgm:pt>
    <dgm:pt modelId="{62C70245-523E-4E2C-B718-CBD46A00FC16}" type="sibTrans" cxnId="{7D2D0B60-1D00-4246-8E56-7E9A5F240C58}">
      <dgm:prSet/>
      <dgm:spPr/>
      <dgm:t>
        <a:bodyPr/>
        <a:lstStyle/>
        <a:p>
          <a:endParaRPr lang="en-US"/>
        </a:p>
      </dgm:t>
    </dgm:pt>
    <dgm:pt modelId="{0B04F3E7-3650-4961-A057-36BCE8464EA9}">
      <dgm:prSet custT="1">
        <dgm:style>
          <a:lnRef idx="1">
            <a:schemeClr val="accent3"/>
          </a:lnRef>
          <a:fillRef idx="2">
            <a:schemeClr val="accent3"/>
          </a:fillRef>
          <a:effectRef idx="1">
            <a:schemeClr val="accent3"/>
          </a:effectRef>
          <a:fontRef idx="minor">
            <a:schemeClr val="dk1"/>
          </a:fontRef>
        </dgm:style>
      </dgm:prSet>
      <dgm:spPr>
        <a:xfrm>
          <a:off x="4133480" y="532424"/>
          <a:ext cx="3622601" cy="5228581"/>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r>
            <a:rPr lang="en-US" sz="1400">
              <a:solidFill>
                <a:srgbClr val="505050"/>
              </a:solidFill>
              <a:latin typeface="Segoe UI"/>
              <a:ea typeface="+mn-ea"/>
              <a:cs typeface="+mn-cs"/>
            </a:rPr>
            <a:t>Teams that do not want to manage the underlying operating system and configuration settings.</a:t>
          </a:r>
        </a:p>
      </dgm:t>
    </dgm:pt>
    <dgm:pt modelId="{30B89EF4-241E-44A8-B45C-76B0C48D5296}" type="parTrans" cxnId="{FDA6B3EB-8030-4271-894A-F53FE53C4986}">
      <dgm:prSet/>
      <dgm:spPr/>
      <dgm:t>
        <a:bodyPr/>
        <a:lstStyle/>
        <a:p>
          <a:endParaRPr lang="en-US"/>
        </a:p>
      </dgm:t>
    </dgm:pt>
    <dgm:pt modelId="{6FEFE518-BA9F-4280-94F5-0E2C7BE6A0CD}" type="sibTrans" cxnId="{FDA6B3EB-8030-4271-894A-F53FE53C4986}">
      <dgm:prSet/>
      <dgm:spPr/>
      <dgm:t>
        <a:bodyPr/>
        <a:lstStyle/>
        <a:p>
          <a:endParaRPr lang="en-US"/>
        </a:p>
      </dgm:t>
    </dgm:pt>
    <dgm:pt modelId="{621B0979-8D61-4574-A3F9-FEF306434B57}">
      <dgm:prSet custT="1">
        <dgm:style>
          <a:lnRef idx="1">
            <a:schemeClr val="accent3"/>
          </a:lnRef>
          <a:fillRef idx="2">
            <a:schemeClr val="accent3"/>
          </a:fillRef>
          <a:effectRef idx="1">
            <a:schemeClr val="accent3"/>
          </a:effectRef>
          <a:fontRef idx="minor">
            <a:schemeClr val="dk1"/>
          </a:fontRef>
        </dgm:style>
      </dgm:prSet>
      <dgm:spPr>
        <a:xfrm>
          <a:off x="4133480" y="532424"/>
          <a:ext cx="3622601" cy="5228581"/>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r>
            <a:rPr lang="en-US" sz="1400">
              <a:solidFill>
                <a:srgbClr val="505050"/>
              </a:solidFill>
              <a:latin typeface="Segoe UI"/>
              <a:ea typeface="+mn-ea"/>
              <a:cs typeface="+mn-cs"/>
            </a:rPr>
            <a:t>Databases of up to 8 TB, or larger databases that can be horizontally or vertically partitioned using a scale-out pattern.</a:t>
          </a:r>
        </a:p>
      </dgm:t>
    </dgm:pt>
    <dgm:pt modelId="{DF505AB1-F0EF-45A5-B60C-2BEFD3900E19}" type="parTrans" cxnId="{D1A54EF9-826A-43CE-ACCE-EB3CDBF577AA}">
      <dgm:prSet/>
      <dgm:spPr/>
      <dgm:t>
        <a:bodyPr/>
        <a:lstStyle/>
        <a:p>
          <a:endParaRPr lang="en-US"/>
        </a:p>
      </dgm:t>
    </dgm:pt>
    <dgm:pt modelId="{9BABEA73-6F08-42E6-A75E-763A7C04E977}" type="sibTrans" cxnId="{D1A54EF9-826A-43CE-ACCE-EB3CDBF577AA}">
      <dgm:prSet/>
      <dgm:spPr/>
      <dgm:t>
        <a:bodyPr/>
        <a:lstStyle/>
        <a:p>
          <a:endParaRPr lang="en-US"/>
        </a:p>
      </dgm:t>
    </dgm:pt>
    <dgm:pt modelId="{655CB233-794F-4F32-BB45-330401AECB98}">
      <dgm:prSet custT="1"/>
      <dgm:spPr>
        <a:xfrm>
          <a:off x="8263246" y="71624"/>
          <a:ext cx="3622601" cy="460800"/>
        </a:xfrm>
        <a:prstGeom prst="rect">
          <a:avLst/>
        </a:prstGeom>
        <a:solidFill>
          <a:srgbClr val="0078D7"/>
        </a:solidFill>
        <a:ln w="10795" cap="flat" cmpd="sng" algn="ctr">
          <a:solidFill>
            <a:srgbClr val="002050">
              <a:hueOff val="0"/>
              <a:satOff val="0"/>
              <a:lumOff val="0"/>
              <a:alphaOff val="0"/>
            </a:srgbClr>
          </a:solidFill>
          <a:prstDash val="solid"/>
        </a:ln>
        <a:effectLst/>
      </dgm:spPr>
      <dgm:t>
        <a:bodyPr/>
        <a:lstStyle/>
        <a:p>
          <a:pPr>
            <a:buFont typeface="Arial" pitchFamily="34" charset="0"/>
            <a:buNone/>
          </a:pPr>
          <a:r>
            <a:rPr lang="nl-BE" sz="1800" b="1">
              <a:solidFill>
                <a:srgbClr val="FFFFFF"/>
              </a:solidFill>
              <a:latin typeface="Segoe UI"/>
              <a:ea typeface="+mn-ea"/>
              <a:cs typeface="+mn-cs"/>
            </a:rPr>
            <a:t>SQL Server in Azure VM</a:t>
          </a:r>
          <a:endParaRPr lang="en-US" sz="1800">
            <a:solidFill>
              <a:srgbClr val="FFFFFF"/>
            </a:solidFill>
            <a:latin typeface="Segoe UI"/>
            <a:ea typeface="+mn-ea"/>
            <a:cs typeface="+mn-cs"/>
          </a:endParaRPr>
        </a:p>
      </dgm:t>
    </dgm:pt>
    <dgm:pt modelId="{32E7FBCD-9AF0-4319-ABAF-AD9BA41E3D01}" type="parTrans" cxnId="{236C8803-4349-43FB-9FB3-D210D942367C}">
      <dgm:prSet/>
      <dgm:spPr/>
      <dgm:t>
        <a:bodyPr/>
        <a:lstStyle/>
        <a:p>
          <a:endParaRPr lang="en-US"/>
        </a:p>
      </dgm:t>
    </dgm:pt>
    <dgm:pt modelId="{9CE26FC5-F9D4-41DD-896C-B5BD9037420D}" type="sibTrans" cxnId="{236C8803-4349-43FB-9FB3-D210D942367C}">
      <dgm:prSet/>
      <dgm:spPr/>
      <dgm:t>
        <a:bodyPr/>
        <a:lstStyle/>
        <a:p>
          <a:endParaRPr lang="en-US"/>
        </a:p>
      </dgm:t>
    </dgm:pt>
    <dgm:pt modelId="{21B4AED4-4074-4165-A330-A50677C87131}">
      <dgm:prSet custT="1">
        <dgm:style>
          <a:lnRef idx="1">
            <a:schemeClr val="accent3"/>
          </a:lnRef>
          <a:fillRef idx="2">
            <a:schemeClr val="accent3"/>
          </a:fillRef>
          <a:effectRef idx="1">
            <a:schemeClr val="accent3"/>
          </a:effectRef>
          <a:fontRef idx="minor">
            <a:schemeClr val="dk1"/>
          </a:fontRef>
        </dgm:style>
      </dgm:prSet>
      <dgm:spPr>
        <a:xfrm>
          <a:off x="8263246" y="532424"/>
          <a:ext cx="3622601" cy="5228581"/>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r>
            <a:rPr lang="en-US" sz="1400">
              <a:solidFill>
                <a:srgbClr val="505050"/>
              </a:solidFill>
              <a:latin typeface="Segoe UI"/>
              <a:ea typeface="+mn-ea"/>
              <a:cs typeface="+mn-cs"/>
            </a:rPr>
            <a:t>Existing applications that require fast migration to the cloud with minimal changes or no changes.</a:t>
          </a:r>
          <a:endParaRPr lang="nl-BE" sz="1400">
            <a:solidFill>
              <a:srgbClr val="505050"/>
            </a:solidFill>
            <a:latin typeface="Segoe UI"/>
            <a:ea typeface="+mn-ea"/>
            <a:cs typeface="+mn-cs"/>
          </a:endParaRPr>
        </a:p>
      </dgm:t>
    </dgm:pt>
    <dgm:pt modelId="{C9804AD8-A6B6-4C9D-8D95-F8BCC5460797}" type="parTrans" cxnId="{B624D948-A1AA-4CD0-9FA0-F42AEE61C862}">
      <dgm:prSet/>
      <dgm:spPr/>
      <dgm:t>
        <a:bodyPr/>
        <a:lstStyle/>
        <a:p>
          <a:endParaRPr lang="en-US"/>
        </a:p>
      </dgm:t>
    </dgm:pt>
    <dgm:pt modelId="{45A4F211-32F0-426F-A892-E38BC1C56A13}" type="sibTrans" cxnId="{B624D948-A1AA-4CD0-9FA0-F42AEE61C862}">
      <dgm:prSet/>
      <dgm:spPr/>
      <dgm:t>
        <a:bodyPr/>
        <a:lstStyle/>
        <a:p>
          <a:endParaRPr lang="en-US"/>
        </a:p>
      </dgm:t>
    </dgm:pt>
    <dgm:pt modelId="{24C490A9-C5CC-40CF-B6C0-40FE476703A9}">
      <dgm:prSet custT="1">
        <dgm:style>
          <a:lnRef idx="1">
            <a:schemeClr val="accent3"/>
          </a:lnRef>
          <a:fillRef idx="2">
            <a:schemeClr val="accent3"/>
          </a:fillRef>
          <a:effectRef idx="1">
            <a:schemeClr val="accent3"/>
          </a:effectRef>
          <a:fontRef idx="minor">
            <a:schemeClr val="dk1"/>
          </a:fontRef>
        </dgm:style>
      </dgm:prSet>
      <dgm:spPr>
        <a:xfrm>
          <a:off x="8263246" y="532424"/>
          <a:ext cx="3622601" cy="5228581"/>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r>
            <a:rPr lang="en-US" sz="1400">
              <a:solidFill>
                <a:srgbClr val="505050"/>
              </a:solidFill>
              <a:latin typeface="Segoe UI"/>
              <a:ea typeface="+mn-ea"/>
              <a:cs typeface="+mn-cs"/>
            </a:rPr>
            <a:t>Teams that can configure, fine tune, customize, and manage high availability, disaster recovery, and patching for SQL Server.</a:t>
          </a:r>
        </a:p>
      </dgm:t>
    </dgm:pt>
    <dgm:pt modelId="{F4E78954-1CDF-4719-860B-FB7273490114}" type="parTrans" cxnId="{F245839B-6DB2-4123-911E-80FFC079176B}">
      <dgm:prSet/>
      <dgm:spPr/>
      <dgm:t>
        <a:bodyPr/>
        <a:lstStyle/>
        <a:p>
          <a:endParaRPr lang="en-US"/>
        </a:p>
      </dgm:t>
    </dgm:pt>
    <dgm:pt modelId="{D208EA5E-FAE5-4E0E-B72B-BCA6ABB17452}" type="sibTrans" cxnId="{F245839B-6DB2-4123-911E-80FFC079176B}">
      <dgm:prSet/>
      <dgm:spPr/>
      <dgm:t>
        <a:bodyPr/>
        <a:lstStyle/>
        <a:p>
          <a:endParaRPr lang="en-US"/>
        </a:p>
      </dgm:t>
    </dgm:pt>
    <dgm:pt modelId="{213F58E9-7ADD-495B-9F1A-31F4AD110101}">
      <dgm:prSet custT="1">
        <dgm:style>
          <a:lnRef idx="1">
            <a:schemeClr val="accent3"/>
          </a:lnRef>
          <a:fillRef idx="2">
            <a:schemeClr val="accent3"/>
          </a:fillRef>
          <a:effectRef idx="1">
            <a:schemeClr val="accent3"/>
          </a:effectRef>
          <a:fontRef idx="minor">
            <a:schemeClr val="dk1"/>
          </a:fontRef>
        </dgm:style>
      </dgm:prSet>
      <dgm:spPr>
        <a:xfrm>
          <a:off x="8263246" y="532424"/>
          <a:ext cx="3622601" cy="5228581"/>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r>
            <a:rPr lang="en-US" sz="1400">
              <a:solidFill>
                <a:srgbClr val="505050"/>
              </a:solidFill>
              <a:latin typeface="Segoe UI"/>
              <a:ea typeface="+mn-ea"/>
              <a:cs typeface="+mn-cs"/>
            </a:rPr>
            <a:t>You need a customized environment with full administrative rights.</a:t>
          </a:r>
        </a:p>
      </dgm:t>
    </dgm:pt>
    <dgm:pt modelId="{B1D1D7EC-2074-4250-99B0-885046D53EB6}" type="parTrans" cxnId="{E39B406F-CE26-4BBA-9D4E-9CCD92F06D30}">
      <dgm:prSet/>
      <dgm:spPr/>
      <dgm:t>
        <a:bodyPr/>
        <a:lstStyle/>
        <a:p>
          <a:endParaRPr lang="en-US"/>
        </a:p>
      </dgm:t>
    </dgm:pt>
    <dgm:pt modelId="{BD6A0484-4CD4-4964-A317-C1FF59EF9FFD}" type="sibTrans" cxnId="{E39B406F-CE26-4BBA-9D4E-9CCD92F06D30}">
      <dgm:prSet/>
      <dgm:spPr/>
      <dgm:t>
        <a:bodyPr/>
        <a:lstStyle/>
        <a:p>
          <a:endParaRPr lang="en-US"/>
        </a:p>
      </dgm:t>
    </dgm:pt>
    <dgm:pt modelId="{32BF5814-D42C-4108-ADDE-D139405A1B0F}">
      <dgm:prSet custT="1">
        <dgm:style>
          <a:lnRef idx="1">
            <a:schemeClr val="accent3"/>
          </a:lnRef>
          <a:fillRef idx="2">
            <a:schemeClr val="accent3"/>
          </a:fillRef>
          <a:effectRef idx="1">
            <a:schemeClr val="accent3"/>
          </a:effectRef>
          <a:fontRef idx="minor">
            <a:schemeClr val="dk1"/>
          </a:fontRef>
        </dgm:style>
      </dgm:prSet>
      <dgm:spPr>
        <a:xfrm>
          <a:off x="8263246" y="532424"/>
          <a:ext cx="3622601" cy="5228581"/>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r>
            <a:rPr lang="en-US" sz="1400">
              <a:solidFill>
                <a:srgbClr val="505050"/>
              </a:solidFill>
              <a:latin typeface="Segoe UI"/>
              <a:ea typeface="+mn-ea"/>
              <a:cs typeface="+mn-cs"/>
            </a:rPr>
            <a:t>SQL Server instances with up to 64 TB of storage. The instance can support as many databases as needed.</a:t>
          </a:r>
        </a:p>
      </dgm:t>
    </dgm:pt>
    <dgm:pt modelId="{D54EC88A-DB05-49CB-83B7-33B7B9BFD3D8}" type="parTrans" cxnId="{2C851A0F-17B2-4418-922A-52C3984208C4}">
      <dgm:prSet/>
      <dgm:spPr/>
      <dgm:t>
        <a:bodyPr/>
        <a:lstStyle/>
        <a:p>
          <a:endParaRPr lang="en-US"/>
        </a:p>
      </dgm:t>
    </dgm:pt>
    <dgm:pt modelId="{19406658-CCCC-4BE6-9BF9-54A1D7AAB1ED}" type="sibTrans" cxnId="{2C851A0F-17B2-4418-922A-52C3984208C4}">
      <dgm:prSet/>
      <dgm:spPr/>
      <dgm:t>
        <a:bodyPr/>
        <a:lstStyle/>
        <a:p>
          <a:endParaRPr lang="en-US"/>
        </a:p>
      </dgm:t>
    </dgm:pt>
    <dgm:pt modelId="{0B8AD0D3-D2B3-4D5E-8EC9-1B1B08851731}">
      <dgm:prSet custT="1">
        <dgm:style>
          <a:lnRef idx="1">
            <a:schemeClr val="accent3"/>
          </a:lnRef>
          <a:fillRef idx="2">
            <a:schemeClr val="accent3"/>
          </a:fillRef>
          <a:effectRef idx="1">
            <a:schemeClr val="accent3"/>
          </a:effectRef>
          <a:fontRef idx="minor">
            <a:schemeClr val="dk1"/>
          </a:fontRef>
        </dgm:style>
      </dgm:prSet>
      <dgm:spPr>
        <a:xfrm>
          <a:off x="3715" y="483327"/>
          <a:ext cx="3622601" cy="5294043"/>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endParaRPr lang="nl-BE" sz="1400">
            <a:solidFill>
              <a:srgbClr val="505050"/>
            </a:solidFill>
            <a:latin typeface="Segoe UI"/>
            <a:ea typeface="+mn-ea"/>
            <a:cs typeface="+mn-cs"/>
          </a:endParaRPr>
        </a:p>
      </dgm:t>
    </dgm:pt>
    <dgm:pt modelId="{2EA235B6-671E-4211-8C41-A55543B4BCE4}" type="parTrans" cxnId="{61C6DD5A-1541-43C5-B429-628E8BC1E0ED}">
      <dgm:prSet/>
      <dgm:spPr/>
      <dgm:t>
        <a:bodyPr/>
        <a:lstStyle/>
        <a:p>
          <a:endParaRPr lang="en-US"/>
        </a:p>
      </dgm:t>
    </dgm:pt>
    <dgm:pt modelId="{90D5CAEB-535A-4722-87F7-A9D1F88B6932}" type="sibTrans" cxnId="{61C6DD5A-1541-43C5-B429-628E8BC1E0ED}">
      <dgm:prSet/>
      <dgm:spPr/>
      <dgm:t>
        <a:bodyPr/>
        <a:lstStyle/>
        <a:p>
          <a:endParaRPr lang="en-US"/>
        </a:p>
      </dgm:t>
    </dgm:pt>
    <dgm:pt modelId="{17C35D94-2F81-4CEC-ABF2-F8E71B0607B3}">
      <dgm:prSet custT="1">
        <dgm:style>
          <a:lnRef idx="1">
            <a:schemeClr val="accent3"/>
          </a:lnRef>
          <a:fillRef idx="2">
            <a:schemeClr val="accent3"/>
          </a:fillRef>
          <a:effectRef idx="1">
            <a:schemeClr val="accent3"/>
          </a:effectRef>
          <a:fontRef idx="minor">
            <a:schemeClr val="dk1"/>
          </a:fontRef>
        </dgm:style>
      </dgm:prSet>
      <dgm:spPr>
        <a:xfrm>
          <a:off x="3715" y="483327"/>
          <a:ext cx="3622601" cy="5294043"/>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endParaRPr lang="en-US" sz="1400">
            <a:solidFill>
              <a:srgbClr val="505050"/>
            </a:solidFill>
            <a:latin typeface="Segoe UI"/>
            <a:ea typeface="+mn-ea"/>
            <a:cs typeface="+mn-cs"/>
          </a:endParaRPr>
        </a:p>
      </dgm:t>
    </dgm:pt>
    <dgm:pt modelId="{CB3CE014-9456-4B17-A568-BE5A18BCC962}" type="parTrans" cxnId="{F6DC48AC-466E-4D2E-98B3-5264DC81BBB6}">
      <dgm:prSet/>
      <dgm:spPr/>
      <dgm:t>
        <a:bodyPr/>
        <a:lstStyle/>
        <a:p>
          <a:endParaRPr lang="en-US"/>
        </a:p>
      </dgm:t>
    </dgm:pt>
    <dgm:pt modelId="{AA332735-F398-4829-9FF4-8208DD9E831A}" type="sibTrans" cxnId="{F6DC48AC-466E-4D2E-98B3-5264DC81BBB6}">
      <dgm:prSet/>
      <dgm:spPr/>
      <dgm:t>
        <a:bodyPr/>
        <a:lstStyle/>
        <a:p>
          <a:endParaRPr lang="en-US"/>
        </a:p>
      </dgm:t>
    </dgm:pt>
    <dgm:pt modelId="{3E604CBF-D3E8-4636-9D8A-149C0773CC8F}">
      <dgm:prSet custT="1">
        <dgm:style>
          <a:lnRef idx="1">
            <a:schemeClr val="accent3"/>
          </a:lnRef>
          <a:fillRef idx="2">
            <a:schemeClr val="accent3"/>
          </a:fillRef>
          <a:effectRef idx="1">
            <a:schemeClr val="accent3"/>
          </a:effectRef>
          <a:fontRef idx="minor">
            <a:schemeClr val="dk1"/>
          </a:fontRef>
        </dgm:style>
      </dgm:prSet>
      <dgm:spPr>
        <a:xfrm>
          <a:off x="4133480" y="532424"/>
          <a:ext cx="3622601" cy="5228581"/>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endParaRPr lang="nl-BE" sz="1400">
            <a:solidFill>
              <a:srgbClr val="505050"/>
            </a:solidFill>
            <a:latin typeface="Segoe UI"/>
            <a:ea typeface="+mn-ea"/>
            <a:cs typeface="+mn-cs"/>
          </a:endParaRPr>
        </a:p>
      </dgm:t>
    </dgm:pt>
    <dgm:pt modelId="{4C1F5967-D32D-4FB6-B82D-5F08E78C5D61}" type="parTrans" cxnId="{6F3D24BD-DB60-4890-AF54-1A62F00A33E4}">
      <dgm:prSet/>
      <dgm:spPr/>
      <dgm:t>
        <a:bodyPr/>
        <a:lstStyle/>
        <a:p>
          <a:endParaRPr lang="en-US"/>
        </a:p>
      </dgm:t>
    </dgm:pt>
    <dgm:pt modelId="{35EAD70B-24B7-4FE8-8721-C14ADA98EACB}" type="sibTrans" cxnId="{6F3D24BD-DB60-4890-AF54-1A62F00A33E4}">
      <dgm:prSet/>
      <dgm:spPr/>
      <dgm:t>
        <a:bodyPr/>
        <a:lstStyle/>
        <a:p>
          <a:endParaRPr lang="en-US"/>
        </a:p>
      </dgm:t>
    </dgm:pt>
    <dgm:pt modelId="{42D739D5-2C42-4586-8DF9-0EC85D4DD939}">
      <dgm:prSet custT="1">
        <dgm:style>
          <a:lnRef idx="1">
            <a:schemeClr val="accent3"/>
          </a:lnRef>
          <a:fillRef idx="2">
            <a:schemeClr val="accent3"/>
          </a:fillRef>
          <a:effectRef idx="1">
            <a:schemeClr val="accent3"/>
          </a:effectRef>
          <a:fontRef idx="minor">
            <a:schemeClr val="dk1"/>
          </a:fontRef>
        </dgm:style>
      </dgm:prSet>
      <dgm:spPr>
        <a:xfrm>
          <a:off x="4133480" y="532424"/>
          <a:ext cx="3622601" cy="5228581"/>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endParaRPr lang="en-US" sz="1400">
            <a:solidFill>
              <a:srgbClr val="505050"/>
            </a:solidFill>
            <a:latin typeface="Segoe UI"/>
            <a:ea typeface="+mn-ea"/>
            <a:cs typeface="+mn-cs"/>
          </a:endParaRPr>
        </a:p>
      </dgm:t>
    </dgm:pt>
    <dgm:pt modelId="{26158B57-53BD-4445-B4BF-A9C8C9936C39}" type="parTrans" cxnId="{62C06C09-BB70-4F3E-8B5B-ACE88502421E}">
      <dgm:prSet/>
      <dgm:spPr/>
      <dgm:t>
        <a:bodyPr/>
        <a:lstStyle/>
        <a:p>
          <a:endParaRPr lang="en-US"/>
        </a:p>
      </dgm:t>
    </dgm:pt>
    <dgm:pt modelId="{92A4B315-D734-4C22-AA18-518A61B80F6A}" type="sibTrans" cxnId="{62C06C09-BB70-4F3E-8B5B-ACE88502421E}">
      <dgm:prSet/>
      <dgm:spPr/>
      <dgm:t>
        <a:bodyPr/>
        <a:lstStyle/>
        <a:p>
          <a:endParaRPr lang="en-US"/>
        </a:p>
      </dgm:t>
    </dgm:pt>
    <dgm:pt modelId="{B1C3D9BC-C4EA-4BF6-9B2B-A063D6FC232D}">
      <dgm:prSet custT="1">
        <dgm:style>
          <a:lnRef idx="1">
            <a:schemeClr val="accent3"/>
          </a:lnRef>
          <a:fillRef idx="2">
            <a:schemeClr val="accent3"/>
          </a:fillRef>
          <a:effectRef idx="1">
            <a:schemeClr val="accent3"/>
          </a:effectRef>
          <a:fontRef idx="minor">
            <a:schemeClr val="dk1"/>
          </a:fontRef>
        </dgm:style>
      </dgm:prSet>
      <dgm:spPr>
        <a:xfrm>
          <a:off x="4133480" y="532424"/>
          <a:ext cx="3622601" cy="5228581"/>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endParaRPr lang="en-US" sz="1400">
            <a:solidFill>
              <a:srgbClr val="505050"/>
            </a:solidFill>
            <a:latin typeface="Segoe UI"/>
            <a:ea typeface="+mn-ea"/>
            <a:cs typeface="+mn-cs"/>
          </a:endParaRPr>
        </a:p>
      </dgm:t>
    </dgm:pt>
    <dgm:pt modelId="{8F6F125E-E872-4C12-91A8-B10B490E2940}" type="parTrans" cxnId="{67890775-500C-45EE-A894-0A730FD5281B}">
      <dgm:prSet/>
      <dgm:spPr/>
      <dgm:t>
        <a:bodyPr/>
        <a:lstStyle/>
        <a:p>
          <a:endParaRPr lang="en-US"/>
        </a:p>
      </dgm:t>
    </dgm:pt>
    <dgm:pt modelId="{B4AF8B9D-3BEF-4A4F-8BC5-CCA13BD0C613}" type="sibTrans" cxnId="{67890775-500C-45EE-A894-0A730FD5281B}">
      <dgm:prSet/>
      <dgm:spPr/>
      <dgm:t>
        <a:bodyPr/>
        <a:lstStyle/>
        <a:p>
          <a:endParaRPr lang="en-US"/>
        </a:p>
      </dgm:t>
    </dgm:pt>
    <dgm:pt modelId="{6EB38642-28C8-4526-A495-96537051C176}">
      <dgm:prSet custT="1">
        <dgm:style>
          <a:lnRef idx="1">
            <a:schemeClr val="accent3"/>
          </a:lnRef>
          <a:fillRef idx="2">
            <a:schemeClr val="accent3"/>
          </a:fillRef>
          <a:effectRef idx="1">
            <a:schemeClr val="accent3"/>
          </a:effectRef>
          <a:fontRef idx="minor">
            <a:schemeClr val="dk1"/>
          </a:fontRef>
        </dgm:style>
      </dgm:prSet>
      <dgm:spPr>
        <a:xfrm>
          <a:off x="8263246" y="532424"/>
          <a:ext cx="3622601" cy="5228581"/>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endParaRPr lang="en-US" sz="1400">
            <a:solidFill>
              <a:srgbClr val="505050"/>
            </a:solidFill>
            <a:latin typeface="Segoe UI"/>
            <a:ea typeface="+mn-ea"/>
            <a:cs typeface="+mn-cs"/>
          </a:endParaRPr>
        </a:p>
      </dgm:t>
    </dgm:pt>
    <dgm:pt modelId="{7C07AB73-F91B-48AB-BE01-6D94D6205481}" type="parTrans" cxnId="{ABD72322-4DFC-4DC4-B5FE-F2281B22D861}">
      <dgm:prSet/>
      <dgm:spPr/>
      <dgm:t>
        <a:bodyPr/>
        <a:lstStyle/>
        <a:p>
          <a:endParaRPr lang="en-US"/>
        </a:p>
      </dgm:t>
    </dgm:pt>
    <dgm:pt modelId="{D1E24AB9-698E-4BF8-A23B-E23CBA475CEC}" type="sibTrans" cxnId="{ABD72322-4DFC-4DC4-B5FE-F2281B22D861}">
      <dgm:prSet/>
      <dgm:spPr/>
      <dgm:t>
        <a:bodyPr/>
        <a:lstStyle/>
        <a:p>
          <a:endParaRPr lang="en-US"/>
        </a:p>
      </dgm:t>
    </dgm:pt>
    <dgm:pt modelId="{FC9252EA-A113-4C8A-9712-6DE304E3A93B}">
      <dgm:prSet custT="1">
        <dgm:style>
          <a:lnRef idx="1">
            <a:schemeClr val="accent3"/>
          </a:lnRef>
          <a:fillRef idx="2">
            <a:schemeClr val="accent3"/>
          </a:fillRef>
          <a:effectRef idx="1">
            <a:schemeClr val="accent3"/>
          </a:effectRef>
          <a:fontRef idx="minor">
            <a:schemeClr val="dk1"/>
          </a:fontRef>
        </dgm:style>
      </dgm:prSet>
      <dgm:spPr>
        <a:xfrm>
          <a:off x="8263246" y="532424"/>
          <a:ext cx="3622601" cy="5228581"/>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endParaRPr lang="en-US" sz="1400">
            <a:solidFill>
              <a:srgbClr val="505050"/>
            </a:solidFill>
            <a:latin typeface="Segoe UI"/>
            <a:ea typeface="+mn-ea"/>
            <a:cs typeface="+mn-cs"/>
          </a:endParaRPr>
        </a:p>
      </dgm:t>
    </dgm:pt>
    <dgm:pt modelId="{ADAC64A2-594F-452E-80E4-BE3C589E9CBC}" type="parTrans" cxnId="{278C2794-FD49-448A-9414-324CA16CE2CB}">
      <dgm:prSet/>
      <dgm:spPr/>
      <dgm:t>
        <a:bodyPr/>
        <a:lstStyle/>
        <a:p>
          <a:endParaRPr lang="en-US"/>
        </a:p>
      </dgm:t>
    </dgm:pt>
    <dgm:pt modelId="{B311EBD2-E0CC-43ED-BB7F-AE5E4B1C5467}" type="sibTrans" cxnId="{278C2794-FD49-448A-9414-324CA16CE2CB}">
      <dgm:prSet/>
      <dgm:spPr/>
      <dgm:t>
        <a:bodyPr/>
        <a:lstStyle/>
        <a:p>
          <a:endParaRPr lang="en-US"/>
        </a:p>
      </dgm:t>
    </dgm:pt>
    <dgm:pt modelId="{6E8EC6BE-58C3-414A-8A1E-8572CD9BD9AD}">
      <dgm:prSet custT="1">
        <dgm:style>
          <a:lnRef idx="1">
            <a:schemeClr val="accent3"/>
          </a:lnRef>
          <a:fillRef idx="2">
            <a:schemeClr val="accent3"/>
          </a:fillRef>
          <a:effectRef idx="1">
            <a:schemeClr val="accent3"/>
          </a:effectRef>
          <a:fontRef idx="minor">
            <a:schemeClr val="dk1"/>
          </a:fontRef>
        </dgm:style>
      </dgm:prSet>
      <dgm:spPr>
        <a:xfrm>
          <a:off x="8263246" y="532424"/>
          <a:ext cx="3622601" cy="5228581"/>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endParaRPr lang="nl-BE" sz="1400">
            <a:solidFill>
              <a:srgbClr val="505050"/>
            </a:solidFill>
            <a:latin typeface="Segoe UI"/>
            <a:ea typeface="+mn-ea"/>
            <a:cs typeface="+mn-cs"/>
          </a:endParaRPr>
        </a:p>
      </dgm:t>
    </dgm:pt>
    <dgm:pt modelId="{AE0B5EC3-9855-4987-83B4-40F0B861BCC7}" type="parTrans" cxnId="{7C2385E4-E439-4989-9563-D73292BCA84D}">
      <dgm:prSet/>
      <dgm:spPr/>
      <dgm:t>
        <a:bodyPr/>
        <a:lstStyle/>
        <a:p>
          <a:endParaRPr lang="en-US"/>
        </a:p>
      </dgm:t>
    </dgm:pt>
    <dgm:pt modelId="{84FC3510-AAA3-4292-910E-FCF824B49830}" type="sibTrans" cxnId="{7C2385E4-E439-4989-9563-D73292BCA84D}">
      <dgm:prSet/>
      <dgm:spPr/>
      <dgm:t>
        <a:bodyPr/>
        <a:lstStyle/>
        <a:p>
          <a:endParaRPr lang="en-US"/>
        </a:p>
      </dgm:t>
    </dgm:pt>
    <dgm:pt modelId="{4F2FBE95-9380-4296-9B8B-7F182ABC78BC}">
      <dgm:prSet custT="1">
        <dgm:style>
          <a:lnRef idx="1">
            <a:schemeClr val="accent3"/>
          </a:lnRef>
          <a:fillRef idx="2">
            <a:schemeClr val="accent3"/>
          </a:fillRef>
          <a:effectRef idx="1">
            <a:schemeClr val="accent3"/>
          </a:effectRef>
          <a:fontRef idx="minor">
            <a:schemeClr val="dk1"/>
          </a:fontRef>
        </dgm:style>
      </dgm:prSet>
      <dgm:spPr>
        <a:xfrm>
          <a:off x="3715" y="483327"/>
          <a:ext cx="3622601" cy="5294043"/>
        </a:xfrm>
        <a:prstGeom prst="rect">
          <a:avLst/>
        </a:prstGeom>
        <a:solidFill>
          <a:srgbClr val="002050">
            <a:lumMod val="10000"/>
            <a:lumOff val="90000"/>
          </a:srgbClr>
        </a:solidFill>
        <a:ln w="9525" cap="flat" cmpd="sng" algn="ctr">
          <a:solidFill>
            <a:srgbClr val="0078D7"/>
          </a:solidFill>
          <a:prstDash val="solid"/>
        </a:ln>
        <a:effectLst/>
      </dgm:spPr>
      <dgm:t>
        <a:bodyPr/>
        <a:lstStyle/>
        <a:p>
          <a:pPr>
            <a:buChar char="•"/>
          </a:pPr>
          <a:endParaRPr lang="en-US" sz="1400">
            <a:solidFill>
              <a:srgbClr val="505050"/>
            </a:solidFill>
            <a:latin typeface="Segoe UI"/>
            <a:ea typeface="+mn-ea"/>
            <a:cs typeface="+mn-cs"/>
          </a:endParaRPr>
        </a:p>
      </dgm:t>
    </dgm:pt>
    <dgm:pt modelId="{E95931D7-23BE-4C14-9545-53CF729E5BD2}" type="parTrans" cxnId="{8F8B5E82-D376-4D29-B71B-AD9D37FF336B}">
      <dgm:prSet/>
      <dgm:spPr/>
      <dgm:t>
        <a:bodyPr/>
        <a:lstStyle/>
        <a:p>
          <a:endParaRPr lang="en-US"/>
        </a:p>
      </dgm:t>
    </dgm:pt>
    <dgm:pt modelId="{2BB3CA6A-C084-48E5-9816-D1C4F9F6822F}" type="sibTrans" cxnId="{8F8B5E82-D376-4D29-B71B-AD9D37FF336B}">
      <dgm:prSet/>
      <dgm:spPr/>
      <dgm:t>
        <a:bodyPr/>
        <a:lstStyle/>
        <a:p>
          <a:endParaRPr lang="en-US"/>
        </a:p>
      </dgm:t>
    </dgm:pt>
    <dgm:pt modelId="{62A09538-0600-42BA-B538-8537C29C80AD}" type="pres">
      <dgm:prSet presAssocID="{9F1D9399-7667-4E3F-9C6F-ED74215FF152}" presName="Name0" presStyleCnt="0">
        <dgm:presLayoutVars>
          <dgm:dir/>
          <dgm:animLvl val="lvl"/>
          <dgm:resizeHandles val="exact"/>
        </dgm:presLayoutVars>
      </dgm:prSet>
      <dgm:spPr/>
    </dgm:pt>
    <dgm:pt modelId="{4E1894E5-F0AA-471F-AD3B-8CB3E0E9E4BF}" type="pres">
      <dgm:prSet presAssocID="{45B2E9E3-7F2D-4E44-9A15-E40A02678759}" presName="composite" presStyleCnt="0"/>
      <dgm:spPr/>
    </dgm:pt>
    <dgm:pt modelId="{40818FE0-D172-4953-8726-750424952633}" type="pres">
      <dgm:prSet presAssocID="{45B2E9E3-7F2D-4E44-9A15-E40A02678759}" presName="parTx" presStyleLbl="alignNode1" presStyleIdx="0" presStyleCnt="3">
        <dgm:presLayoutVars>
          <dgm:chMax val="0"/>
          <dgm:chPref val="0"/>
          <dgm:bulletEnabled val="1"/>
        </dgm:presLayoutVars>
      </dgm:prSet>
      <dgm:spPr/>
    </dgm:pt>
    <dgm:pt modelId="{A511AEF9-D7A0-4C38-8ACF-8D6B5E3E39C7}" type="pres">
      <dgm:prSet presAssocID="{45B2E9E3-7F2D-4E44-9A15-E40A02678759}" presName="desTx" presStyleLbl="alignAccFollowNode1" presStyleIdx="0" presStyleCnt="3" custScaleY="101252">
        <dgm:presLayoutVars>
          <dgm:bulletEnabled val="1"/>
        </dgm:presLayoutVars>
      </dgm:prSet>
      <dgm:spPr/>
    </dgm:pt>
    <dgm:pt modelId="{CC5D4066-EA96-40D9-B9D1-914B17F6C37F}" type="pres">
      <dgm:prSet presAssocID="{35210F35-9870-42D4-933E-ED86D8F052E5}" presName="space" presStyleCnt="0"/>
      <dgm:spPr/>
    </dgm:pt>
    <dgm:pt modelId="{42B08CCC-2F12-4D98-BCEE-C0123F005EDA}" type="pres">
      <dgm:prSet presAssocID="{6622C38D-CA4D-4395-A05B-CE2E807273EA}" presName="composite" presStyleCnt="0"/>
      <dgm:spPr/>
    </dgm:pt>
    <dgm:pt modelId="{AA30D338-E269-431D-A98C-C0A93B715B27}" type="pres">
      <dgm:prSet presAssocID="{6622C38D-CA4D-4395-A05B-CE2E807273EA}" presName="parTx" presStyleLbl="alignNode1" presStyleIdx="1" presStyleCnt="3">
        <dgm:presLayoutVars>
          <dgm:chMax val="0"/>
          <dgm:chPref val="0"/>
          <dgm:bulletEnabled val="1"/>
        </dgm:presLayoutVars>
      </dgm:prSet>
      <dgm:spPr/>
    </dgm:pt>
    <dgm:pt modelId="{F3A57436-5AA8-434C-BF63-BEA0FFE33A10}" type="pres">
      <dgm:prSet presAssocID="{6622C38D-CA4D-4395-A05B-CE2E807273EA}" presName="desTx" presStyleLbl="alignAccFollowNode1" presStyleIdx="1" presStyleCnt="3">
        <dgm:presLayoutVars>
          <dgm:bulletEnabled val="1"/>
        </dgm:presLayoutVars>
      </dgm:prSet>
      <dgm:spPr/>
    </dgm:pt>
    <dgm:pt modelId="{87734321-104C-4FF7-A31A-58FDC7F45E21}" type="pres">
      <dgm:prSet presAssocID="{C6D3CBF4-C26E-46F4-8E17-0F6641FA2497}" presName="space" presStyleCnt="0"/>
      <dgm:spPr/>
    </dgm:pt>
    <dgm:pt modelId="{C8A48997-D7A1-4C05-AE6E-B794BFDB0F78}" type="pres">
      <dgm:prSet presAssocID="{655CB233-794F-4F32-BB45-330401AECB98}" presName="composite" presStyleCnt="0"/>
      <dgm:spPr/>
    </dgm:pt>
    <dgm:pt modelId="{1F8F0832-1AE0-40E2-8924-9C2A95024651}" type="pres">
      <dgm:prSet presAssocID="{655CB233-794F-4F32-BB45-330401AECB98}" presName="parTx" presStyleLbl="alignNode1" presStyleIdx="2" presStyleCnt="3">
        <dgm:presLayoutVars>
          <dgm:chMax val="0"/>
          <dgm:chPref val="0"/>
          <dgm:bulletEnabled val="1"/>
        </dgm:presLayoutVars>
      </dgm:prSet>
      <dgm:spPr/>
    </dgm:pt>
    <dgm:pt modelId="{94309A4C-139D-4902-A141-1F93CFEEDB13}" type="pres">
      <dgm:prSet presAssocID="{655CB233-794F-4F32-BB45-330401AECB98}" presName="desTx" presStyleLbl="alignAccFollowNode1" presStyleIdx="2" presStyleCnt="3">
        <dgm:presLayoutVars>
          <dgm:bulletEnabled val="1"/>
        </dgm:presLayoutVars>
      </dgm:prSet>
      <dgm:spPr/>
    </dgm:pt>
  </dgm:ptLst>
  <dgm:cxnLst>
    <dgm:cxn modelId="{FCF30C00-001E-4583-AE47-AAD998C71C04}" type="presOf" srcId="{3E604CBF-D3E8-4636-9D8A-149C0773CC8F}" destId="{F3A57436-5AA8-434C-BF63-BEA0FFE33A10}" srcOrd="0" destOrd="1" presId="urn:microsoft.com/office/officeart/2005/8/layout/hList1"/>
    <dgm:cxn modelId="{236C8803-4349-43FB-9FB3-D210D942367C}" srcId="{9F1D9399-7667-4E3F-9C6F-ED74215FF152}" destId="{655CB233-794F-4F32-BB45-330401AECB98}" srcOrd="2" destOrd="0" parTransId="{32E7FBCD-9AF0-4319-ABAF-AD9BA41E3D01}" sibTransId="{9CE26FC5-F9D4-41DD-896C-B5BD9037420D}"/>
    <dgm:cxn modelId="{3DD4D306-2AFA-416C-80F1-98B4BB98463E}" type="presOf" srcId="{6E8EC6BE-58C3-414A-8A1E-8572CD9BD9AD}" destId="{94309A4C-139D-4902-A141-1F93CFEEDB13}" srcOrd="0" destOrd="1" presId="urn:microsoft.com/office/officeart/2005/8/layout/hList1"/>
    <dgm:cxn modelId="{62C06C09-BB70-4F3E-8B5B-ACE88502421E}" srcId="{6622C38D-CA4D-4395-A05B-CE2E807273EA}" destId="{42D739D5-2C42-4586-8DF9-0EC85D4DD939}" srcOrd="3" destOrd="0" parTransId="{26158B57-53BD-4445-B4BF-A9C8C9936C39}" sibTransId="{92A4B315-D734-4C22-AA18-518A61B80F6A}"/>
    <dgm:cxn modelId="{2C851A0F-17B2-4418-922A-52C3984208C4}" srcId="{655CB233-794F-4F32-BB45-330401AECB98}" destId="{32BF5814-D42C-4108-ADDE-D139405A1B0F}" srcOrd="6" destOrd="0" parTransId="{D54EC88A-DB05-49CB-83B7-33B7B9BFD3D8}" sibTransId="{19406658-CCCC-4BE6-9BF9-54A1D7AAB1ED}"/>
    <dgm:cxn modelId="{22FDD810-CF2F-4D3C-A8C0-AC985DBDEBA4}" type="presOf" srcId="{45B2E9E3-7F2D-4E44-9A15-E40A02678759}" destId="{40818FE0-D172-4953-8726-750424952633}" srcOrd="0" destOrd="0" presId="urn:microsoft.com/office/officeart/2005/8/layout/hList1"/>
    <dgm:cxn modelId="{090AE414-29D4-4605-9F43-4A2241482DDA}" type="presOf" srcId="{DD896099-B3F7-4024-97F0-F0D654E08CE0}" destId="{A511AEF9-D7A0-4C38-8ACF-8D6B5E3E39C7}" srcOrd="0" destOrd="6" presId="urn:microsoft.com/office/officeart/2005/8/layout/hList1"/>
    <dgm:cxn modelId="{118E1117-5DAF-4686-BF2F-54D921F394C4}" type="presOf" srcId="{B1C3D9BC-C4EA-4BF6-9B2B-A063D6FC232D}" destId="{F3A57436-5AA8-434C-BF63-BEA0FFE33A10}" srcOrd="0" destOrd="5" presId="urn:microsoft.com/office/officeart/2005/8/layout/hList1"/>
    <dgm:cxn modelId="{61019218-B05E-49C9-BD18-9594ED6C258C}" type="presOf" srcId="{32BF5814-D42C-4108-ADDE-D139405A1B0F}" destId="{94309A4C-139D-4902-A141-1F93CFEEDB13}" srcOrd="0" destOrd="6" presId="urn:microsoft.com/office/officeart/2005/8/layout/hList1"/>
    <dgm:cxn modelId="{CA069418-2E33-428D-80DA-532C84A33E36}" srcId="{45B2E9E3-7F2D-4E44-9A15-E40A02678759}" destId="{029F5C2A-4625-42E6-A2EC-1140CE40BA23}" srcOrd="4" destOrd="0" parTransId="{64EA1547-820C-4DD4-8542-03F7E8FFF7A8}" sibTransId="{83A35BF4-DB43-4643-82B3-C0285B5F6C17}"/>
    <dgm:cxn modelId="{2449A419-25E5-4C80-B688-9751A06D0DEA}" type="presOf" srcId="{6622C38D-CA4D-4395-A05B-CE2E807273EA}" destId="{AA30D338-E269-431D-A98C-C0A93B715B27}" srcOrd="0" destOrd="0" presId="urn:microsoft.com/office/officeart/2005/8/layout/hList1"/>
    <dgm:cxn modelId="{4137581E-6236-4652-9B48-9584091C4066}" srcId="{45B2E9E3-7F2D-4E44-9A15-E40A02678759}" destId="{DD896099-B3F7-4024-97F0-F0D654E08CE0}" srcOrd="6" destOrd="0" parTransId="{B527E662-79F3-477F-9D42-9B8FF8434B55}" sibTransId="{076A6729-A287-45B0-ACB0-F6E2E086FAE0}"/>
    <dgm:cxn modelId="{E2C31520-C93B-405B-95D9-5DC6635811C7}" type="presOf" srcId="{621B0979-8D61-4574-A3F9-FEF306434B57}" destId="{F3A57436-5AA8-434C-BF63-BEA0FFE33A10}" srcOrd="0" destOrd="6" presId="urn:microsoft.com/office/officeart/2005/8/layout/hList1"/>
    <dgm:cxn modelId="{ABD72322-4DFC-4DC4-B5FE-F2281B22D861}" srcId="{655CB233-794F-4F32-BB45-330401AECB98}" destId="{6EB38642-28C8-4526-A495-96537051C176}" srcOrd="5" destOrd="0" parTransId="{7C07AB73-F91B-48AB-BE01-6D94D6205481}" sibTransId="{D1E24AB9-698E-4BF8-A23B-E23CBA475CEC}"/>
    <dgm:cxn modelId="{ABCA5E23-DB71-4003-A7DB-6C58BFC204AE}" type="presOf" srcId="{4F2FBE95-9380-4296-9B8B-7F182ABC78BC}" destId="{A511AEF9-D7A0-4C38-8ACF-8D6B5E3E39C7}" srcOrd="0" destOrd="3" presId="urn:microsoft.com/office/officeart/2005/8/layout/hList1"/>
    <dgm:cxn modelId="{D191E525-F123-45D0-8EC2-1763FC4BBC58}" srcId="{45B2E9E3-7F2D-4E44-9A15-E40A02678759}" destId="{2C5A763C-85CB-458E-A9A1-76D63C950B3F}" srcOrd="2" destOrd="0" parTransId="{68A21D36-6E60-4539-93AC-2BA4A8629110}" sibTransId="{5FB85AC2-4350-4AD7-8076-2FCEE5371581}"/>
    <dgm:cxn modelId="{B7ACB630-1323-4507-A9BF-4591E1AEE834}" type="presOf" srcId="{42D739D5-2C42-4586-8DF9-0EC85D4DD939}" destId="{F3A57436-5AA8-434C-BF63-BEA0FFE33A10}" srcOrd="0" destOrd="3" presId="urn:microsoft.com/office/officeart/2005/8/layout/hList1"/>
    <dgm:cxn modelId="{2DAE733A-1A29-4FC9-8C1D-C5729EE0BC5C}" type="presOf" srcId="{17C35D94-2F81-4CEC-ABF2-F8E71B0607B3}" destId="{A511AEF9-D7A0-4C38-8ACF-8D6B5E3E39C7}" srcOrd="0" destOrd="5" presId="urn:microsoft.com/office/officeart/2005/8/layout/hList1"/>
    <dgm:cxn modelId="{7D2D0B60-1D00-4246-8E56-7E9A5F240C58}" srcId="{6622C38D-CA4D-4395-A05B-CE2E807273EA}" destId="{9BC9B252-FAF6-4A55-A635-063A947FBF3F}" srcOrd="2" destOrd="0" parTransId="{36AEC279-A643-4963-9C0F-CD5FB2573E67}" sibTransId="{62C70245-523E-4E2C-B718-CBD46A00FC16}"/>
    <dgm:cxn modelId="{ED0D9041-98CB-44B6-ABF8-16C9CEF7E56D}" type="presOf" srcId="{24C490A9-C5CC-40CF-B6C0-40FE476703A9}" destId="{94309A4C-139D-4902-A141-1F93CFEEDB13}" srcOrd="0" destOrd="2" presId="urn:microsoft.com/office/officeart/2005/8/layout/hList1"/>
    <dgm:cxn modelId="{AF5B1A63-9726-4D62-8679-14C259C75312}" type="presOf" srcId="{1526D4B6-E7EC-47EA-8CF3-1B7A7A87738D}" destId="{F3A57436-5AA8-434C-BF63-BEA0FFE33A10}" srcOrd="0" destOrd="0" presId="urn:microsoft.com/office/officeart/2005/8/layout/hList1"/>
    <dgm:cxn modelId="{B624D948-A1AA-4CD0-9FA0-F42AEE61C862}" srcId="{655CB233-794F-4F32-BB45-330401AECB98}" destId="{21B4AED4-4074-4165-A330-A50677C87131}" srcOrd="0" destOrd="0" parTransId="{C9804AD8-A6B6-4C9D-8D95-F8BCC5460797}" sibTransId="{45A4F211-32F0-426F-A892-E38BC1C56A13}"/>
    <dgm:cxn modelId="{E39B406F-CE26-4BBA-9D4E-9CCD92F06D30}" srcId="{655CB233-794F-4F32-BB45-330401AECB98}" destId="{213F58E9-7ADD-495B-9F1A-31F4AD110101}" srcOrd="4" destOrd="0" parTransId="{B1D1D7EC-2074-4250-99B0-885046D53EB6}" sibTransId="{BD6A0484-4CD4-4964-A317-C1FF59EF9FFD}"/>
    <dgm:cxn modelId="{D6119571-CF61-477A-BA42-1C32F298227F}" type="presOf" srcId="{2C5A763C-85CB-458E-A9A1-76D63C950B3F}" destId="{A511AEF9-D7A0-4C38-8ACF-8D6B5E3E39C7}" srcOrd="0" destOrd="2" presId="urn:microsoft.com/office/officeart/2005/8/layout/hList1"/>
    <dgm:cxn modelId="{67890775-500C-45EE-A894-0A730FD5281B}" srcId="{6622C38D-CA4D-4395-A05B-CE2E807273EA}" destId="{B1C3D9BC-C4EA-4BF6-9B2B-A063D6FC232D}" srcOrd="5" destOrd="0" parTransId="{8F6F125E-E872-4C12-91A8-B10B490E2940}" sibTransId="{B4AF8B9D-3BEF-4A4F-8BC5-CCA13BD0C613}"/>
    <dgm:cxn modelId="{61C6DD5A-1541-43C5-B429-628E8BC1E0ED}" srcId="{45B2E9E3-7F2D-4E44-9A15-E40A02678759}" destId="{0B8AD0D3-D2B3-4D5E-8EC9-1B1B08851731}" srcOrd="1" destOrd="0" parTransId="{2EA235B6-671E-4211-8C41-A55543B4BCE4}" sibTransId="{90D5CAEB-535A-4722-87F7-A9D1F88B6932}"/>
    <dgm:cxn modelId="{513A087B-DACF-4BA4-A0F8-190B518FEAAD}" type="presOf" srcId="{0B8AD0D3-D2B3-4D5E-8EC9-1B1B08851731}" destId="{A511AEF9-D7A0-4C38-8ACF-8D6B5E3E39C7}" srcOrd="0" destOrd="1" presId="urn:microsoft.com/office/officeart/2005/8/layout/hList1"/>
    <dgm:cxn modelId="{DF09DE7C-E000-4956-B9E1-EC05D1D60D2E}" type="presOf" srcId="{11E18E8A-C9DE-45FA-B8BB-697BC6E8B120}" destId="{A511AEF9-D7A0-4C38-8ACF-8D6B5E3E39C7}" srcOrd="0" destOrd="0" presId="urn:microsoft.com/office/officeart/2005/8/layout/hList1"/>
    <dgm:cxn modelId="{06F48F80-1D20-49D3-A693-62FFAB75286E}" srcId="{9F1D9399-7667-4E3F-9C6F-ED74215FF152}" destId="{6622C38D-CA4D-4395-A05B-CE2E807273EA}" srcOrd="1" destOrd="0" parTransId="{05DF670A-810F-43AE-AD8A-1168962C2087}" sibTransId="{C6D3CBF4-C26E-46F4-8E17-0F6641FA2497}"/>
    <dgm:cxn modelId="{8F8B5E82-D376-4D29-B71B-AD9D37FF336B}" srcId="{45B2E9E3-7F2D-4E44-9A15-E40A02678759}" destId="{4F2FBE95-9380-4296-9B8B-7F182ABC78BC}" srcOrd="3" destOrd="0" parTransId="{E95931D7-23BE-4C14-9545-53CF729E5BD2}" sibTransId="{2BB3CA6A-C084-48E5-9816-D1C4F9F6822F}"/>
    <dgm:cxn modelId="{2CFCC682-85A5-4638-8553-B5F95F21D7A5}" type="presOf" srcId="{655CB233-794F-4F32-BB45-330401AECB98}" destId="{1F8F0832-1AE0-40E2-8924-9C2A95024651}" srcOrd="0" destOrd="0" presId="urn:microsoft.com/office/officeart/2005/8/layout/hList1"/>
    <dgm:cxn modelId="{579F0B89-349F-4AC2-989A-27408708E98F}" type="presOf" srcId="{6EB38642-28C8-4526-A495-96537051C176}" destId="{94309A4C-139D-4902-A141-1F93CFEEDB13}" srcOrd="0" destOrd="5" presId="urn:microsoft.com/office/officeart/2005/8/layout/hList1"/>
    <dgm:cxn modelId="{278C2794-FD49-448A-9414-324CA16CE2CB}" srcId="{655CB233-794F-4F32-BB45-330401AECB98}" destId="{FC9252EA-A113-4C8A-9712-6DE304E3A93B}" srcOrd="3" destOrd="0" parTransId="{ADAC64A2-594F-452E-80E4-BE3C589E9CBC}" sibTransId="{B311EBD2-E0CC-43ED-BB7F-AE5E4B1C5467}"/>
    <dgm:cxn modelId="{99A5C397-5378-4074-A56E-D90A6D149E7F}" srcId="{45B2E9E3-7F2D-4E44-9A15-E40A02678759}" destId="{11E18E8A-C9DE-45FA-B8BB-697BC6E8B120}" srcOrd="0" destOrd="0" parTransId="{21EC32E0-5D37-4F0B-BF47-468D13435F07}" sibTransId="{2C2AB991-38E5-49BD-A68D-4533319EDEBF}"/>
    <dgm:cxn modelId="{F245839B-6DB2-4123-911E-80FFC079176B}" srcId="{655CB233-794F-4F32-BB45-330401AECB98}" destId="{24C490A9-C5CC-40CF-B6C0-40FE476703A9}" srcOrd="2" destOrd="0" parTransId="{F4E78954-1CDF-4719-860B-FB7273490114}" sibTransId="{D208EA5E-FAE5-4E0E-B72B-BCA6ABB17452}"/>
    <dgm:cxn modelId="{6D5BB19C-2400-49D8-AE14-7FF8FC08E505}" srcId="{9F1D9399-7667-4E3F-9C6F-ED74215FF152}" destId="{45B2E9E3-7F2D-4E44-9A15-E40A02678759}" srcOrd="0" destOrd="0" parTransId="{30B186D0-D562-423C-BFDE-1755D670E0A8}" sibTransId="{35210F35-9870-42D4-933E-ED86D8F052E5}"/>
    <dgm:cxn modelId="{F6DC48AC-466E-4D2E-98B3-5264DC81BBB6}" srcId="{45B2E9E3-7F2D-4E44-9A15-E40A02678759}" destId="{17C35D94-2F81-4CEC-ABF2-F8E71B0607B3}" srcOrd="5" destOrd="0" parTransId="{CB3CE014-9456-4B17-A568-BE5A18BCC962}" sibTransId="{AA332735-F398-4829-9FF4-8208DD9E831A}"/>
    <dgm:cxn modelId="{AD0C43AD-5F7E-4A11-9E0E-6A0AFBC655E7}" type="presOf" srcId="{9BC9B252-FAF6-4A55-A635-063A947FBF3F}" destId="{F3A57436-5AA8-434C-BF63-BEA0FFE33A10}" srcOrd="0" destOrd="2" presId="urn:microsoft.com/office/officeart/2005/8/layout/hList1"/>
    <dgm:cxn modelId="{3BBECDB3-068F-41D4-B521-8C92BE069735}" type="presOf" srcId="{FC9252EA-A113-4C8A-9712-6DE304E3A93B}" destId="{94309A4C-139D-4902-A141-1F93CFEEDB13}" srcOrd="0" destOrd="3" presId="urn:microsoft.com/office/officeart/2005/8/layout/hList1"/>
    <dgm:cxn modelId="{0F5CF6B6-E0FA-48B5-8866-83F2D126C9C0}" type="presOf" srcId="{9F1D9399-7667-4E3F-9C6F-ED74215FF152}" destId="{62A09538-0600-42BA-B538-8537C29C80AD}" srcOrd="0" destOrd="0" presId="urn:microsoft.com/office/officeart/2005/8/layout/hList1"/>
    <dgm:cxn modelId="{6F3D24BD-DB60-4890-AF54-1A62F00A33E4}" srcId="{6622C38D-CA4D-4395-A05B-CE2E807273EA}" destId="{3E604CBF-D3E8-4636-9D8A-149C0773CC8F}" srcOrd="1" destOrd="0" parTransId="{4C1F5967-D32D-4FB6-B82D-5F08E78C5D61}" sibTransId="{35EAD70B-24B7-4FE8-8721-C14ADA98EACB}"/>
    <dgm:cxn modelId="{17C681BE-8ADC-4186-AD40-6E3AFE5EE7C9}" srcId="{6622C38D-CA4D-4395-A05B-CE2E807273EA}" destId="{1526D4B6-E7EC-47EA-8CF3-1B7A7A87738D}" srcOrd="0" destOrd="0" parTransId="{1EFD3C76-03A1-4B0F-97A0-60CD57E7038E}" sibTransId="{49486109-EA05-4877-91C9-D24D498AA2E4}"/>
    <dgm:cxn modelId="{172970CC-5993-43C0-A4C0-50EFB284F624}" type="presOf" srcId="{029F5C2A-4625-42E6-A2EC-1140CE40BA23}" destId="{A511AEF9-D7A0-4C38-8ACF-8D6B5E3E39C7}" srcOrd="0" destOrd="4" presId="urn:microsoft.com/office/officeart/2005/8/layout/hList1"/>
    <dgm:cxn modelId="{265B0BCE-C4D8-4EC2-B23F-EFC717C63E99}" type="presOf" srcId="{213F58E9-7ADD-495B-9F1A-31F4AD110101}" destId="{94309A4C-139D-4902-A141-1F93CFEEDB13}" srcOrd="0" destOrd="4" presId="urn:microsoft.com/office/officeart/2005/8/layout/hList1"/>
    <dgm:cxn modelId="{4FA8E3D7-AF1B-49C2-96CA-927E1981DD00}" type="presOf" srcId="{21B4AED4-4074-4165-A330-A50677C87131}" destId="{94309A4C-139D-4902-A141-1F93CFEEDB13}" srcOrd="0" destOrd="0" presId="urn:microsoft.com/office/officeart/2005/8/layout/hList1"/>
    <dgm:cxn modelId="{7C2385E4-E439-4989-9563-D73292BCA84D}" srcId="{655CB233-794F-4F32-BB45-330401AECB98}" destId="{6E8EC6BE-58C3-414A-8A1E-8572CD9BD9AD}" srcOrd="1" destOrd="0" parTransId="{AE0B5EC3-9855-4987-83B4-40F0B861BCC7}" sibTransId="{84FC3510-AAA3-4292-910E-FCF824B49830}"/>
    <dgm:cxn modelId="{FDA6B3EB-8030-4271-894A-F53FE53C4986}" srcId="{6622C38D-CA4D-4395-A05B-CE2E807273EA}" destId="{0B04F3E7-3650-4961-A057-36BCE8464EA9}" srcOrd="4" destOrd="0" parTransId="{30B89EF4-241E-44A8-B45C-76B0C48D5296}" sibTransId="{6FEFE518-BA9F-4280-94F5-0E2C7BE6A0CD}"/>
    <dgm:cxn modelId="{D1A54EF9-826A-43CE-ACCE-EB3CDBF577AA}" srcId="{6622C38D-CA4D-4395-A05B-CE2E807273EA}" destId="{621B0979-8D61-4574-A3F9-FEF306434B57}" srcOrd="6" destOrd="0" parTransId="{DF505AB1-F0EF-45A5-B60C-2BEFD3900E19}" sibTransId="{9BABEA73-6F08-42E6-A75E-763A7C04E977}"/>
    <dgm:cxn modelId="{3EBE95FD-7705-47F5-9073-FEEC2426FA99}" type="presOf" srcId="{0B04F3E7-3650-4961-A057-36BCE8464EA9}" destId="{F3A57436-5AA8-434C-BF63-BEA0FFE33A10}" srcOrd="0" destOrd="4" presId="urn:microsoft.com/office/officeart/2005/8/layout/hList1"/>
    <dgm:cxn modelId="{0F291E36-6331-46E9-9B31-7DBFDA84A113}" type="presParOf" srcId="{62A09538-0600-42BA-B538-8537C29C80AD}" destId="{4E1894E5-F0AA-471F-AD3B-8CB3E0E9E4BF}" srcOrd="0" destOrd="0" presId="urn:microsoft.com/office/officeart/2005/8/layout/hList1"/>
    <dgm:cxn modelId="{19814072-AF9B-497F-B604-0DE2D706219C}" type="presParOf" srcId="{4E1894E5-F0AA-471F-AD3B-8CB3E0E9E4BF}" destId="{40818FE0-D172-4953-8726-750424952633}" srcOrd="0" destOrd="0" presId="urn:microsoft.com/office/officeart/2005/8/layout/hList1"/>
    <dgm:cxn modelId="{F41A1118-9289-4387-80BD-1F00BEC396D1}" type="presParOf" srcId="{4E1894E5-F0AA-471F-AD3B-8CB3E0E9E4BF}" destId="{A511AEF9-D7A0-4C38-8ACF-8D6B5E3E39C7}" srcOrd="1" destOrd="0" presId="urn:microsoft.com/office/officeart/2005/8/layout/hList1"/>
    <dgm:cxn modelId="{AA8A31D1-B37E-4937-88EF-7AD5111137FB}" type="presParOf" srcId="{62A09538-0600-42BA-B538-8537C29C80AD}" destId="{CC5D4066-EA96-40D9-B9D1-914B17F6C37F}" srcOrd="1" destOrd="0" presId="urn:microsoft.com/office/officeart/2005/8/layout/hList1"/>
    <dgm:cxn modelId="{1C8BCFB0-1842-4A28-83A8-9897655904C4}" type="presParOf" srcId="{62A09538-0600-42BA-B538-8537C29C80AD}" destId="{42B08CCC-2F12-4D98-BCEE-C0123F005EDA}" srcOrd="2" destOrd="0" presId="urn:microsoft.com/office/officeart/2005/8/layout/hList1"/>
    <dgm:cxn modelId="{DB6586B2-4B08-4666-AC16-404C7CE4DF2E}" type="presParOf" srcId="{42B08CCC-2F12-4D98-BCEE-C0123F005EDA}" destId="{AA30D338-E269-431D-A98C-C0A93B715B27}" srcOrd="0" destOrd="0" presId="urn:microsoft.com/office/officeart/2005/8/layout/hList1"/>
    <dgm:cxn modelId="{B6504E41-AB92-4101-A56E-A59817D47E94}" type="presParOf" srcId="{42B08CCC-2F12-4D98-BCEE-C0123F005EDA}" destId="{F3A57436-5AA8-434C-BF63-BEA0FFE33A10}" srcOrd="1" destOrd="0" presId="urn:microsoft.com/office/officeart/2005/8/layout/hList1"/>
    <dgm:cxn modelId="{722C71B3-05D7-421C-AF19-88D3FE20A2A2}" type="presParOf" srcId="{62A09538-0600-42BA-B538-8537C29C80AD}" destId="{87734321-104C-4FF7-A31A-58FDC7F45E21}" srcOrd="3" destOrd="0" presId="urn:microsoft.com/office/officeart/2005/8/layout/hList1"/>
    <dgm:cxn modelId="{69C9635F-7816-4D85-A448-31E8F5BAA396}" type="presParOf" srcId="{62A09538-0600-42BA-B538-8537C29C80AD}" destId="{C8A48997-D7A1-4C05-AE6E-B794BFDB0F78}" srcOrd="4" destOrd="0" presId="urn:microsoft.com/office/officeart/2005/8/layout/hList1"/>
    <dgm:cxn modelId="{98002E65-F28C-4E1F-85B8-548EEA2AD61C}" type="presParOf" srcId="{C8A48997-D7A1-4C05-AE6E-B794BFDB0F78}" destId="{1F8F0832-1AE0-40E2-8924-9C2A95024651}" srcOrd="0" destOrd="0" presId="urn:microsoft.com/office/officeart/2005/8/layout/hList1"/>
    <dgm:cxn modelId="{84843627-93E1-4894-843A-317D3B9E4B09}" type="presParOf" srcId="{C8A48997-D7A1-4C05-AE6E-B794BFDB0F78}" destId="{94309A4C-139D-4902-A141-1F93CFEEDB1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C449C62E-5AB4-4BBC-8EA2-8A607505D929}" type="doc">
      <dgm:prSet loTypeId="urn:microsoft.com/office/officeart/2005/8/layout/venn1" loCatId="relationship" qsTypeId="urn:microsoft.com/office/officeart/2005/8/quickstyle/simple1" qsCatId="simple" csTypeId="urn:microsoft.com/office/officeart/2005/8/colors/accent1_2" csCatId="accent1"/>
      <dgm:spPr/>
      <dgm:t>
        <a:bodyPr/>
        <a:lstStyle/>
        <a:p>
          <a:endParaRPr lang="en-US"/>
        </a:p>
      </dgm:t>
    </dgm:pt>
    <dgm:pt modelId="{D404F182-996A-4AF7-B6AA-63F1DF984FD9}">
      <dgm:prSet/>
      <dgm:spPr/>
      <dgm:t>
        <a:bodyPr/>
        <a:lstStyle/>
        <a:p>
          <a:r>
            <a:rPr lang="en-US" baseline="0"/>
            <a:t>Built for application developers.</a:t>
          </a:r>
          <a:endParaRPr lang="en-US"/>
        </a:p>
      </dgm:t>
    </dgm:pt>
    <dgm:pt modelId="{76034483-D379-476C-8942-E45F7D0CD43B}" type="parTrans" cxnId="{98CC5220-C126-49FC-A848-4650855DD4B8}">
      <dgm:prSet/>
      <dgm:spPr/>
      <dgm:t>
        <a:bodyPr/>
        <a:lstStyle/>
        <a:p>
          <a:endParaRPr lang="en-US"/>
        </a:p>
      </dgm:t>
    </dgm:pt>
    <dgm:pt modelId="{F8A08FD9-9516-47FF-BC1E-7DCF0AA0002D}" type="sibTrans" cxnId="{98CC5220-C126-49FC-A848-4650855DD4B8}">
      <dgm:prSet/>
      <dgm:spPr/>
      <dgm:t>
        <a:bodyPr/>
        <a:lstStyle/>
        <a:p>
          <a:endParaRPr lang="en-US"/>
        </a:p>
      </dgm:t>
    </dgm:pt>
    <dgm:pt modelId="{EEDD575A-267B-44BC-8E89-756E7E5165AF}">
      <dgm:prSet/>
      <dgm:spPr/>
      <dgm:t>
        <a:bodyPr/>
        <a:lstStyle/>
        <a:p>
          <a:r>
            <a:rPr lang="en-US" baseline="0"/>
            <a:t>Gives developers more time to innovate.</a:t>
          </a:r>
          <a:endParaRPr lang="en-US"/>
        </a:p>
      </dgm:t>
    </dgm:pt>
    <dgm:pt modelId="{2E808C3B-9751-488B-9F42-A4D64668DB35}" type="parTrans" cxnId="{B008D45B-50E0-4D51-AB2F-27FE12DE66B6}">
      <dgm:prSet/>
      <dgm:spPr/>
      <dgm:t>
        <a:bodyPr/>
        <a:lstStyle/>
        <a:p>
          <a:endParaRPr lang="en-US"/>
        </a:p>
      </dgm:t>
    </dgm:pt>
    <dgm:pt modelId="{8A5176CE-CE2B-479E-AFA2-E9BCDAE4C982}" type="sibTrans" cxnId="{B008D45B-50E0-4D51-AB2F-27FE12DE66B6}">
      <dgm:prSet/>
      <dgm:spPr/>
      <dgm:t>
        <a:bodyPr/>
        <a:lstStyle/>
        <a:p>
          <a:endParaRPr lang="en-US"/>
        </a:p>
      </dgm:t>
    </dgm:pt>
    <dgm:pt modelId="{542E7118-CCAA-48FB-9182-519C6AE2DA12}">
      <dgm:prSet/>
      <dgm:spPr/>
      <dgm:t>
        <a:bodyPr/>
        <a:lstStyle/>
        <a:p>
          <a:r>
            <a:rPr lang="en-US" baseline="0"/>
            <a:t>Accelerates time to market.</a:t>
          </a:r>
          <a:endParaRPr lang="en-US"/>
        </a:p>
      </dgm:t>
    </dgm:pt>
    <dgm:pt modelId="{CEE736E5-3EAA-412C-A6E6-30623790C0F2}" type="parTrans" cxnId="{5A4D583B-D6FC-480D-84BF-B3AC281DC691}">
      <dgm:prSet/>
      <dgm:spPr/>
      <dgm:t>
        <a:bodyPr/>
        <a:lstStyle/>
        <a:p>
          <a:endParaRPr lang="en-US"/>
        </a:p>
      </dgm:t>
    </dgm:pt>
    <dgm:pt modelId="{7C8637D3-E38A-4227-84E9-4D6E83A03E92}" type="sibTrans" cxnId="{5A4D583B-D6FC-480D-84BF-B3AC281DC691}">
      <dgm:prSet/>
      <dgm:spPr/>
      <dgm:t>
        <a:bodyPr/>
        <a:lstStyle/>
        <a:p>
          <a:endParaRPr lang="en-US"/>
        </a:p>
      </dgm:t>
    </dgm:pt>
    <dgm:pt modelId="{7515A052-FC72-4E4B-81E8-68112566E135}">
      <dgm:prSet/>
      <dgm:spPr/>
      <dgm:t>
        <a:bodyPr/>
        <a:lstStyle/>
        <a:p>
          <a:r>
            <a:rPr lang="en-US" baseline="0"/>
            <a:t>Maximizes performance, reliability, </a:t>
          </a:r>
          <a:br>
            <a:rPr lang="en-US" baseline="0"/>
          </a:br>
          <a:r>
            <a:rPr lang="en-US" baseline="0"/>
            <a:t>and data protection.</a:t>
          </a:r>
          <a:endParaRPr lang="en-US"/>
        </a:p>
      </dgm:t>
    </dgm:pt>
    <dgm:pt modelId="{A8BA6BA5-F5DA-4959-B3B6-14B42E231246}" type="parTrans" cxnId="{40DEC376-1FDB-47AE-84FD-B31E9D5DBAC9}">
      <dgm:prSet/>
      <dgm:spPr/>
      <dgm:t>
        <a:bodyPr/>
        <a:lstStyle/>
        <a:p>
          <a:endParaRPr lang="en-US"/>
        </a:p>
      </dgm:t>
    </dgm:pt>
    <dgm:pt modelId="{70553B8F-EC36-459A-9CC3-4B3A61A760F5}" type="sibTrans" cxnId="{40DEC376-1FDB-47AE-84FD-B31E9D5DBAC9}">
      <dgm:prSet/>
      <dgm:spPr/>
      <dgm:t>
        <a:bodyPr/>
        <a:lstStyle/>
        <a:p>
          <a:endParaRPr lang="en-US"/>
        </a:p>
      </dgm:t>
    </dgm:pt>
    <dgm:pt modelId="{FDD7599B-9E21-4042-B6F9-059BBD46135C}">
      <dgm:prSet/>
      <dgm:spPr/>
      <dgm:t>
        <a:bodyPr/>
        <a:lstStyle/>
        <a:p>
          <a:r>
            <a:rPr lang="en-US" baseline="0"/>
            <a:t>Allows developers to use the languages and platforms they prefer.</a:t>
          </a:r>
          <a:endParaRPr lang="en-US"/>
        </a:p>
      </dgm:t>
    </dgm:pt>
    <dgm:pt modelId="{132CE73D-4399-475E-A26B-86B340AE0AF2}" type="parTrans" cxnId="{B102057B-EF33-4540-9224-D27D3CA36D98}">
      <dgm:prSet/>
      <dgm:spPr/>
      <dgm:t>
        <a:bodyPr/>
        <a:lstStyle/>
        <a:p>
          <a:endParaRPr lang="en-US"/>
        </a:p>
      </dgm:t>
    </dgm:pt>
    <dgm:pt modelId="{F3D40263-55D8-4445-8870-F2BEBE6F3D48}" type="sibTrans" cxnId="{B102057B-EF33-4540-9224-D27D3CA36D98}">
      <dgm:prSet/>
      <dgm:spPr/>
      <dgm:t>
        <a:bodyPr/>
        <a:lstStyle/>
        <a:p>
          <a:endParaRPr lang="en-US"/>
        </a:p>
      </dgm:t>
    </dgm:pt>
    <dgm:pt modelId="{B503697E-DB60-4415-8126-B07515C2CC98}">
      <dgm:prSet/>
      <dgm:spPr/>
      <dgm:t>
        <a:bodyPr/>
        <a:lstStyle/>
        <a:p>
          <a:r>
            <a:rPr lang="en-US" baseline="0"/>
            <a:t>Everything built-in</a:t>
          </a:r>
          <a:endParaRPr lang="en-US"/>
        </a:p>
      </dgm:t>
    </dgm:pt>
    <dgm:pt modelId="{CC9D8ACC-56FF-45AB-B995-9985A7392187}" type="parTrans" cxnId="{BC434335-8C19-4E9D-AA6B-F5ECDCDFB5E0}">
      <dgm:prSet/>
      <dgm:spPr/>
      <dgm:t>
        <a:bodyPr/>
        <a:lstStyle/>
        <a:p>
          <a:endParaRPr lang="en-US"/>
        </a:p>
      </dgm:t>
    </dgm:pt>
    <dgm:pt modelId="{75E64C22-0D99-4F22-B827-FB42CD2828D7}" type="sibTrans" cxnId="{BC434335-8C19-4E9D-AA6B-F5ECDCDFB5E0}">
      <dgm:prSet/>
      <dgm:spPr/>
      <dgm:t>
        <a:bodyPr/>
        <a:lstStyle/>
        <a:p>
          <a:endParaRPr lang="en-US"/>
        </a:p>
      </dgm:t>
    </dgm:pt>
    <dgm:pt modelId="{BEDF94DE-6EBF-4E1E-B9D5-A19362609106}" type="pres">
      <dgm:prSet presAssocID="{C449C62E-5AB4-4BBC-8EA2-8A607505D929}" presName="compositeShape" presStyleCnt="0">
        <dgm:presLayoutVars>
          <dgm:chMax val="7"/>
          <dgm:dir/>
          <dgm:resizeHandles val="exact"/>
        </dgm:presLayoutVars>
      </dgm:prSet>
      <dgm:spPr/>
    </dgm:pt>
    <dgm:pt modelId="{A49B2ECB-DA9F-4380-B6C1-C8247DDC7B83}" type="pres">
      <dgm:prSet presAssocID="{D404F182-996A-4AF7-B6AA-63F1DF984FD9}" presName="circ1" presStyleLbl="vennNode1" presStyleIdx="0" presStyleCnt="6"/>
      <dgm:spPr/>
    </dgm:pt>
    <dgm:pt modelId="{BCA3B221-BAC1-48F1-BDB3-B3279402CAF5}" type="pres">
      <dgm:prSet presAssocID="{D404F182-996A-4AF7-B6AA-63F1DF984FD9}" presName="circ1Tx" presStyleLbl="revTx" presStyleIdx="0" presStyleCnt="0">
        <dgm:presLayoutVars>
          <dgm:chMax val="0"/>
          <dgm:chPref val="0"/>
          <dgm:bulletEnabled val="1"/>
        </dgm:presLayoutVars>
      </dgm:prSet>
      <dgm:spPr/>
    </dgm:pt>
    <dgm:pt modelId="{0E4C8EC0-20D0-464A-9AC9-3868331D0E45}" type="pres">
      <dgm:prSet presAssocID="{EEDD575A-267B-44BC-8E89-756E7E5165AF}" presName="circ2" presStyleLbl="vennNode1" presStyleIdx="1" presStyleCnt="6"/>
      <dgm:spPr/>
    </dgm:pt>
    <dgm:pt modelId="{6B346B73-EE2B-4B14-A562-591534C44539}" type="pres">
      <dgm:prSet presAssocID="{EEDD575A-267B-44BC-8E89-756E7E5165AF}" presName="circ2Tx" presStyleLbl="revTx" presStyleIdx="0" presStyleCnt="0">
        <dgm:presLayoutVars>
          <dgm:chMax val="0"/>
          <dgm:chPref val="0"/>
          <dgm:bulletEnabled val="1"/>
        </dgm:presLayoutVars>
      </dgm:prSet>
      <dgm:spPr/>
    </dgm:pt>
    <dgm:pt modelId="{A3B2AF77-B093-4F6E-8578-5AEA213FB23F}" type="pres">
      <dgm:prSet presAssocID="{542E7118-CCAA-48FB-9182-519C6AE2DA12}" presName="circ3" presStyleLbl="vennNode1" presStyleIdx="2" presStyleCnt="6"/>
      <dgm:spPr/>
    </dgm:pt>
    <dgm:pt modelId="{9CC508BD-E84B-45DF-93EB-B4DC2DFF0826}" type="pres">
      <dgm:prSet presAssocID="{542E7118-CCAA-48FB-9182-519C6AE2DA12}" presName="circ3Tx" presStyleLbl="revTx" presStyleIdx="0" presStyleCnt="0">
        <dgm:presLayoutVars>
          <dgm:chMax val="0"/>
          <dgm:chPref val="0"/>
          <dgm:bulletEnabled val="1"/>
        </dgm:presLayoutVars>
      </dgm:prSet>
      <dgm:spPr/>
    </dgm:pt>
    <dgm:pt modelId="{4FAE0030-7471-4D1B-BBCD-B9FF66953C00}" type="pres">
      <dgm:prSet presAssocID="{7515A052-FC72-4E4B-81E8-68112566E135}" presName="circ4" presStyleLbl="vennNode1" presStyleIdx="3" presStyleCnt="6"/>
      <dgm:spPr/>
    </dgm:pt>
    <dgm:pt modelId="{F14CE8CC-A972-47B1-A8B2-17288BA76DCD}" type="pres">
      <dgm:prSet presAssocID="{7515A052-FC72-4E4B-81E8-68112566E135}" presName="circ4Tx" presStyleLbl="revTx" presStyleIdx="0" presStyleCnt="0">
        <dgm:presLayoutVars>
          <dgm:chMax val="0"/>
          <dgm:chPref val="0"/>
          <dgm:bulletEnabled val="1"/>
        </dgm:presLayoutVars>
      </dgm:prSet>
      <dgm:spPr/>
    </dgm:pt>
    <dgm:pt modelId="{E26C5603-6849-4CD6-9721-E1FF3339BABB}" type="pres">
      <dgm:prSet presAssocID="{FDD7599B-9E21-4042-B6F9-059BBD46135C}" presName="circ5" presStyleLbl="vennNode1" presStyleIdx="4" presStyleCnt="6"/>
      <dgm:spPr/>
    </dgm:pt>
    <dgm:pt modelId="{0184C26E-DEFA-43A7-A6D3-B57852FE9DE6}" type="pres">
      <dgm:prSet presAssocID="{FDD7599B-9E21-4042-B6F9-059BBD46135C}" presName="circ5Tx" presStyleLbl="revTx" presStyleIdx="0" presStyleCnt="0">
        <dgm:presLayoutVars>
          <dgm:chMax val="0"/>
          <dgm:chPref val="0"/>
          <dgm:bulletEnabled val="1"/>
        </dgm:presLayoutVars>
      </dgm:prSet>
      <dgm:spPr/>
    </dgm:pt>
    <dgm:pt modelId="{A0305347-6D67-4F28-AECE-7C81457453BD}" type="pres">
      <dgm:prSet presAssocID="{B503697E-DB60-4415-8126-B07515C2CC98}" presName="circ6" presStyleLbl="vennNode1" presStyleIdx="5" presStyleCnt="6"/>
      <dgm:spPr/>
    </dgm:pt>
    <dgm:pt modelId="{EEAE3DE0-2C70-4F6E-BBB6-B02D8B182A7F}" type="pres">
      <dgm:prSet presAssocID="{B503697E-DB60-4415-8126-B07515C2CC98}" presName="circ6Tx" presStyleLbl="revTx" presStyleIdx="0" presStyleCnt="0">
        <dgm:presLayoutVars>
          <dgm:chMax val="0"/>
          <dgm:chPref val="0"/>
          <dgm:bulletEnabled val="1"/>
        </dgm:presLayoutVars>
      </dgm:prSet>
      <dgm:spPr/>
    </dgm:pt>
  </dgm:ptLst>
  <dgm:cxnLst>
    <dgm:cxn modelId="{0951A207-9638-461F-BB01-A791EF1AE877}" type="presOf" srcId="{C449C62E-5AB4-4BBC-8EA2-8A607505D929}" destId="{BEDF94DE-6EBF-4E1E-B9D5-A19362609106}" srcOrd="0" destOrd="0" presId="urn:microsoft.com/office/officeart/2005/8/layout/venn1"/>
    <dgm:cxn modelId="{78DE7515-4D2D-4C0A-9E29-81253E258D8F}" type="presOf" srcId="{542E7118-CCAA-48FB-9182-519C6AE2DA12}" destId="{9CC508BD-E84B-45DF-93EB-B4DC2DFF0826}" srcOrd="0" destOrd="0" presId="urn:microsoft.com/office/officeart/2005/8/layout/venn1"/>
    <dgm:cxn modelId="{98CC5220-C126-49FC-A848-4650855DD4B8}" srcId="{C449C62E-5AB4-4BBC-8EA2-8A607505D929}" destId="{D404F182-996A-4AF7-B6AA-63F1DF984FD9}" srcOrd="0" destOrd="0" parTransId="{76034483-D379-476C-8942-E45F7D0CD43B}" sibTransId="{F8A08FD9-9516-47FF-BC1E-7DCF0AA0002D}"/>
    <dgm:cxn modelId="{BC434335-8C19-4E9D-AA6B-F5ECDCDFB5E0}" srcId="{C449C62E-5AB4-4BBC-8EA2-8A607505D929}" destId="{B503697E-DB60-4415-8126-B07515C2CC98}" srcOrd="5" destOrd="0" parTransId="{CC9D8ACC-56FF-45AB-B995-9985A7392187}" sibTransId="{75E64C22-0D99-4F22-B827-FB42CD2828D7}"/>
    <dgm:cxn modelId="{5A4D583B-D6FC-480D-84BF-B3AC281DC691}" srcId="{C449C62E-5AB4-4BBC-8EA2-8A607505D929}" destId="{542E7118-CCAA-48FB-9182-519C6AE2DA12}" srcOrd="2" destOrd="0" parTransId="{CEE736E5-3EAA-412C-A6E6-30623790C0F2}" sibTransId="{7C8637D3-E38A-4227-84E9-4D6E83A03E92}"/>
    <dgm:cxn modelId="{B008D45B-50E0-4D51-AB2F-27FE12DE66B6}" srcId="{C449C62E-5AB4-4BBC-8EA2-8A607505D929}" destId="{EEDD575A-267B-44BC-8E89-756E7E5165AF}" srcOrd="1" destOrd="0" parTransId="{2E808C3B-9751-488B-9F42-A4D64668DB35}" sibTransId="{8A5176CE-CE2B-479E-AFA2-E9BCDAE4C982}"/>
    <dgm:cxn modelId="{40DEC376-1FDB-47AE-84FD-B31E9D5DBAC9}" srcId="{C449C62E-5AB4-4BBC-8EA2-8A607505D929}" destId="{7515A052-FC72-4E4B-81E8-68112566E135}" srcOrd="3" destOrd="0" parTransId="{A8BA6BA5-F5DA-4959-B3B6-14B42E231246}" sibTransId="{70553B8F-EC36-459A-9CC3-4B3A61A760F5}"/>
    <dgm:cxn modelId="{B102057B-EF33-4540-9224-D27D3CA36D98}" srcId="{C449C62E-5AB4-4BBC-8EA2-8A607505D929}" destId="{FDD7599B-9E21-4042-B6F9-059BBD46135C}" srcOrd="4" destOrd="0" parTransId="{132CE73D-4399-475E-A26B-86B340AE0AF2}" sibTransId="{F3D40263-55D8-4445-8870-F2BEBE6F3D48}"/>
    <dgm:cxn modelId="{72294D97-677C-4C47-A934-3295809892E2}" type="presOf" srcId="{EEDD575A-267B-44BC-8E89-756E7E5165AF}" destId="{6B346B73-EE2B-4B14-A562-591534C44539}" srcOrd="0" destOrd="0" presId="urn:microsoft.com/office/officeart/2005/8/layout/venn1"/>
    <dgm:cxn modelId="{49D999A8-43F2-4FFC-B57D-42FCF8DCAB91}" type="presOf" srcId="{FDD7599B-9E21-4042-B6F9-059BBD46135C}" destId="{0184C26E-DEFA-43A7-A6D3-B57852FE9DE6}" srcOrd="0" destOrd="0" presId="urn:microsoft.com/office/officeart/2005/8/layout/venn1"/>
    <dgm:cxn modelId="{47802FC8-C620-4874-878E-06E38A70DE04}" type="presOf" srcId="{B503697E-DB60-4415-8126-B07515C2CC98}" destId="{EEAE3DE0-2C70-4F6E-BBB6-B02D8B182A7F}" srcOrd="0" destOrd="0" presId="urn:microsoft.com/office/officeart/2005/8/layout/venn1"/>
    <dgm:cxn modelId="{E5D064E0-387B-48C8-927B-81186365AD8F}" type="presOf" srcId="{7515A052-FC72-4E4B-81E8-68112566E135}" destId="{F14CE8CC-A972-47B1-A8B2-17288BA76DCD}" srcOrd="0" destOrd="0" presId="urn:microsoft.com/office/officeart/2005/8/layout/venn1"/>
    <dgm:cxn modelId="{1057BBF6-25D2-4110-A0BE-C1F815B573C4}" type="presOf" srcId="{D404F182-996A-4AF7-B6AA-63F1DF984FD9}" destId="{BCA3B221-BAC1-48F1-BDB3-B3279402CAF5}" srcOrd="0" destOrd="0" presId="urn:microsoft.com/office/officeart/2005/8/layout/venn1"/>
    <dgm:cxn modelId="{E379E40F-EC6A-4E73-AF40-CEB9632D8617}" type="presParOf" srcId="{BEDF94DE-6EBF-4E1E-B9D5-A19362609106}" destId="{A49B2ECB-DA9F-4380-B6C1-C8247DDC7B83}" srcOrd="0" destOrd="0" presId="urn:microsoft.com/office/officeart/2005/8/layout/venn1"/>
    <dgm:cxn modelId="{7AB3E3B0-EC1C-4E02-B3D9-3EA1CA50FDA5}" type="presParOf" srcId="{BEDF94DE-6EBF-4E1E-B9D5-A19362609106}" destId="{BCA3B221-BAC1-48F1-BDB3-B3279402CAF5}" srcOrd="1" destOrd="0" presId="urn:microsoft.com/office/officeart/2005/8/layout/venn1"/>
    <dgm:cxn modelId="{284DD3E2-5147-4D5F-AC78-B65ECE998327}" type="presParOf" srcId="{BEDF94DE-6EBF-4E1E-B9D5-A19362609106}" destId="{0E4C8EC0-20D0-464A-9AC9-3868331D0E45}" srcOrd="2" destOrd="0" presId="urn:microsoft.com/office/officeart/2005/8/layout/venn1"/>
    <dgm:cxn modelId="{70151EB9-E9E0-402D-A974-6EAE1069572F}" type="presParOf" srcId="{BEDF94DE-6EBF-4E1E-B9D5-A19362609106}" destId="{6B346B73-EE2B-4B14-A562-591534C44539}" srcOrd="3" destOrd="0" presId="urn:microsoft.com/office/officeart/2005/8/layout/venn1"/>
    <dgm:cxn modelId="{BB5281D0-576C-4865-BB58-30F9A685E0C7}" type="presParOf" srcId="{BEDF94DE-6EBF-4E1E-B9D5-A19362609106}" destId="{A3B2AF77-B093-4F6E-8578-5AEA213FB23F}" srcOrd="4" destOrd="0" presId="urn:microsoft.com/office/officeart/2005/8/layout/venn1"/>
    <dgm:cxn modelId="{EE9D24E2-963E-4F98-8E31-1782E554CB68}" type="presParOf" srcId="{BEDF94DE-6EBF-4E1E-B9D5-A19362609106}" destId="{9CC508BD-E84B-45DF-93EB-B4DC2DFF0826}" srcOrd="5" destOrd="0" presId="urn:microsoft.com/office/officeart/2005/8/layout/venn1"/>
    <dgm:cxn modelId="{7D5E7CBA-34E2-4953-8A92-4922E872E56B}" type="presParOf" srcId="{BEDF94DE-6EBF-4E1E-B9D5-A19362609106}" destId="{4FAE0030-7471-4D1B-BBCD-B9FF66953C00}" srcOrd="6" destOrd="0" presId="urn:microsoft.com/office/officeart/2005/8/layout/venn1"/>
    <dgm:cxn modelId="{EE3F1F47-3BEE-4CB3-A01B-0017CB386F91}" type="presParOf" srcId="{BEDF94DE-6EBF-4E1E-B9D5-A19362609106}" destId="{F14CE8CC-A972-47B1-A8B2-17288BA76DCD}" srcOrd="7" destOrd="0" presId="urn:microsoft.com/office/officeart/2005/8/layout/venn1"/>
    <dgm:cxn modelId="{7054E22A-C812-4AF0-B6F0-A6E2018F77CC}" type="presParOf" srcId="{BEDF94DE-6EBF-4E1E-B9D5-A19362609106}" destId="{E26C5603-6849-4CD6-9721-E1FF3339BABB}" srcOrd="8" destOrd="0" presId="urn:microsoft.com/office/officeart/2005/8/layout/venn1"/>
    <dgm:cxn modelId="{E52975C8-CBF1-4A47-9BFE-6BFC7D08A73A}" type="presParOf" srcId="{BEDF94DE-6EBF-4E1E-B9D5-A19362609106}" destId="{0184C26E-DEFA-43A7-A6D3-B57852FE9DE6}" srcOrd="9" destOrd="0" presId="urn:microsoft.com/office/officeart/2005/8/layout/venn1"/>
    <dgm:cxn modelId="{3082F60A-D2C1-40DB-A668-20B2867B9877}" type="presParOf" srcId="{BEDF94DE-6EBF-4E1E-B9D5-A19362609106}" destId="{A0305347-6D67-4F28-AECE-7C81457453BD}" srcOrd="10" destOrd="0" presId="urn:microsoft.com/office/officeart/2005/8/layout/venn1"/>
    <dgm:cxn modelId="{3D1FF85D-C2C1-4EA8-93E5-0413AA62856A}" type="presParOf" srcId="{BEDF94DE-6EBF-4E1E-B9D5-A19362609106}" destId="{EEAE3DE0-2C70-4F6E-BBB6-B02D8B182A7F}" srcOrd="11"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1B3BE46B-A19B-4F11-BB45-D1B8A9B86EB8}" type="doc">
      <dgm:prSet loTypeId="urn:microsoft.com/office/officeart/2005/8/layout/vList3" loCatId="picture" qsTypeId="urn:microsoft.com/office/officeart/2005/8/quickstyle/simple1" qsCatId="simple" csTypeId="urn:microsoft.com/office/officeart/2005/8/colors/accent1_2" csCatId="accent1" phldr="1"/>
      <dgm:spPr/>
    </dgm:pt>
    <dgm:pt modelId="{DA131F33-DFFA-46C4-AAA6-38F01DC60666}">
      <dgm:prSet phldrT="[Text]"/>
      <dgm:spPr>
        <a:xfrm rot="10800000">
          <a:off x="1340583" y="1595"/>
          <a:ext cx="4437249" cy="891721"/>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Font typeface="Arial" panose="020B0604020202020204" pitchFamily="34" charset="0"/>
            <a:buNone/>
          </a:pPr>
          <a:r>
            <a:rPr lang="en-US">
              <a:solidFill>
                <a:srgbClr val="0078D3"/>
              </a:solidFill>
              <a:latin typeface="Segoe UI"/>
              <a:ea typeface="+mn-ea"/>
              <a:cs typeface="+mn-cs"/>
            </a:rPr>
            <a:t>Business continuity </a:t>
          </a:r>
        </a:p>
      </dgm:t>
    </dgm:pt>
    <dgm:pt modelId="{175E0962-2A1E-4153-A873-DBFFEE8B3C61}" type="parTrans" cxnId="{82D1BA07-F9BC-4660-ACF0-C30C383DF162}">
      <dgm:prSet/>
      <dgm:spPr/>
      <dgm:t>
        <a:bodyPr/>
        <a:lstStyle/>
        <a:p>
          <a:endParaRPr lang="en-US"/>
        </a:p>
      </dgm:t>
    </dgm:pt>
    <dgm:pt modelId="{AF523B2B-9169-485E-83E5-266383E49094}" type="sibTrans" cxnId="{82D1BA07-F9BC-4660-ACF0-C30C383DF162}">
      <dgm:prSet/>
      <dgm:spPr/>
      <dgm:t>
        <a:bodyPr/>
        <a:lstStyle/>
        <a:p>
          <a:endParaRPr lang="en-US"/>
        </a:p>
      </dgm:t>
    </dgm:pt>
    <dgm:pt modelId="{0F6C0AAC-39CF-4853-8DF0-6DE67B502F80}">
      <dgm:prSet/>
      <dgm:spPr>
        <a:xfrm rot="10800000">
          <a:off x="1340583" y="1159502"/>
          <a:ext cx="4437249" cy="891721"/>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a:solidFill>
                <a:srgbClr val="0078D3"/>
              </a:solidFill>
              <a:latin typeface="Segoe UI"/>
              <a:ea typeface="+mn-ea"/>
              <a:cs typeface="+mn-cs"/>
            </a:rPr>
            <a:t>High availability </a:t>
          </a:r>
        </a:p>
      </dgm:t>
    </dgm:pt>
    <dgm:pt modelId="{5865BF12-A60F-45EE-840A-5D5E65FB52C1}" type="parTrans" cxnId="{26AF4C07-21E4-49B9-9014-0E17BC0177B4}">
      <dgm:prSet/>
      <dgm:spPr/>
      <dgm:t>
        <a:bodyPr/>
        <a:lstStyle/>
        <a:p>
          <a:endParaRPr lang="en-US"/>
        </a:p>
      </dgm:t>
    </dgm:pt>
    <dgm:pt modelId="{3C95F86A-5E1E-42A4-AF28-10A7D5E94315}" type="sibTrans" cxnId="{26AF4C07-21E4-49B9-9014-0E17BC0177B4}">
      <dgm:prSet/>
      <dgm:spPr/>
      <dgm:t>
        <a:bodyPr/>
        <a:lstStyle/>
        <a:p>
          <a:endParaRPr lang="en-US"/>
        </a:p>
      </dgm:t>
    </dgm:pt>
    <dgm:pt modelId="{2B9121C1-005B-4CF3-BFC6-F47A3D64FE58}">
      <dgm:prSet/>
      <dgm:spPr>
        <a:xfrm rot="10800000">
          <a:off x="1340583" y="2317408"/>
          <a:ext cx="4437249" cy="891721"/>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a:solidFill>
                <a:srgbClr val="0078D3"/>
              </a:solidFill>
              <a:latin typeface="Segoe UI"/>
              <a:ea typeface="+mn-ea"/>
              <a:cs typeface="+mn-cs"/>
            </a:rPr>
            <a:t>Automated backups </a:t>
          </a:r>
        </a:p>
      </dgm:t>
    </dgm:pt>
    <dgm:pt modelId="{F678BCDF-83E9-4D31-BA89-174B36FBF760}" type="parTrans" cxnId="{78CF5E83-C458-413A-8D7C-CE0FFD142787}">
      <dgm:prSet/>
      <dgm:spPr/>
      <dgm:t>
        <a:bodyPr/>
        <a:lstStyle/>
        <a:p>
          <a:endParaRPr lang="en-US"/>
        </a:p>
      </dgm:t>
    </dgm:pt>
    <dgm:pt modelId="{91DD6780-008C-4AF1-93B4-9FF9B71683B2}" type="sibTrans" cxnId="{78CF5E83-C458-413A-8D7C-CE0FFD142787}">
      <dgm:prSet/>
      <dgm:spPr/>
      <dgm:t>
        <a:bodyPr/>
        <a:lstStyle/>
        <a:p>
          <a:endParaRPr lang="en-US"/>
        </a:p>
      </dgm:t>
    </dgm:pt>
    <dgm:pt modelId="{7F1EBB37-9DFE-48EF-998E-E4B2A5DF333A}">
      <dgm:prSet/>
      <dgm:spPr>
        <a:xfrm rot="10800000">
          <a:off x="1340583" y="3475315"/>
          <a:ext cx="4437249" cy="891721"/>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a:solidFill>
                <a:srgbClr val="0078D3"/>
              </a:solidFill>
              <a:latin typeface="Segoe UI"/>
              <a:ea typeface="+mn-ea"/>
              <a:cs typeface="+mn-cs"/>
            </a:rPr>
            <a:t>Long term backup retention </a:t>
          </a:r>
        </a:p>
      </dgm:t>
    </dgm:pt>
    <dgm:pt modelId="{EB878A48-758D-4ADE-BC20-DE94D1BAB746}" type="parTrans" cxnId="{1A5D6431-2B19-4AA1-9B6C-94E34A26924C}">
      <dgm:prSet/>
      <dgm:spPr/>
      <dgm:t>
        <a:bodyPr/>
        <a:lstStyle/>
        <a:p>
          <a:endParaRPr lang="en-US"/>
        </a:p>
      </dgm:t>
    </dgm:pt>
    <dgm:pt modelId="{E2B0A2C3-AD28-4C23-8C94-389599847AEA}" type="sibTrans" cxnId="{1A5D6431-2B19-4AA1-9B6C-94E34A26924C}">
      <dgm:prSet/>
      <dgm:spPr/>
      <dgm:t>
        <a:bodyPr/>
        <a:lstStyle/>
        <a:p>
          <a:endParaRPr lang="en-US"/>
        </a:p>
      </dgm:t>
    </dgm:pt>
    <dgm:pt modelId="{51F1F6D6-CB94-4E01-953F-5B64F2E1DB83}">
      <dgm:prSet/>
      <dgm:spPr>
        <a:xfrm rot="10800000">
          <a:off x="1340583" y="4633222"/>
          <a:ext cx="4437249" cy="891721"/>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a:solidFill>
                <a:srgbClr val="0078D3"/>
              </a:solidFill>
              <a:latin typeface="Segoe UI"/>
              <a:ea typeface="+mn-ea"/>
              <a:cs typeface="+mn-cs"/>
            </a:rPr>
            <a:t>Geo-replication</a:t>
          </a:r>
        </a:p>
      </dgm:t>
    </dgm:pt>
    <dgm:pt modelId="{B24B700A-4CD2-46FE-81ED-22495AA65FCE}" type="parTrans" cxnId="{B307D090-46AE-44BA-B615-FB1D8EB170E9}">
      <dgm:prSet/>
      <dgm:spPr/>
      <dgm:t>
        <a:bodyPr/>
        <a:lstStyle/>
        <a:p>
          <a:endParaRPr lang="en-US"/>
        </a:p>
      </dgm:t>
    </dgm:pt>
    <dgm:pt modelId="{0DC34728-0DFF-40AE-8038-C5E1BEF284D5}" type="sibTrans" cxnId="{B307D090-46AE-44BA-B615-FB1D8EB170E9}">
      <dgm:prSet/>
      <dgm:spPr/>
      <dgm:t>
        <a:bodyPr/>
        <a:lstStyle/>
        <a:p>
          <a:endParaRPr lang="en-US"/>
        </a:p>
      </dgm:t>
    </dgm:pt>
    <dgm:pt modelId="{B79FAAB3-CD59-45C9-9C12-04EA7741BDDE}" type="pres">
      <dgm:prSet presAssocID="{1B3BE46B-A19B-4F11-BB45-D1B8A9B86EB8}" presName="linearFlow" presStyleCnt="0">
        <dgm:presLayoutVars>
          <dgm:dir/>
          <dgm:resizeHandles val="exact"/>
        </dgm:presLayoutVars>
      </dgm:prSet>
      <dgm:spPr/>
    </dgm:pt>
    <dgm:pt modelId="{F4DA9F5D-39CB-4010-A95A-53569376CB69}" type="pres">
      <dgm:prSet presAssocID="{DA131F33-DFFA-46C4-AAA6-38F01DC60666}" presName="composite" presStyleCnt="0"/>
      <dgm:spPr/>
    </dgm:pt>
    <dgm:pt modelId="{8EEAA515-DE0C-417B-8AE4-56602B493D00}" type="pres">
      <dgm:prSet presAssocID="{DA131F33-DFFA-46C4-AAA6-38F01DC60666}" presName="imgShp" presStyleLbl="fgImgPlace1" presStyleIdx="0" presStyleCnt="5"/>
      <dgm:spPr>
        <a:xfrm>
          <a:off x="894722" y="1595"/>
          <a:ext cx="891721" cy="891721"/>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26558B34-56F0-4AE9-938F-6A875C9760BC}" type="pres">
      <dgm:prSet presAssocID="{DA131F33-DFFA-46C4-AAA6-38F01DC60666}" presName="txShp" presStyleLbl="node1" presStyleIdx="0" presStyleCnt="5">
        <dgm:presLayoutVars>
          <dgm:bulletEnabled val="1"/>
        </dgm:presLayoutVars>
      </dgm:prSet>
      <dgm:spPr/>
    </dgm:pt>
    <dgm:pt modelId="{0EE49838-8499-4B89-85FC-ABD868EF03D3}" type="pres">
      <dgm:prSet presAssocID="{AF523B2B-9169-485E-83E5-266383E49094}" presName="spacing" presStyleCnt="0"/>
      <dgm:spPr/>
    </dgm:pt>
    <dgm:pt modelId="{252F31F6-123E-42E5-B85B-2FCBB9C1850E}" type="pres">
      <dgm:prSet presAssocID="{0F6C0AAC-39CF-4853-8DF0-6DE67B502F80}" presName="composite" presStyleCnt="0"/>
      <dgm:spPr/>
    </dgm:pt>
    <dgm:pt modelId="{4A12C7A2-7C5B-44F1-88C3-4EEA634CA834}" type="pres">
      <dgm:prSet presAssocID="{0F6C0AAC-39CF-4853-8DF0-6DE67B502F80}" presName="imgShp" presStyleLbl="fgImgPlace1" presStyleIdx="1" presStyleCnt="5"/>
      <dgm:spPr>
        <a:xfrm>
          <a:off x="894722" y="1159502"/>
          <a:ext cx="891721" cy="891721"/>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E738CB01-13DB-4673-BB33-5142B8BB692D}" type="pres">
      <dgm:prSet presAssocID="{0F6C0AAC-39CF-4853-8DF0-6DE67B502F80}" presName="txShp" presStyleLbl="node1" presStyleIdx="1" presStyleCnt="5">
        <dgm:presLayoutVars>
          <dgm:bulletEnabled val="1"/>
        </dgm:presLayoutVars>
      </dgm:prSet>
      <dgm:spPr/>
    </dgm:pt>
    <dgm:pt modelId="{9E1CCC90-38E2-44B1-99A6-CDD3092FB7E0}" type="pres">
      <dgm:prSet presAssocID="{3C95F86A-5E1E-42A4-AF28-10A7D5E94315}" presName="spacing" presStyleCnt="0"/>
      <dgm:spPr/>
    </dgm:pt>
    <dgm:pt modelId="{03ED0BE3-68E0-4015-8473-EE34E21FD8E1}" type="pres">
      <dgm:prSet presAssocID="{2B9121C1-005B-4CF3-BFC6-F47A3D64FE58}" presName="composite" presStyleCnt="0"/>
      <dgm:spPr/>
    </dgm:pt>
    <dgm:pt modelId="{9CEB58F9-6F20-40EF-869C-20B55C6975EE}" type="pres">
      <dgm:prSet presAssocID="{2B9121C1-005B-4CF3-BFC6-F47A3D64FE58}" presName="imgShp" presStyleLbl="fgImgPlace1" presStyleIdx="2" presStyleCnt="5"/>
      <dgm:spPr>
        <a:xfrm>
          <a:off x="894722" y="2317408"/>
          <a:ext cx="891721" cy="891721"/>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B61A8F8F-F8EE-400D-B6FB-2BF6EA3BC225}" type="pres">
      <dgm:prSet presAssocID="{2B9121C1-005B-4CF3-BFC6-F47A3D64FE58}" presName="txShp" presStyleLbl="node1" presStyleIdx="2" presStyleCnt="5">
        <dgm:presLayoutVars>
          <dgm:bulletEnabled val="1"/>
        </dgm:presLayoutVars>
      </dgm:prSet>
      <dgm:spPr/>
    </dgm:pt>
    <dgm:pt modelId="{389A0007-A9DA-4DA1-AA34-6FBEA7502297}" type="pres">
      <dgm:prSet presAssocID="{91DD6780-008C-4AF1-93B4-9FF9B71683B2}" presName="spacing" presStyleCnt="0"/>
      <dgm:spPr/>
    </dgm:pt>
    <dgm:pt modelId="{EF0C4058-A64E-4776-A75E-7DEBFD2804B8}" type="pres">
      <dgm:prSet presAssocID="{7F1EBB37-9DFE-48EF-998E-E4B2A5DF333A}" presName="composite" presStyleCnt="0"/>
      <dgm:spPr/>
    </dgm:pt>
    <dgm:pt modelId="{790088CC-BB50-4647-A65A-E2F6D2F42614}" type="pres">
      <dgm:prSet presAssocID="{7F1EBB37-9DFE-48EF-998E-E4B2A5DF333A}" presName="imgShp" presStyleLbl="fgImgPlace1" presStyleIdx="3" presStyleCnt="5"/>
      <dgm:spPr>
        <a:xfrm>
          <a:off x="894722" y="3475315"/>
          <a:ext cx="891721" cy="891721"/>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ED289B2B-CBE0-4D1C-8055-BD37702479D1}" type="pres">
      <dgm:prSet presAssocID="{7F1EBB37-9DFE-48EF-998E-E4B2A5DF333A}" presName="txShp" presStyleLbl="node1" presStyleIdx="3" presStyleCnt="5">
        <dgm:presLayoutVars>
          <dgm:bulletEnabled val="1"/>
        </dgm:presLayoutVars>
      </dgm:prSet>
      <dgm:spPr/>
    </dgm:pt>
    <dgm:pt modelId="{5281D6DC-3A2C-413E-8D66-A78FD857E9B4}" type="pres">
      <dgm:prSet presAssocID="{E2B0A2C3-AD28-4C23-8C94-389599847AEA}" presName="spacing" presStyleCnt="0"/>
      <dgm:spPr/>
    </dgm:pt>
    <dgm:pt modelId="{C977515A-F8E7-458E-93F4-BD82861D32E1}" type="pres">
      <dgm:prSet presAssocID="{51F1F6D6-CB94-4E01-953F-5B64F2E1DB83}" presName="composite" presStyleCnt="0"/>
      <dgm:spPr/>
    </dgm:pt>
    <dgm:pt modelId="{1BC10206-5201-4D05-8BB8-F32DCCB8A736}" type="pres">
      <dgm:prSet presAssocID="{51F1F6D6-CB94-4E01-953F-5B64F2E1DB83}" presName="imgShp" presStyleLbl="fgImgPlace1" presStyleIdx="4" presStyleCnt="5"/>
      <dgm:spPr>
        <a:xfrm>
          <a:off x="894722" y="4633222"/>
          <a:ext cx="891721" cy="891721"/>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8F8F3DF7-1027-47EB-A83F-EA03403DB111}" type="pres">
      <dgm:prSet presAssocID="{51F1F6D6-CB94-4E01-953F-5B64F2E1DB83}" presName="txShp" presStyleLbl="node1" presStyleIdx="4" presStyleCnt="5">
        <dgm:presLayoutVars>
          <dgm:bulletEnabled val="1"/>
        </dgm:presLayoutVars>
      </dgm:prSet>
      <dgm:spPr/>
    </dgm:pt>
  </dgm:ptLst>
  <dgm:cxnLst>
    <dgm:cxn modelId="{26AF4C07-21E4-49B9-9014-0E17BC0177B4}" srcId="{1B3BE46B-A19B-4F11-BB45-D1B8A9B86EB8}" destId="{0F6C0AAC-39CF-4853-8DF0-6DE67B502F80}" srcOrd="1" destOrd="0" parTransId="{5865BF12-A60F-45EE-840A-5D5E65FB52C1}" sibTransId="{3C95F86A-5E1E-42A4-AF28-10A7D5E94315}"/>
    <dgm:cxn modelId="{82D1BA07-F9BC-4660-ACF0-C30C383DF162}" srcId="{1B3BE46B-A19B-4F11-BB45-D1B8A9B86EB8}" destId="{DA131F33-DFFA-46C4-AAA6-38F01DC60666}" srcOrd="0" destOrd="0" parTransId="{175E0962-2A1E-4153-A873-DBFFEE8B3C61}" sibTransId="{AF523B2B-9169-485E-83E5-266383E49094}"/>
    <dgm:cxn modelId="{1A5D6431-2B19-4AA1-9B6C-94E34A26924C}" srcId="{1B3BE46B-A19B-4F11-BB45-D1B8A9B86EB8}" destId="{7F1EBB37-9DFE-48EF-998E-E4B2A5DF333A}" srcOrd="3" destOrd="0" parTransId="{EB878A48-758D-4ADE-BC20-DE94D1BAB746}" sibTransId="{E2B0A2C3-AD28-4C23-8C94-389599847AEA}"/>
    <dgm:cxn modelId="{12EC2B35-862F-4330-8386-1AD52CDBD810}" type="presOf" srcId="{1B3BE46B-A19B-4F11-BB45-D1B8A9B86EB8}" destId="{B79FAAB3-CD59-45C9-9C12-04EA7741BDDE}" srcOrd="0" destOrd="0" presId="urn:microsoft.com/office/officeart/2005/8/layout/vList3"/>
    <dgm:cxn modelId="{68941140-FA44-4F68-A857-E1A4954EF6E1}" type="presOf" srcId="{7F1EBB37-9DFE-48EF-998E-E4B2A5DF333A}" destId="{ED289B2B-CBE0-4D1C-8055-BD37702479D1}" srcOrd="0" destOrd="0" presId="urn:microsoft.com/office/officeart/2005/8/layout/vList3"/>
    <dgm:cxn modelId="{5D02D768-3C62-4B32-938A-6E5062A35E94}" type="presOf" srcId="{2B9121C1-005B-4CF3-BFC6-F47A3D64FE58}" destId="{B61A8F8F-F8EE-400D-B6FB-2BF6EA3BC225}" srcOrd="0" destOrd="0" presId="urn:microsoft.com/office/officeart/2005/8/layout/vList3"/>
    <dgm:cxn modelId="{93D51382-016E-4532-82EA-495FE9F136EA}" type="presOf" srcId="{DA131F33-DFFA-46C4-AAA6-38F01DC60666}" destId="{26558B34-56F0-4AE9-938F-6A875C9760BC}" srcOrd="0" destOrd="0" presId="urn:microsoft.com/office/officeart/2005/8/layout/vList3"/>
    <dgm:cxn modelId="{78CF5E83-C458-413A-8D7C-CE0FFD142787}" srcId="{1B3BE46B-A19B-4F11-BB45-D1B8A9B86EB8}" destId="{2B9121C1-005B-4CF3-BFC6-F47A3D64FE58}" srcOrd="2" destOrd="0" parTransId="{F678BCDF-83E9-4D31-BA89-174B36FBF760}" sibTransId="{91DD6780-008C-4AF1-93B4-9FF9B71683B2}"/>
    <dgm:cxn modelId="{3E0BDC8F-7EC3-470E-8D3F-5C90BF5CDFC5}" type="presOf" srcId="{0F6C0AAC-39CF-4853-8DF0-6DE67B502F80}" destId="{E738CB01-13DB-4673-BB33-5142B8BB692D}" srcOrd="0" destOrd="0" presId="urn:microsoft.com/office/officeart/2005/8/layout/vList3"/>
    <dgm:cxn modelId="{B307D090-46AE-44BA-B615-FB1D8EB170E9}" srcId="{1B3BE46B-A19B-4F11-BB45-D1B8A9B86EB8}" destId="{51F1F6D6-CB94-4E01-953F-5B64F2E1DB83}" srcOrd="4" destOrd="0" parTransId="{B24B700A-4CD2-46FE-81ED-22495AA65FCE}" sibTransId="{0DC34728-0DFF-40AE-8038-C5E1BEF284D5}"/>
    <dgm:cxn modelId="{CDD8F397-BF77-456C-8962-0BB9E8EC95FB}" type="presOf" srcId="{51F1F6D6-CB94-4E01-953F-5B64F2E1DB83}" destId="{8F8F3DF7-1027-47EB-A83F-EA03403DB111}" srcOrd="0" destOrd="0" presId="urn:microsoft.com/office/officeart/2005/8/layout/vList3"/>
    <dgm:cxn modelId="{4BFAD74F-EAFE-4C69-A6E0-409AC1683274}" type="presParOf" srcId="{B79FAAB3-CD59-45C9-9C12-04EA7741BDDE}" destId="{F4DA9F5D-39CB-4010-A95A-53569376CB69}" srcOrd="0" destOrd="0" presId="urn:microsoft.com/office/officeart/2005/8/layout/vList3"/>
    <dgm:cxn modelId="{4894F24E-8B5D-4F01-B082-35F0976334B8}" type="presParOf" srcId="{F4DA9F5D-39CB-4010-A95A-53569376CB69}" destId="{8EEAA515-DE0C-417B-8AE4-56602B493D00}" srcOrd="0" destOrd="0" presId="urn:microsoft.com/office/officeart/2005/8/layout/vList3"/>
    <dgm:cxn modelId="{6857B80F-73C3-456A-A8FB-ECB5BDB1B2E7}" type="presParOf" srcId="{F4DA9F5D-39CB-4010-A95A-53569376CB69}" destId="{26558B34-56F0-4AE9-938F-6A875C9760BC}" srcOrd="1" destOrd="0" presId="urn:microsoft.com/office/officeart/2005/8/layout/vList3"/>
    <dgm:cxn modelId="{CEB1C6D0-B0F7-46D5-9C6F-6CF2E6DCFB3E}" type="presParOf" srcId="{B79FAAB3-CD59-45C9-9C12-04EA7741BDDE}" destId="{0EE49838-8499-4B89-85FC-ABD868EF03D3}" srcOrd="1" destOrd="0" presId="urn:microsoft.com/office/officeart/2005/8/layout/vList3"/>
    <dgm:cxn modelId="{D7B6BE94-BE0A-4005-97C8-914062CD21A1}" type="presParOf" srcId="{B79FAAB3-CD59-45C9-9C12-04EA7741BDDE}" destId="{252F31F6-123E-42E5-B85B-2FCBB9C1850E}" srcOrd="2" destOrd="0" presId="urn:microsoft.com/office/officeart/2005/8/layout/vList3"/>
    <dgm:cxn modelId="{71CECE24-AADA-4092-8AB6-8D126DFE6CA4}" type="presParOf" srcId="{252F31F6-123E-42E5-B85B-2FCBB9C1850E}" destId="{4A12C7A2-7C5B-44F1-88C3-4EEA634CA834}" srcOrd="0" destOrd="0" presId="urn:microsoft.com/office/officeart/2005/8/layout/vList3"/>
    <dgm:cxn modelId="{42012576-53FD-421E-B7C0-7FF874D0F63A}" type="presParOf" srcId="{252F31F6-123E-42E5-B85B-2FCBB9C1850E}" destId="{E738CB01-13DB-4673-BB33-5142B8BB692D}" srcOrd="1" destOrd="0" presId="urn:microsoft.com/office/officeart/2005/8/layout/vList3"/>
    <dgm:cxn modelId="{BA7A7276-6C67-49F9-B7D1-4FB3C7A7FCB7}" type="presParOf" srcId="{B79FAAB3-CD59-45C9-9C12-04EA7741BDDE}" destId="{9E1CCC90-38E2-44B1-99A6-CDD3092FB7E0}" srcOrd="3" destOrd="0" presId="urn:microsoft.com/office/officeart/2005/8/layout/vList3"/>
    <dgm:cxn modelId="{3C4257A5-A806-40DC-BD4B-BBBEBD21D4C6}" type="presParOf" srcId="{B79FAAB3-CD59-45C9-9C12-04EA7741BDDE}" destId="{03ED0BE3-68E0-4015-8473-EE34E21FD8E1}" srcOrd="4" destOrd="0" presId="urn:microsoft.com/office/officeart/2005/8/layout/vList3"/>
    <dgm:cxn modelId="{7B2C5CC7-C6A8-429B-A093-F5862C49C04E}" type="presParOf" srcId="{03ED0BE3-68E0-4015-8473-EE34E21FD8E1}" destId="{9CEB58F9-6F20-40EF-869C-20B55C6975EE}" srcOrd="0" destOrd="0" presId="urn:microsoft.com/office/officeart/2005/8/layout/vList3"/>
    <dgm:cxn modelId="{399BC71F-2B38-4079-BAD8-2F178CE16B9A}" type="presParOf" srcId="{03ED0BE3-68E0-4015-8473-EE34E21FD8E1}" destId="{B61A8F8F-F8EE-400D-B6FB-2BF6EA3BC225}" srcOrd="1" destOrd="0" presId="urn:microsoft.com/office/officeart/2005/8/layout/vList3"/>
    <dgm:cxn modelId="{FC3A2B7A-B363-4A9D-870B-192EC43356BA}" type="presParOf" srcId="{B79FAAB3-CD59-45C9-9C12-04EA7741BDDE}" destId="{389A0007-A9DA-4DA1-AA34-6FBEA7502297}" srcOrd="5" destOrd="0" presId="urn:microsoft.com/office/officeart/2005/8/layout/vList3"/>
    <dgm:cxn modelId="{165A986B-0BFD-4294-8844-A65C261AE19E}" type="presParOf" srcId="{B79FAAB3-CD59-45C9-9C12-04EA7741BDDE}" destId="{EF0C4058-A64E-4776-A75E-7DEBFD2804B8}" srcOrd="6" destOrd="0" presId="urn:microsoft.com/office/officeart/2005/8/layout/vList3"/>
    <dgm:cxn modelId="{89FC71CF-7010-4B42-B2A1-A42922B1A8AD}" type="presParOf" srcId="{EF0C4058-A64E-4776-A75E-7DEBFD2804B8}" destId="{790088CC-BB50-4647-A65A-E2F6D2F42614}" srcOrd="0" destOrd="0" presId="urn:microsoft.com/office/officeart/2005/8/layout/vList3"/>
    <dgm:cxn modelId="{9BD6AD30-112E-4B5A-8584-A7CA7D53B6A9}" type="presParOf" srcId="{EF0C4058-A64E-4776-A75E-7DEBFD2804B8}" destId="{ED289B2B-CBE0-4D1C-8055-BD37702479D1}" srcOrd="1" destOrd="0" presId="urn:microsoft.com/office/officeart/2005/8/layout/vList3"/>
    <dgm:cxn modelId="{2C8EC532-71C5-4476-A393-2B411C869BC0}" type="presParOf" srcId="{B79FAAB3-CD59-45C9-9C12-04EA7741BDDE}" destId="{5281D6DC-3A2C-413E-8D66-A78FD857E9B4}" srcOrd="7" destOrd="0" presId="urn:microsoft.com/office/officeart/2005/8/layout/vList3"/>
    <dgm:cxn modelId="{864AEA99-0B0E-4288-9CCE-AF59ABEABDC9}" type="presParOf" srcId="{B79FAAB3-CD59-45C9-9C12-04EA7741BDDE}" destId="{C977515A-F8E7-458E-93F4-BD82861D32E1}" srcOrd="8" destOrd="0" presId="urn:microsoft.com/office/officeart/2005/8/layout/vList3"/>
    <dgm:cxn modelId="{6C34E83A-EAD7-4A4C-B126-AE0D012D2683}" type="presParOf" srcId="{C977515A-F8E7-458E-93F4-BD82861D32E1}" destId="{1BC10206-5201-4D05-8BB8-F32DCCB8A736}" srcOrd="0" destOrd="0" presId="urn:microsoft.com/office/officeart/2005/8/layout/vList3"/>
    <dgm:cxn modelId="{4626CC7B-78E2-4501-A7F7-3DBC8E59DCE6}" type="presParOf" srcId="{C977515A-F8E7-458E-93F4-BD82861D32E1}" destId="{8F8F3DF7-1027-47EB-A83F-EA03403DB111}"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1B3BE46B-A19B-4F11-BB45-D1B8A9B86EB8}" type="doc">
      <dgm:prSet loTypeId="urn:microsoft.com/office/officeart/2005/8/layout/vList3" loCatId="picture" qsTypeId="urn:microsoft.com/office/officeart/2005/8/quickstyle/simple1" qsCatId="simple" csTypeId="urn:microsoft.com/office/officeart/2005/8/colors/accent1_2" csCatId="accent1" phldr="1"/>
      <dgm:spPr/>
    </dgm:pt>
    <dgm:pt modelId="{DA131F33-DFFA-46C4-AAA6-38F01DC60666}">
      <dgm:prSet phldrT="[Text]" custT="1"/>
      <dgm:spPr>
        <a:xfrm rot="10800000">
          <a:off x="1288532" y="1348"/>
          <a:ext cx="4230521" cy="891800"/>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Font typeface="Arial" panose="020B0604020202020204" pitchFamily="34" charset="0"/>
            <a:buNone/>
          </a:pPr>
          <a:r>
            <a:rPr lang="en-US" sz="2200">
              <a:solidFill>
                <a:srgbClr val="0078D3"/>
              </a:solidFill>
              <a:latin typeface="Segoe UI"/>
              <a:ea typeface="+mn-ea"/>
              <a:cs typeface="+mn-cs"/>
            </a:rPr>
            <a:t>Scale </a:t>
          </a:r>
        </a:p>
      </dgm:t>
    </dgm:pt>
    <dgm:pt modelId="{175E0962-2A1E-4153-A873-DBFFEE8B3C61}" type="parTrans" cxnId="{82D1BA07-F9BC-4660-ACF0-C30C383DF162}">
      <dgm:prSet/>
      <dgm:spPr/>
      <dgm:t>
        <a:bodyPr/>
        <a:lstStyle/>
        <a:p>
          <a:endParaRPr lang="en-US"/>
        </a:p>
      </dgm:t>
    </dgm:pt>
    <dgm:pt modelId="{AF523B2B-9169-485E-83E5-266383E49094}" type="sibTrans" cxnId="{82D1BA07-F9BC-4660-ACF0-C30C383DF162}">
      <dgm:prSet/>
      <dgm:spPr/>
      <dgm:t>
        <a:bodyPr/>
        <a:lstStyle/>
        <a:p>
          <a:endParaRPr lang="en-US"/>
        </a:p>
      </dgm:t>
    </dgm:pt>
    <dgm:pt modelId="{D3257210-B71E-41C9-9321-07B6A056AE6C}">
      <dgm:prSet custT="1"/>
      <dgm:spPr>
        <a:xfrm rot="10800000">
          <a:off x="1288532" y="1159358"/>
          <a:ext cx="4230521" cy="891800"/>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sz="2200">
              <a:solidFill>
                <a:srgbClr val="0078D3"/>
              </a:solidFill>
              <a:latin typeface="Segoe UI"/>
              <a:ea typeface="+mn-ea"/>
              <a:cs typeface="+mn-cs"/>
            </a:rPr>
            <a:t>Advanced security </a:t>
          </a:r>
        </a:p>
      </dgm:t>
    </dgm:pt>
    <dgm:pt modelId="{C2EF50E9-D02F-4C8B-8240-A2D00DA47E3C}" type="parTrans" cxnId="{B2D2C021-285D-4AD0-AB96-5BFAEB786B40}">
      <dgm:prSet/>
      <dgm:spPr/>
      <dgm:t>
        <a:bodyPr/>
        <a:lstStyle/>
        <a:p>
          <a:endParaRPr lang="en-US"/>
        </a:p>
      </dgm:t>
    </dgm:pt>
    <dgm:pt modelId="{14EA8E44-FFC2-4632-9102-DFDC23913E2A}" type="sibTrans" cxnId="{B2D2C021-285D-4AD0-AB96-5BFAEB786B40}">
      <dgm:prSet/>
      <dgm:spPr/>
      <dgm:t>
        <a:bodyPr/>
        <a:lstStyle/>
        <a:p>
          <a:endParaRPr lang="en-US"/>
        </a:p>
      </dgm:t>
    </dgm:pt>
    <dgm:pt modelId="{3B9370C5-77CF-41A2-8E44-072D14861493}">
      <dgm:prSet custT="1"/>
      <dgm:spPr>
        <a:xfrm rot="10800000">
          <a:off x="1288532" y="2317369"/>
          <a:ext cx="4230521" cy="891800"/>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sz="2200">
              <a:solidFill>
                <a:srgbClr val="0078D3"/>
              </a:solidFill>
              <a:latin typeface="Segoe UI"/>
              <a:ea typeface="+mn-ea"/>
              <a:cs typeface="+mn-cs"/>
            </a:rPr>
            <a:t>Automatic tuning </a:t>
          </a:r>
        </a:p>
      </dgm:t>
    </dgm:pt>
    <dgm:pt modelId="{22EC8849-B74E-4081-99BC-4BB36E196640}" type="parTrans" cxnId="{1DEFC424-9657-4C4E-AB21-BCDA7DF8C3A6}">
      <dgm:prSet/>
      <dgm:spPr/>
      <dgm:t>
        <a:bodyPr/>
        <a:lstStyle/>
        <a:p>
          <a:endParaRPr lang="en-US"/>
        </a:p>
      </dgm:t>
    </dgm:pt>
    <dgm:pt modelId="{B836A885-1BAA-4A21-A1AC-991B5740C1B2}" type="sibTrans" cxnId="{1DEFC424-9657-4C4E-AB21-BCDA7DF8C3A6}">
      <dgm:prSet/>
      <dgm:spPr/>
      <dgm:t>
        <a:bodyPr/>
        <a:lstStyle/>
        <a:p>
          <a:endParaRPr lang="en-US"/>
        </a:p>
      </dgm:t>
    </dgm:pt>
    <dgm:pt modelId="{46F07AC1-BECC-44B1-A6B3-88BF3467DDCC}">
      <dgm:prSet custT="1"/>
      <dgm:spPr>
        <a:xfrm rot="10800000">
          <a:off x="1288532" y="3475379"/>
          <a:ext cx="4230521" cy="891800"/>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sz="2200">
              <a:solidFill>
                <a:srgbClr val="0078D3"/>
              </a:solidFill>
              <a:latin typeface="Segoe UI"/>
              <a:ea typeface="+mn-ea"/>
              <a:cs typeface="+mn-cs"/>
            </a:rPr>
            <a:t>Built-in monitoring </a:t>
          </a:r>
        </a:p>
      </dgm:t>
    </dgm:pt>
    <dgm:pt modelId="{059AA75E-6E27-4BB6-B19B-6F52F606010A}" type="parTrans" cxnId="{1E0A5068-6E02-45A7-B3CC-04D8FE4D11B9}">
      <dgm:prSet/>
      <dgm:spPr/>
      <dgm:t>
        <a:bodyPr/>
        <a:lstStyle/>
        <a:p>
          <a:endParaRPr lang="en-US"/>
        </a:p>
      </dgm:t>
    </dgm:pt>
    <dgm:pt modelId="{A205A3F0-37A1-4912-BF90-B2013C965F52}" type="sibTrans" cxnId="{1E0A5068-6E02-45A7-B3CC-04D8FE4D11B9}">
      <dgm:prSet/>
      <dgm:spPr/>
      <dgm:t>
        <a:bodyPr/>
        <a:lstStyle/>
        <a:p>
          <a:endParaRPr lang="en-US"/>
        </a:p>
      </dgm:t>
    </dgm:pt>
    <dgm:pt modelId="{3334CAC8-EFC6-41B1-A649-3A9B192E9C39}">
      <dgm:prSet custT="1"/>
      <dgm:spPr>
        <a:xfrm rot="10800000">
          <a:off x="1288532" y="4633389"/>
          <a:ext cx="4230521" cy="891800"/>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sz="2200">
              <a:solidFill>
                <a:srgbClr val="0078D3"/>
              </a:solidFill>
              <a:latin typeface="Segoe UI"/>
              <a:ea typeface="+mn-ea"/>
              <a:cs typeface="+mn-cs"/>
            </a:rPr>
            <a:t>Built-in intelligence </a:t>
          </a:r>
        </a:p>
      </dgm:t>
    </dgm:pt>
    <dgm:pt modelId="{22E9670F-BE66-4BCF-B6F8-D1DE10E15DD3}" type="parTrans" cxnId="{A6413DFA-5D34-42A0-95D0-CB1FE8A5AC36}">
      <dgm:prSet/>
      <dgm:spPr/>
      <dgm:t>
        <a:bodyPr/>
        <a:lstStyle/>
        <a:p>
          <a:endParaRPr lang="en-US"/>
        </a:p>
      </dgm:t>
    </dgm:pt>
    <dgm:pt modelId="{892648E1-AB13-45AB-8022-E964325AA79E}" type="sibTrans" cxnId="{A6413DFA-5D34-42A0-95D0-CB1FE8A5AC36}">
      <dgm:prSet/>
      <dgm:spPr/>
      <dgm:t>
        <a:bodyPr/>
        <a:lstStyle/>
        <a:p>
          <a:endParaRPr lang="en-US"/>
        </a:p>
      </dgm:t>
    </dgm:pt>
    <dgm:pt modelId="{B79FAAB3-CD59-45C9-9C12-04EA7741BDDE}" type="pres">
      <dgm:prSet presAssocID="{1B3BE46B-A19B-4F11-BB45-D1B8A9B86EB8}" presName="linearFlow" presStyleCnt="0">
        <dgm:presLayoutVars>
          <dgm:dir/>
          <dgm:resizeHandles val="exact"/>
        </dgm:presLayoutVars>
      </dgm:prSet>
      <dgm:spPr/>
    </dgm:pt>
    <dgm:pt modelId="{F4DA9F5D-39CB-4010-A95A-53569376CB69}" type="pres">
      <dgm:prSet presAssocID="{DA131F33-DFFA-46C4-AAA6-38F01DC60666}" presName="composite" presStyleCnt="0"/>
      <dgm:spPr/>
    </dgm:pt>
    <dgm:pt modelId="{8EEAA515-DE0C-417B-8AE4-56602B493D00}" type="pres">
      <dgm:prSet presAssocID="{DA131F33-DFFA-46C4-AAA6-38F01DC60666}" presName="imgShp" presStyleLbl="fgImgPlace1" presStyleIdx="0" presStyleCnt="5"/>
      <dgm:spPr>
        <a:xfrm>
          <a:off x="842632" y="1348"/>
          <a:ext cx="891800" cy="891800"/>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26558B34-56F0-4AE9-938F-6A875C9760BC}" type="pres">
      <dgm:prSet presAssocID="{DA131F33-DFFA-46C4-AAA6-38F01DC60666}" presName="txShp" presStyleLbl="node1" presStyleIdx="0" presStyleCnt="5">
        <dgm:presLayoutVars>
          <dgm:bulletEnabled val="1"/>
        </dgm:presLayoutVars>
      </dgm:prSet>
      <dgm:spPr/>
    </dgm:pt>
    <dgm:pt modelId="{0EE49838-8499-4B89-85FC-ABD868EF03D3}" type="pres">
      <dgm:prSet presAssocID="{AF523B2B-9169-485E-83E5-266383E49094}" presName="spacing" presStyleCnt="0"/>
      <dgm:spPr/>
    </dgm:pt>
    <dgm:pt modelId="{F310B284-C09D-46B0-A0ED-F6A0DF33C55E}" type="pres">
      <dgm:prSet presAssocID="{D3257210-B71E-41C9-9321-07B6A056AE6C}" presName="composite" presStyleCnt="0"/>
      <dgm:spPr/>
    </dgm:pt>
    <dgm:pt modelId="{57467DF1-65E3-4D4B-9DC9-5B6E7524E660}" type="pres">
      <dgm:prSet presAssocID="{D3257210-B71E-41C9-9321-07B6A056AE6C}" presName="imgShp" presStyleLbl="fgImgPlace1" presStyleIdx="1" presStyleCnt="5"/>
      <dgm:spPr>
        <a:xfrm>
          <a:off x="842632" y="1159358"/>
          <a:ext cx="891800" cy="891800"/>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FB6994A9-E245-4ABF-9030-99F23660AF0D}" type="pres">
      <dgm:prSet presAssocID="{D3257210-B71E-41C9-9321-07B6A056AE6C}" presName="txShp" presStyleLbl="node1" presStyleIdx="1" presStyleCnt="5">
        <dgm:presLayoutVars>
          <dgm:bulletEnabled val="1"/>
        </dgm:presLayoutVars>
      </dgm:prSet>
      <dgm:spPr/>
    </dgm:pt>
    <dgm:pt modelId="{383AA9AA-E6DF-4D5C-9E99-9F2270D2C159}" type="pres">
      <dgm:prSet presAssocID="{14EA8E44-FFC2-4632-9102-DFDC23913E2A}" presName="spacing" presStyleCnt="0"/>
      <dgm:spPr/>
    </dgm:pt>
    <dgm:pt modelId="{839560C7-9114-466D-9AFA-5F66AC33B712}" type="pres">
      <dgm:prSet presAssocID="{3B9370C5-77CF-41A2-8E44-072D14861493}" presName="composite" presStyleCnt="0"/>
      <dgm:spPr/>
    </dgm:pt>
    <dgm:pt modelId="{601BFC33-FE3A-4BDE-88FE-493B6E1B6FB3}" type="pres">
      <dgm:prSet presAssocID="{3B9370C5-77CF-41A2-8E44-072D14861493}" presName="imgShp" presStyleLbl="fgImgPlace1" presStyleIdx="2" presStyleCnt="5"/>
      <dgm:spPr>
        <a:xfrm>
          <a:off x="842632" y="2317369"/>
          <a:ext cx="891800" cy="891800"/>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A3AC942A-802A-45B5-884A-20C804D0F3E0}" type="pres">
      <dgm:prSet presAssocID="{3B9370C5-77CF-41A2-8E44-072D14861493}" presName="txShp" presStyleLbl="node1" presStyleIdx="2" presStyleCnt="5">
        <dgm:presLayoutVars>
          <dgm:bulletEnabled val="1"/>
        </dgm:presLayoutVars>
      </dgm:prSet>
      <dgm:spPr/>
    </dgm:pt>
    <dgm:pt modelId="{A5D998E6-5119-49B2-8308-711DB539B232}" type="pres">
      <dgm:prSet presAssocID="{B836A885-1BAA-4A21-A1AC-991B5740C1B2}" presName="spacing" presStyleCnt="0"/>
      <dgm:spPr/>
    </dgm:pt>
    <dgm:pt modelId="{B939AFB1-E72A-4AE2-A6C6-0330A1284A60}" type="pres">
      <dgm:prSet presAssocID="{46F07AC1-BECC-44B1-A6B3-88BF3467DDCC}" presName="composite" presStyleCnt="0"/>
      <dgm:spPr/>
    </dgm:pt>
    <dgm:pt modelId="{6039329E-4295-499A-B0FF-8DFA17283B09}" type="pres">
      <dgm:prSet presAssocID="{46F07AC1-BECC-44B1-A6B3-88BF3467DDCC}" presName="imgShp" presStyleLbl="fgImgPlace1" presStyleIdx="3" presStyleCnt="5"/>
      <dgm:spPr>
        <a:xfrm>
          <a:off x="842632" y="3475379"/>
          <a:ext cx="891800" cy="891800"/>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B401C2C9-567B-48BC-B477-898F0A169C0B}" type="pres">
      <dgm:prSet presAssocID="{46F07AC1-BECC-44B1-A6B3-88BF3467DDCC}" presName="txShp" presStyleLbl="node1" presStyleIdx="3" presStyleCnt="5">
        <dgm:presLayoutVars>
          <dgm:bulletEnabled val="1"/>
        </dgm:presLayoutVars>
      </dgm:prSet>
      <dgm:spPr/>
    </dgm:pt>
    <dgm:pt modelId="{9665675D-0A69-4B7B-A4DF-10CBF8512707}" type="pres">
      <dgm:prSet presAssocID="{A205A3F0-37A1-4912-BF90-B2013C965F52}" presName="spacing" presStyleCnt="0"/>
      <dgm:spPr/>
    </dgm:pt>
    <dgm:pt modelId="{12EC4F81-F54C-49D6-B068-827B7A4F8EE2}" type="pres">
      <dgm:prSet presAssocID="{3334CAC8-EFC6-41B1-A649-3A9B192E9C39}" presName="composite" presStyleCnt="0"/>
      <dgm:spPr/>
    </dgm:pt>
    <dgm:pt modelId="{E76C1DF1-CC82-4F91-972B-D91FC56976CE}" type="pres">
      <dgm:prSet presAssocID="{3334CAC8-EFC6-41B1-A649-3A9B192E9C39}" presName="imgShp" presStyleLbl="fgImgPlace1" presStyleIdx="4" presStyleCnt="5"/>
      <dgm:spPr>
        <a:xfrm>
          <a:off x="842632" y="4633389"/>
          <a:ext cx="891800" cy="891800"/>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FD7CE52F-A999-4391-8104-68A25F268DDA}" type="pres">
      <dgm:prSet presAssocID="{3334CAC8-EFC6-41B1-A649-3A9B192E9C39}" presName="txShp" presStyleLbl="node1" presStyleIdx="4" presStyleCnt="5">
        <dgm:presLayoutVars>
          <dgm:bulletEnabled val="1"/>
        </dgm:presLayoutVars>
      </dgm:prSet>
      <dgm:spPr/>
    </dgm:pt>
  </dgm:ptLst>
  <dgm:cxnLst>
    <dgm:cxn modelId="{82D1BA07-F9BC-4660-ACF0-C30C383DF162}" srcId="{1B3BE46B-A19B-4F11-BB45-D1B8A9B86EB8}" destId="{DA131F33-DFFA-46C4-AAA6-38F01DC60666}" srcOrd="0" destOrd="0" parTransId="{175E0962-2A1E-4153-A873-DBFFEE8B3C61}" sibTransId="{AF523B2B-9169-485E-83E5-266383E49094}"/>
    <dgm:cxn modelId="{B2D2C021-285D-4AD0-AB96-5BFAEB786B40}" srcId="{1B3BE46B-A19B-4F11-BB45-D1B8A9B86EB8}" destId="{D3257210-B71E-41C9-9321-07B6A056AE6C}" srcOrd="1" destOrd="0" parTransId="{C2EF50E9-D02F-4C8B-8240-A2D00DA47E3C}" sibTransId="{14EA8E44-FFC2-4632-9102-DFDC23913E2A}"/>
    <dgm:cxn modelId="{1DEFC424-9657-4C4E-AB21-BCDA7DF8C3A6}" srcId="{1B3BE46B-A19B-4F11-BB45-D1B8A9B86EB8}" destId="{3B9370C5-77CF-41A2-8E44-072D14861493}" srcOrd="2" destOrd="0" parTransId="{22EC8849-B74E-4081-99BC-4BB36E196640}" sibTransId="{B836A885-1BAA-4A21-A1AC-991B5740C1B2}"/>
    <dgm:cxn modelId="{12EC2B35-862F-4330-8386-1AD52CDBD810}" type="presOf" srcId="{1B3BE46B-A19B-4F11-BB45-D1B8A9B86EB8}" destId="{B79FAAB3-CD59-45C9-9C12-04EA7741BDDE}" srcOrd="0" destOrd="0" presId="urn:microsoft.com/office/officeart/2005/8/layout/vList3"/>
    <dgm:cxn modelId="{1E0A5068-6E02-45A7-B3CC-04D8FE4D11B9}" srcId="{1B3BE46B-A19B-4F11-BB45-D1B8A9B86EB8}" destId="{46F07AC1-BECC-44B1-A6B3-88BF3467DDCC}" srcOrd="3" destOrd="0" parTransId="{059AA75E-6E27-4BB6-B19B-6F52F606010A}" sibTransId="{A205A3F0-37A1-4912-BF90-B2013C965F52}"/>
    <dgm:cxn modelId="{56294D4F-4988-477A-B1DF-956703877402}" type="presOf" srcId="{3334CAC8-EFC6-41B1-A649-3A9B192E9C39}" destId="{FD7CE52F-A999-4391-8104-68A25F268DDA}" srcOrd="0" destOrd="0" presId="urn:microsoft.com/office/officeart/2005/8/layout/vList3"/>
    <dgm:cxn modelId="{1BD35070-8389-4591-A6A6-A1B02E59C78D}" type="presOf" srcId="{D3257210-B71E-41C9-9321-07B6A056AE6C}" destId="{FB6994A9-E245-4ABF-9030-99F23660AF0D}" srcOrd="0" destOrd="0" presId="urn:microsoft.com/office/officeart/2005/8/layout/vList3"/>
    <dgm:cxn modelId="{BEC20257-2CA7-42DA-9EDD-547D3782BDE7}" type="presOf" srcId="{3B9370C5-77CF-41A2-8E44-072D14861493}" destId="{A3AC942A-802A-45B5-884A-20C804D0F3E0}" srcOrd="0" destOrd="0" presId="urn:microsoft.com/office/officeart/2005/8/layout/vList3"/>
    <dgm:cxn modelId="{93D51382-016E-4532-82EA-495FE9F136EA}" type="presOf" srcId="{DA131F33-DFFA-46C4-AAA6-38F01DC60666}" destId="{26558B34-56F0-4AE9-938F-6A875C9760BC}" srcOrd="0" destOrd="0" presId="urn:microsoft.com/office/officeart/2005/8/layout/vList3"/>
    <dgm:cxn modelId="{DCB9C0AC-EFAD-4B1C-AC7C-2621CFA36360}" type="presOf" srcId="{46F07AC1-BECC-44B1-A6B3-88BF3467DDCC}" destId="{B401C2C9-567B-48BC-B477-898F0A169C0B}" srcOrd="0" destOrd="0" presId="urn:microsoft.com/office/officeart/2005/8/layout/vList3"/>
    <dgm:cxn modelId="{A6413DFA-5D34-42A0-95D0-CB1FE8A5AC36}" srcId="{1B3BE46B-A19B-4F11-BB45-D1B8A9B86EB8}" destId="{3334CAC8-EFC6-41B1-A649-3A9B192E9C39}" srcOrd="4" destOrd="0" parTransId="{22E9670F-BE66-4BCF-B6F8-D1DE10E15DD3}" sibTransId="{892648E1-AB13-45AB-8022-E964325AA79E}"/>
    <dgm:cxn modelId="{4BFAD74F-EAFE-4C69-A6E0-409AC1683274}" type="presParOf" srcId="{B79FAAB3-CD59-45C9-9C12-04EA7741BDDE}" destId="{F4DA9F5D-39CB-4010-A95A-53569376CB69}" srcOrd="0" destOrd="0" presId="urn:microsoft.com/office/officeart/2005/8/layout/vList3"/>
    <dgm:cxn modelId="{4894F24E-8B5D-4F01-B082-35F0976334B8}" type="presParOf" srcId="{F4DA9F5D-39CB-4010-A95A-53569376CB69}" destId="{8EEAA515-DE0C-417B-8AE4-56602B493D00}" srcOrd="0" destOrd="0" presId="urn:microsoft.com/office/officeart/2005/8/layout/vList3"/>
    <dgm:cxn modelId="{6857B80F-73C3-456A-A8FB-ECB5BDB1B2E7}" type="presParOf" srcId="{F4DA9F5D-39CB-4010-A95A-53569376CB69}" destId="{26558B34-56F0-4AE9-938F-6A875C9760BC}" srcOrd="1" destOrd="0" presId="urn:microsoft.com/office/officeart/2005/8/layout/vList3"/>
    <dgm:cxn modelId="{CEB1C6D0-B0F7-46D5-9C6F-6CF2E6DCFB3E}" type="presParOf" srcId="{B79FAAB3-CD59-45C9-9C12-04EA7741BDDE}" destId="{0EE49838-8499-4B89-85FC-ABD868EF03D3}" srcOrd="1" destOrd="0" presId="urn:microsoft.com/office/officeart/2005/8/layout/vList3"/>
    <dgm:cxn modelId="{AA11341E-5C44-4F58-8D20-F5A18E23BFDA}" type="presParOf" srcId="{B79FAAB3-CD59-45C9-9C12-04EA7741BDDE}" destId="{F310B284-C09D-46B0-A0ED-F6A0DF33C55E}" srcOrd="2" destOrd="0" presId="urn:microsoft.com/office/officeart/2005/8/layout/vList3"/>
    <dgm:cxn modelId="{0F621B0A-18D0-493B-873B-BB51B18E7C36}" type="presParOf" srcId="{F310B284-C09D-46B0-A0ED-F6A0DF33C55E}" destId="{57467DF1-65E3-4D4B-9DC9-5B6E7524E660}" srcOrd="0" destOrd="0" presId="urn:microsoft.com/office/officeart/2005/8/layout/vList3"/>
    <dgm:cxn modelId="{33B7350B-9811-4A70-A9C0-9C4D34D5FF91}" type="presParOf" srcId="{F310B284-C09D-46B0-A0ED-F6A0DF33C55E}" destId="{FB6994A9-E245-4ABF-9030-99F23660AF0D}" srcOrd="1" destOrd="0" presId="urn:microsoft.com/office/officeart/2005/8/layout/vList3"/>
    <dgm:cxn modelId="{17A308E5-B968-4E67-9E98-050069825BC2}" type="presParOf" srcId="{B79FAAB3-CD59-45C9-9C12-04EA7741BDDE}" destId="{383AA9AA-E6DF-4D5C-9E99-9F2270D2C159}" srcOrd="3" destOrd="0" presId="urn:microsoft.com/office/officeart/2005/8/layout/vList3"/>
    <dgm:cxn modelId="{D7CCAF1F-B0DF-4FB0-B2D1-43DF325A0B09}" type="presParOf" srcId="{B79FAAB3-CD59-45C9-9C12-04EA7741BDDE}" destId="{839560C7-9114-466D-9AFA-5F66AC33B712}" srcOrd="4" destOrd="0" presId="urn:microsoft.com/office/officeart/2005/8/layout/vList3"/>
    <dgm:cxn modelId="{6E5B41C5-85A3-4007-92E9-C596861F09C1}" type="presParOf" srcId="{839560C7-9114-466D-9AFA-5F66AC33B712}" destId="{601BFC33-FE3A-4BDE-88FE-493B6E1B6FB3}" srcOrd="0" destOrd="0" presId="urn:microsoft.com/office/officeart/2005/8/layout/vList3"/>
    <dgm:cxn modelId="{0E76A610-8AD0-4717-B57B-09D4C4F0127F}" type="presParOf" srcId="{839560C7-9114-466D-9AFA-5F66AC33B712}" destId="{A3AC942A-802A-45B5-884A-20C804D0F3E0}" srcOrd="1" destOrd="0" presId="urn:microsoft.com/office/officeart/2005/8/layout/vList3"/>
    <dgm:cxn modelId="{3005AC8C-927F-4626-9B6F-DAABA5AB3C5D}" type="presParOf" srcId="{B79FAAB3-CD59-45C9-9C12-04EA7741BDDE}" destId="{A5D998E6-5119-49B2-8308-711DB539B232}" srcOrd="5" destOrd="0" presId="urn:microsoft.com/office/officeart/2005/8/layout/vList3"/>
    <dgm:cxn modelId="{113728F2-7E76-4296-AA04-737590103462}" type="presParOf" srcId="{B79FAAB3-CD59-45C9-9C12-04EA7741BDDE}" destId="{B939AFB1-E72A-4AE2-A6C6-0330A1284A60}" srcOrd="6" destOrd="0" presId="urn:microsoft.com/office/officeart/2005/8/layout/vList3"/>
    <dgm:cxn modelId="{D97B5B99-6B1B-43AA-AFE5-1F077F9BA711}" type="presParOf" srcId="{B939AFB1-E72A-4AE2-A6C6-0330A1284A60}" destId="{6039329E-4295-499A-B0FF-8DFA17283B09}" srcOrd="0" destOrd="0" presId="urn:microsoft.com/office/officeart/2005/8/layout/vList3"/>
    <dgm:cxn modelId="{BD9F9A16-78CC-466D-8B96-3784DE848687}" type="presParOf" srcId="{B939AFB1-E72A-4AE2-A6C6-0330A1284A60}" destId="{B401C2C9-567B-48BC-B477-898F0A169C0B}" srcOrd="1" destOrd="0" presId="urn:microsoft.com/office/officeart/2005/8/layout/vList3"/>
    <dgm:cxn modelId="{B151F888-D205-44C2-B3F3-13E0BE5B7065}" type="presParOf" srcId="{B79FAAB3-CD59-45C9-9C12-04EA7741BDDE}" destId="{9665675D-0A69-4B7B-A4DF-10CBF8512707}" srcOrd="7" destOrd="0" presId="urn:microsoft.com/office/officeart/2005/8/layout/vList3"/>
    <dgm:cxn modelId="{DCAFEC2D-4AFE-40DC-99A7-024C7D844F2B}" type="presParOf" srcId="{B79FAAB3-CD59-45C9-9C12-04EA7741BDDE}" destId="{12EC4F81-F54C-49D6-B068-827B7A4F8EE2}" srcOrd="8" destOrd="0" presId="urn:microsoft.com/office/officeart/2005/8/layout/vList3"/>
    <dgm:cxn modelId="{78BA005E-AC11-4CAD-8639-DA66945F2843}" type="presParOf" srcId="{12EC4F81-F54C-49D6-B068-827B7A4F8EE2}" destId="{E76C1DF1-CC82-4F91-972B-D91FC56976CE}" srcOrd="0" destOrd="0" presId="urn:microsoft.com/office/officeart/2005/8/layout/vList3"/>
    <dgm:cxn modelId="{DC0AB88A-FCCF-4F42-90E4-00AE28DE4DBA}" type="presParOf" srcId="{12EC4F81-F54C-49D6-B068-827B7A4F8EE2}" destId="{FD7CE52F-A999-4391-8104-68A25F268DDA}"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1B3BE46B-A19B-4F11-BB45-D1B8A9B86EB8}" type="doc">
      <dgm:prSet loTypeId="urn:microsoft.com/office/officeart/2005/8/layout/vList3" loCatId="picture" qsTypeId="urn:microsoft.com/office/officeart/2005/8/quickstyle/simple1" qsCatId="simple" csTypeId="urn:microsoft.com/office/officeart/2005/8/colors/accent1_2" csCatId="accent1" phldr="1"/>
      <dgm:spPr/>
    </dgm:pt>
    <dgm:pt modelId="{DA131F33-DFFA-46C4-AAA6-38F01DC60666}">
      <dgm:prSet phldrT="[Text]"/>
      <dgm:spPr>
        <a:xfrm rot="10800000">
          <a:off x="1340583" y="1595"/>
          <a:ext cx="4437249" cy="891721"/>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Font typeface="Arial" panose="020B0604020202020204" pitchFamily="34" charset="0"/>
            <a:buNone/>
          </a:pPr>
          <a:r>
            <a:rPr lang="en-US">
              <a:solidFill>
                <a:srgbClr val="0078D3"/>
              </a:solidFill>
              <a:latin typeface="Segoe UI"/>
              <a:ea typeface="+mn-ea"/>
              <a:cs typeface="+mn-cs"/>
            </a:rPr>
            <a:t>Business continuity </a:t>
          </a:r>
        </a:p>
      </dgm:t>
    </dgm:pt>
    <dgm:pt modelId="{175E0962-2A1E-4153-A873-DBFFEE8B3C61}" type="parTrans" cxnId="{82D1BA07-F9BC-4660-ACF0-C30C383DF162}">
      <dgm:prSet/>
      <dgm:spPr/>
      <dgm:t>
        <a:bodyPr/>
        <a:lstStyle/>
        <a:p>
          <a:endParaRPr lang="en-US"/>
        </a:p>
      </dgm:t>
    </dgm:pt>
    <dgm:pt modelId="{AF523B2B-9169-485E-83E5-266383E49094}" type="sibTrans" cxnId="{82D1BA07-F9BC-4660-ACF0-C30C383DF162}">
      <dgm:prSet/>
      <dgm:spPr/>
      <dgm:t>
        <a:bodyPr/>
        <a:lstStyle/>
        <a:p>
          <a:endParaRPr lang="en-US"/>
        </a:p>
      </dgm:t>
    </dgm:pt>
    <dgm:pt modelId="{0F6C0AAC-39CF-4853-8DF0-6DE67B502F80}">
      <dgm:prSet/>
      <dgm:spPr>
        <a:xfrm rot="10800000">
          <a:off x="1340583" y="1159502"/>
          <a:ext cx="4437249" cy="891721"/>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a:solidFill>
                <a:srgbClr val="0078D3"/>
              </a:solidFill>
              <a:latin typeface="Segoe UI"/>
              <a:ea typeface="+mn-ea"/>
              <a:cs typeface="+mn-cs"/>
            </a:rPr>
            <a:t>High availability </a:t>
          </a:r>
        </a:p>
      </dgm:t>
    </dgm:pt>
    <dgm:pt modelId="{5865BF12-A60F-45EE-840A-5D5E65FB52C1}" type="parTrans" cxnId="{26AF4C07-21E4-49B9-9014-0E17BC0177B4}">
      <dgm:prSet/>
      <dgm:spPr/>
      <dgm:t>
        <a:bodyPr/>
        <a:lstStyle/>
        <a:p>
          <a:endParaRPr lang="en-US"/>
        </a:p>
      </dgm:t>
    </dgm:pt>
    <dgm:pt modelId="{3C95F86A-5E1E-42A4-AF28-10A7D5E94315}" type="sibTrans" cxnId="{26AF4C07-21E4-49B9-9014-0E17BC0177B4}">
      <dgm:prSet/>
      <dgm:spPr/>
      <dgm:t>
        <a:bodyPr/>
        <a:lstStyle/>
        <a:p>
          <a:endParaRPr lang="en-US"/>
        </a:p>
      </dgm:t>
    </dgm:pt>
    <dgm:pt modelId="{2B9121C1-005B-4CF3-BFC6-F47A3D64FE58}">
      <dgm:prSet/>
      <dgm:spPr>
        <a:xfrm rot="10800000">
          <a:off x="1340583" y="2317408"/>
          <a:ext cx="4437249" cy="891721"/>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a:solidFill>
                <a:srgbClr val="0078D3"/>
              </a:solidFill>
              <a:latin typeface="Segoe UI"/>
              <a:ea typeface="+mn-ea"/>
              <a:cs typeface="+mn-cs"/>
            </a:rPr>
            <a:t>Automated backups </a:t>
          </a:r>
        </a:p>
      </dgm:t>
    </dgm:pt>
    <dgm:pt modelId="{F678BCDF-83E9-4D31-BA89-174B36FBF760}" type="parTrans" cxnId="{78CF5E83-C458-413A-8D7C-CE0FFD142787}">
      <dgm:prSet/>
      <dgm:spPr/>
      <dgm:t>
        <a:bodyPr/>
        <a:lstStyle/>
        <a:p>
          <a:endParaRPr lang="en-US"/>
        </a:p>
      </dgm:t>
    </dgm:pt>
    <dgm:pt modelId="{91DD6780-008C-4AF1-93B4-9FF9B71683B2}" type="sibTrans" cxnId="{78CF5E83-C458-413A-8D7C-CE0FFD142787}">
      <dgm:prSet/>
      <dgm:spPr/>
      <dgm:t>
        <a:bodyPr/>
        <a:lstStyle/>
        <a:p>
          <a:endParaRPr lang="en-US"/>
        </a:p>
      </dgm:t>
    </dgm:pt>
    <dgm:pt modelId="{7F1EBB37-9DFE-48EF-998E-E4B2A5DF333A}">
      <dgm:prSet/>
      <dgm:spPr>
        <a:xfrm rot="10800000">
          <a:off x="1340583" y="3475315"/>
          <a:ext cx="4437249" cy="891721"/>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a:solidFill>
                <a:srgbClr val="0078D3"/>
              </a:solidFill>
              <a:latin typeface="Segoe UI"/>
              <a:ea typeface="+mn-ea"/>
              <a:cs typeface="+mn-cs"/>
            </a:rPr>
            <a:t>Long term backup retention </a:t>
          </a:r>
        </a:p>
      </dgm:t>
    </dgm:pt>
    <dgm:pt modelId="{EB878A48-758D-4ADE-BC20-DE94D1BAB746}" type="parTrans" cxnId="{1A5D6431-2B19-4AA1-9B6C-94E34A26924C}">
      <dgm:prSet/>
      <dgm:spPr/>
      <dgm:t>
        <a:bodyPr/>
        <a:lstStyle/>
        <a:p>
          <a:endParaRPr lang="en-US"/>
        </a:p>
      </dgm:t>
    </dgm:pt>
    <dgm:pt modelId="{E2B0A2C3-AD28-4C23-8C94-389599847AEA}" type="sibTrans" cxnId="{1A5D6431-2B19-4AA1-9B6C-94E34A26924C}">
      <dgm:prSet/>
      <dgm:spPr/>
      <dgm:t>
        <a:bodyPr/>
        <a:lstStyle/>
        <a:p>
          <a:endParaRPr lang="en-US"/>
        </a:p>
      </dgm:t>
    </dgm:pt>
    <dgm:pt modelId="{51F1F6D6-CB94-4E01-953F-5B64F2E1DB83}">
      <dgm:prSet/>
      <dgm:spPr>
        <a:xfrm rot="10800000">
          <a:off x="1340583" y="4633222"/>
          <a:ext cx="4437249" cy="891721"/>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a:solidFill>
                <a:srgbClr val="0078D3"/>
              </a:solidFill>
              <a:latin typeface="Segoe UI"/>
              <a:ea typeface="+mn-ea"/>
              <a:cs typeface="+mn-cs"/>
            </a:rPr>
            <a:t>Geo-replication</a:t>
          </a:r>
        </a:p>
      </dgm:t>
    </dgm:pt>
    <dgm:pt modelId="{B24B700A-4CD2-46FE-81ED-22495AA65FCE}" type="parTrans" cxnId="{B307D090-46AE-44BA-B615-FB1D8EB170E9}">
      <dgm:prSet/>
      <dgm:spPr/>
      <dgm:t>
        <a:bodyPr/>
        <a:lstStyle/>
        <a:p>
          <a:endParaRPr lang="en-US"/>
        </a:p>
      </dgm:t>
    </dgm:pt>
    <dgm:pt modelId="{0DC34728-0DFF-40AE-8038-C5E1BEF284D5}" type="sibTrans" cxnId="{B307D090-46AE-44BA-B615-FB1D8EB170E9}">
      <dgm:prSet/>
      <dgm:spPr/>
      <dgm:t>
        <a:bodyPr/>
        <a:lstStyle/>
        <a:p>
          <a:endParaRPr lang="en-US"/>
        </a:p>
      </dgm:t>
    </dgm:pt>
    <dgm:pt modelId="{B79FAAB3-CD59-45C9-9C12-04EA7741BDDE}" type="pres">
      <dgm:prSet presAssocID="{1B3BE46B-A19B-4F11-BB45-D1B8A9B86EB8}" presName="linearFlow" presStyleCnt="0">
        <dgm:presLayoutVars>
          <dgm:dir/>
          <dgm:resizeHandles val="exact"/>
        </dgm:presLayoutVars>
      </dgm:prSet>
      <dgm:spPr/>
    </dgm:pt>
    <dgm:pt modelId="{F4DA9F5D-39CB-4010-A95A-53569376CB69}" type="pres">
      <dgm:prSet presAssocID="{DA131F33-DFFA-46C4-AAA6-38F01DC60666}" presName="composite" presStyleCnt="0"/>
      <dgm:spPr/>
    </dgm:pt>
    <dgm:pt modelId="{8EEAA515-DE0C-417B-8AE4-56602B493D00}" type="pres">
      <dgm:prSet presAssocID="{DA131F33-DFFA-46C4-AAA6-38F01DC60666}" presName="imgShp" presStyleLbl="fgImgPlace1" presStyleIdx="0" presStyleCnt="5"/>
      <dgm:spPr>
        <a:xfrm>
          <a:off x="894722" y="1595"/>
          <a:ext cx="891721" cy="891721"/>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26558B34-56F0-4AE9-938F-6A875C9760BC}" type="pres">
      <dgm:prSet presAssocID="{DA131F33-DFFA-46C4-AAA6-38F01DC60666}" presName="txShp" presStyleLbl="node1" presStyleIdx="0" presStyleCnt="5">
        <dgm:presLayoutVars>
          <dgm:bulletEnabled val="1"/>
        </dgm:presLayoutVars>
      </dgm:prSet>
      <dgm:spPr/>
    </dgm:pt>
    <dgm:pt modelId="{0EE49838-8499-4B89-85FC-ABD868EF03D3}" type="pres">
      <dgm:prSet presAssocID="{AF523B2B-9169-485E-83E5-266383E49094}" presName="spacing" presStyleCnt="0"/>
      <dgm:spPr/>
    </dgm:pt>
    <dgm:pt modelId="{252F31F6-123E-42E5-B85B-2FCBB9C1850E}" type="pres">
      <dgm:prSet presAssocID="{0F6C0AAC-39CF-4853-8DF0-6DE67B502F80}" presName="composite" presStyleCnt="0"/>
      <dgm:spPr/>
    </dgm:pt>
    <dgm:pt modelId="{4A12C7A2-7C5B-44F1-88C3-4EEA634CA834}" type="pres">
      <dgm:prSet presAssocID="{0F6C0AAC-39CF-4853-8DF0-6DE67B502F80}" presName="imgShp" presStyleLbl="fgImgPlace1" presStyleIdx="1" presStyleCnt="5"/>
      <dgm:spPr>
        <a:xfrm>
          <a:off x="894722" y="1159502"/>
          <a:ext cx="891721" cy="891721"/>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E738CB01-13DB-4673-BB33-5142B8BB692D}" type="pres">
      <dgm:prSet presAssocID="{0F6C0AAC-39CF-4853-8DF0-6DE67B502F80}" presName="txShp" presStyleLbl="node1" presStyleIdx="1" presStyleCnt="5">
        <dgm:presLayoutVars>
          <dgm:bulletEnabled val="1"/>
        </dgm:presLayoutVars>
      </dgm:prSet>
      <dgm:spPr/>
    </dgm:pt>
    <dgm:pt modelId="{9E1CCC90-38E2-44B1-99A6-CDD3092FB7E0}" type="pres">
      <dgm:prSet presAssocID="{3C95F86A-5E1E-42A4-AF28-10A7D5E94315}" presName="spacing" presStyleCnt="0"/>
      <dgm:spPr/>
    </dgm:pt>
    <dgm:pt modelId="{03ED0BE3-68E0-4015-8473-EE34E21FD8E1}" type="pres">
      <dgm:prSet presAssocID="{2B9121C1-005B-4CF3-BFC6-F47A3D64FE58}" presName="composite" presStyleCnt="0"/>
      <dgm:spPr/>
    </dgm:pt>
    <dgm:pt modelId="{9CEB58F9-6F20-40EF-869C-20B55C6975EE}" type="pres">
      <dgm:prSet presAssocID="{2B9121C1-005B-4CF3-BFC6-F47A3D64FE58}" presName="imgShp" presStyleLbl="fgImgPlace1" presStyleIdx="2" presStyleCnt="5"/>
      <dgm:spPr>
        <a:xfrm>
          <a:off x="894722" y="2317408"/>
          <a:ext cx="891721" cy="891721"/>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B61A8F8F-F8EE-400D-B6FB-2BF6EA3BC225}" type="pres">
      <dgm:prSet presAssocID="{2B9121C1-005B-4CF3-BFC6-F47A3D64FE58}" presName="txShp" presStyleLbl="node1" presStyleIdx="2" presStyleCnt="5">
        <dgm:presLayoutVars>
          <dgm:bulletEnabled val="1"/>
        </dgm:presLayoutVars>
      </dgm:prSet>
      <dgm:spPr/>
    </dgm:pt>
    <dgm:pt modelId="{389A0007-A9DA-4DA1-AA34-6FBEA7502297}" type="pres">
      <dgm:prSet presAssocID="{91DD6780-008C-4AF1-93B4-9FF9B71683B2}" presName="spacing" presStyleCnt="0"/>
      <dgm:spPr/>
    </dgm:pt>
    <dgm:pt modelId="{EF0C4058-A64E-4776-A75E-7DEBFD2804B8}" type="pres">
      <dgm:prSet presAssocID="{7F1EBB37-9DFE-48EF-998E-E4B2A5DF333A}" presName="composite" presStyleCnt="0"/>
      <dgm:spPr/>
    </dgm:pt>
    <dgm:pt modelId="{790088CC-BB50-4647-A65A-E2F6D2F42614}" type="pres">
      <dgm:prSet presAssocID="{7F1EBB37-9DFE-48EF-998E-E4B2A5DF333A}" presName="imgShp" presStyleLbl="fgImgPlace1" presStyleIdx="3" presStyleCnt="5"/>
      <dgm:spPr>
        <a:xfrm>
          <a:off x="894722" y="3475315"/>
          <a:ext cx="891721" cy="891721"/>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ED289B2B-CBE0-4D1C-8055-BD37702479D1}" type="pres">
      <dgm:prSet presAssocID="{7F1EBB37-9DFE-48EF-998E-E4B2A5DF333A}" presName="txShp" presStyleLbl="node1" presStyleIdx="3" presStyleCnt="5">
        <dgm:presLayoutVars>
          <dgm:bulletEnabled val="1"/>
        </dgm:presLayoutVars>
      </dgm:prSet>
      <dgm:spPr/>
    </dgm:pt>
    <dgm:pt modelId="{5281D6DC-3A2C-413E-8D66-A78FD857E9B4}" type="pres">
      <dgm:prSet presAssocID="{E2B0A2C3-AD28-4C23-8C94-389599847AEA}" presName="spacing" presStyleCnt="0"/>
      <dgm:spPr/>
    </dgm:pt>
    <dgm:pt modelId="{C977515A-F8E7-458E-93F4-BD82861D32E1}" type="pres">
      <dgm:prSet presAssocID="{51F1F6D6-CB94-4E01-953F-5B64F2E1DB83}" presName="composite" presStyleCnt="0"/>
      <dgm:spPr/>
    </dgm:pt>
    <dgm:pt modelId="{1BC10206-5201-4D05-8BB8-F32DCCB8A736}" type="pres">
      <dgm:prSet presAssocID="{51F1F6D6-CB94-4E01-953F-5B64F2E1DB83}" presName="imgShp" presStyleLbl="fgImgPlace1" presStyleIdx="4" presStyleCnt="5"/>
      <dgm:spPr>
        <a:xfrm>
          <a:off x="894722" y="4633222"/>
          <a:ext cx="891721" cy="891721"/>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8F8F3DF7-1027-47EB-A83F-EA03403DB111}" type="pres">
      <dgm:prSet presAssocID="{51F1F6D6-CB94-4E01-953F-5B64F2E1DB83}" presName="txShp" presStyleLbl="node1" presStyleIdx="4" presStyleCnt="5">
        <dgm:presLayoutVars>
          <dgm:bulletEnabled val="1"/>
        </dgm:presLayoutVars>
      </dgm:prSet>
      <dgm:spPr/>
    </dgm:pt>
  </dgm:ptLst>
  <dgm:cxnLst>
    <dgm:cxn modelId="{26AF4C07-21E4-49B9-9014-0E17BC0177B4}" srcId="{1B3BE46B-A19B-4F11-BB45-D1B8A9B86EB8}" destId="{0F6C0AAC-39CF-4853-8DF0-6DE67B502F80}" srcOrd="1" destOrd="0" parTransId="{5865BF12-A60F-45EE-840A-5D5E65FB52C1}" sibTransId="{3C95F86A-5E1E-42A4-AF28-10A7D5E94315}"/>
    <dgm:cxn modelId="{82D1BA07-F9BC-4660-ACF0-C30C383DF162}" srcId="{1B3BE46B-A19B-4F11-BB45-D1B8A9B86EB8}" destId="{DA131F33-DFFA-46C4-AAA6-38F01DC60666}" srcOrd="0" destOrd="0" parTransId="{175E0962-2A1E-4153-A873-DBFFEE8B3C61}" sibTransId="{AF523B2B-9169-485E-83E5-266383E49094}"/>
    <dgm:cxn modelId="{1A5D6431-2B19-4AA1-9B6C-94E34A26924C}" srcId="{1B3BE46B-A19B-4F11-BB45-D1B8A9B86EB8}" destId="{7F1EBB37-9DFE-48EF-998E-E4B2A5DF333A}" srcOrd="3" destOrd="0" parTransId="{EB878A48-758D-4ADE-BC20-DE94D1BAB746}" sibTransId="{E2B0A2C3-AD28-4C23-8C94-389599847AEA}"/>
    <dgm:cxn modelId="{12EC2B35-862F-4330-8386-1AD52CDBD810}" type="presOf" srcId="{1B3BE46B-A19B-4F11-BB45-D1B8A9B86EB8}" destId="{B79FAAB3-CD59-45C9-9C12-04EA7741BDDE}" srcOrd="0" destOrd="0" presId="urn:microsoft.com/office/officeart/2005/8/layout/vList3"/>
    <dgm:cxn modelId="{68941140-FA44-4F68-A857-E1A4954EF6E1}" type="presOf" srcId="{7F1EBB37-9DFE-48EF-998E-E4B2A5DF333A}" destId="{ED289B2B-CBE0-4D1C-8055-BD37702479D1}" srcOrd="0" destOrd="0" presId="urn:microsoft.com/office/officeart/2005/8/layout/vList3"/>
    <dgm:cxn modelId="{5D02D768-3C62-4B32-938A-6E5062A35E94}" type="presOf" srcId="{2B9121C1-005B-4CF3-BFC6-F47A3D64FE58}" destId="{B61A8F8F-F8EE-400D-B6FB-2BF6EA3BC225}" srcOrd="0" destOrd="0" presId="urn:microsoft.com/office/officeart/2005/8/layout/vList3"/>
    <dgm:cxn modelId="{93D51382-016E-4532-82EA-495FE9F136EA}" type="presOf" srcId="{DA131F33-DFFA-46C4-AAA6-38F01DC60666}" destId="{26558B34-56F0-4AE9-938F-6A875C9760BC}" srcOrd="0" destOrd="0" presId="urn:microsoft.com/office/officeart/2005/8/layout/vList3"/>
    <dgm:cxn modelId="{78CF5E83-C458-413A-8D7C-CE0FFD142787}" srcId="{1B3BE46B-A19B-4F11-BB45-D1B8A9B86EB8}" destId="{2B9121C1-005B-4CF3-BFC6-F47A3D64FE58}" srcOrd="2" destOrd="0" parTransId="{F678BCDF-83E9-4D31-BA89-174B36FBF760}" sibTransId="{91DD6780-008C-4AF1-93B4-9FF9B71683B2}"/>
    <dgm:cxn modelId="{3E0BDC8F-7EC3-470E-8D3F-5C90BF5CDFC5}" type="presOf" srcId="{0F6C0AAC-39CF-4853-8DF0-6DE67B502F80}" destId="{E738CB01-13DB-4673-BB33-5142B8BB692D}" srcOrd="0" destOrd="0" presId="urn:microsoft.com/office/officeart/2005/8/layout/vList3"/>
    <dgm:cxn modelId="{B307D090-46AE-44BA-B615-FB1D8EB170E9}" srcId="{1B3BE46B-A19B-4F11-BB45-D1B8A9B86EB8}" destId="{51F1F6D6-CB94-4E01-953F-5B64F2E1DB83}" srcOrd="4" destOrd="0" parTransId="{B24B700A-4CD2-46FE-81ED-22495AA65FCE}" sibTransId="{0DC34728-0DFF-40AE-8038-C5E1BEF284D5}"/>
    <dgm:cxn modelId="{CDD8F397-BF77-456C-8962-0BB9E8EC95FB}" type="presOf" srcId="{51F1F6D6-CB94-4E01-953F-5B64F2E1DB83}" destId="{8F8F3DF7-1027-47EB-A83F-EA03403DB111}" srcOrd="0" destOrd="0" presId="urn:microsoft.com/office/officeart/2005/8/layout/vList3"/>
    <dgm:cxn modelId="{4BFAD74F-EAFE-4C69-A6E0-409AC1683274}" type="presParOf" srcId="{B79FAAB3-CD59-45C9-9C12-04EA7741BDDE}" destId="{F4DA9F5D-39CB-4010-A95A-53569376CB69}" srcOrd="0" destOrd="0" presId="urn:microsoft.com/office/officeart/2005/8/layout/vList3"/>
    <dgm:cxn modelId="{4894F24E-8B5D-4F01-B082-35F0976334B8}" type="presParOf" srcId="{F4DA9F5D-39CB-4010-A95A-53569376CB69}" destId="{8EEAA515-DE0C-417B-8AE4-56602B493D00}" srcOrd="0" destOrd="0" presId="urn:microsoft.com/office/officeart/2005/8/layout/vList3"/>
    <dgm:cxn modelId="{6857B80F-73C3-456A-A8FB-ECB5BDB1B2E7}" type="presParOf" srcId="{F4DA9F5D-39CB-4010-A95A-53569376CB69}" destId="{26558B34-56F0-4AE9-938F-6A875C9760BC}" srcOrd="1" destOrd="0" presId="urn:microsoft.com/office/officeart/2005/8/layout/vList3"/>
    <dgm:cxn modelId="{CEB1C6D0-B0F7-46D5-9C6F-6CF2E6DCFB3E}" type="presParOf" srcId="{B79FAAB3-CD59-45C9-9C12-04EA7741BDDE}" destId="{0EE49838-8499-4B89-85FC-ABD868EF03D3}" srcOrd="1" destOrd="0" presId="urn:microsoft.com/office/officeart/2005/8/layout/vList3"/>
    <dgm:cxn modelId="{D7B6BE94-BE0A-4005-97C8-914062CD21A1}" type="presParOf" srcId="{B79FAAB3-CD59-45C9-9C12-04EA7741BDDE}" destId="{252F31F6-123E-42E5-B85B-2FCBB9C1850E}" srcOrd="2" destOrd="0" presId="urn:microsoft.com/office/officeart/2005/8/layout/vList3"/>
    <dgm:cxn modelId="{71CECE24-AADA-4092-8AB6-8D126DFE6CA4}" type="presParOf" srcId="{252F31F6-123E-42E5-B85B-2FCBB9C1850E}" destId="{4A12C7A2-7C5B-44F1-88C3-4EEA634CA834}" srcOrd="0" destOrd="0" presId="urn:microsoft.com/office/officeart/2005/8/layout/vList3"/>
    <dgm:cxn modelId="{42012576-53FD-421E-B7C0-7FF874D0F63A}" type="presParOf" srcId="{252F31F6-123E-42E5-B85B-2FCBB9C1850E}" destId="{E738CB01-13DB-4673-BB33-5142B8BB692D}" srcOrd="1" destOrd="0" presId="urn:microsoft.com/office/officeart/2005/8/layout/vList3"/>
    <dgm:cxn modelId="{BA7A7276-6C67-49F9-B7D1-4FB3C7A7FCB7}" type="presParOf" srcId="{B79FAAB3-CD59-45C9-9C12-04EA7741BDDE}" destId="{9E1CCC90-38E2-44B1-99A6-CDD3092FB7E0}" srcOrd="3" destOrd="0" presId="urn:microsoft.com/office/officeart/2005/8/layout/vList3"/>
    <dgm:cxn modelId="{3C4257A5-A806-40DC-BD4B-BBBEBD21D4C6}" type="presParOf" srcId="{B79FAAB3-CD59-45C9-9C12-04EA7741BDDE}" destId="{03ED0BE3-68E0-4015-8473-EE34E21FD8E1}" srcOrd="4" destOrd="0" presId="urn:microsoft.com/office/officeart/2005/8/layout/vList3"/>
    <dgm:cxn modelId="{7B2C5CC7-C6A8-429B-A093-F5862C49C04E}" type="presParOf" srcId="{03ED0BE3-68E0-4015-8473-EE34E21FD8E1}" destId="{9CEB58F9-6F20-40EF-869C-20B55C6975EE}" srcOrd="0" destOrd="0" presId="urn:microsoft.com/office/officeart/2005/8/layout/vList3"/>
    <dgm:cxn modelId="{399BC71F-2B38-4079-BAD8-2F178CE16B9A}" type="presParOf" srcId="{03ED0BE3-68E0-4015-8473-EE34E21FD8E1}" destId="{B61A8F8F-F8EE-400D-B6FB-2BF6EA3BC225}" srcOrd="1" destOrd="0" presId="urn:microsoft.com/office/officeart/2005/8/layout/vList3"/>
    <dgm:cxn modelId="{FC3A2B7A-B363-4A9D-870B-192EC43356BA}" type="presParOf" srcId="{B79FAAB3-CD59-45C9-9C12-04EA7741BDDE}" destId="{389A0007-A9DA-4DA1-AA34-6FBEA7502297}" srcOrd="5" destOrd="0" presId="urn:microsoft.com/office/officeart/2005/8/layout/vList3"/>
    <dgm:cxn modelId="{165A986B-0BFD-4294-8844-A65C261AE19E}" type="presParOf" srcId="{B79FAAB3-CD59-45C9-9C12-04EA7741BDDE}" destId="{EF0C4058-A64E-4776-A75E-7DEBFD2804B8}" srcOrd="6" destOrd="0" presId="urn:microsoft.com/office/officeart/2005/8/layout/vList3"/>
    <dgm:cxn modelId="{89FC71CF-7010-4B42-B2A1-A42922B1A8AD}" type="presParOf" srcId="{EF0C4058-A64E-4776-A75E-7DEBFD2804B8}" destId="{790088CC-BB50-4647-A65A-E2F6D2F42614}" srcOrd="0" destOrd="0" presId="urn:microsoft.com/office/officeart/2005/8/layout/vList3"/>
    <dgm:cxn modelId="{9BD6AD30-112E-4B5A-8584-A7CA7D53B6A9}" type="presParOf" srcId="{EF0C4058-A64E-4776-A75E-7DEBFD2804B8}" destId="{ED289B2B-CBE0-4D1C-8055-BD37702479D1}" srcOrd="1" destOrd="0" presId="urn:microsoft.com/office/officeart/2005/8/layout/vList3"/>
    <dgm:cxn modelId="{2C8EC532-71C5-4476-A393-2B411C869BC0}" type="presParOf" srcId="{B79FAAB3-CD59-45C9-9C12-04EA7741BDDE}" destId="{5281D6DC-3A2C-413E-8D66-A78FD857E9B4}" srcOrd="7" destOrd="0" presId="urn:microsoft.com/office/officeart/2005/8/layout/vList3"/>
    <dgm:cxn modelId="{864AEA99-0B0E-4288-9CCE-AF59ABEABDC9}" type="presParOf" srcId="{B79FAAB3-CD59-45C9-9C12-04EA7741BDDE}" destId="{C977515A-F8E7-458E-93F4-BD82861D32E1}" srcOrd="8" destOrd="0" presId="urn:microsoft.com/office/officeart/2005/8/layout/vList3"/>
    <dgm:cxn modelId="{6C34E83A-EAD7-4A4C-B126-AE0D012D2683}" type="presParOf" srcId="{C977515A-F8E7-458E-93F4-BD82861D32E1}" destId="{1BC10206-5201-4D05-8BB8-F32DCCB8A736}" srcOrd="0" destOrd="0" presId="urn:microsoft.com/office/officeart/2005/8/layout/vList3"/>
    <dgm:cxn modelId="{4626CC7B-78E2-4501-A7F7-3DBC8E59DCE6}" type="presParOf" srcId="{C977515A-F8E7-458E-93F4-BD82861D32E1}" destId="{8F8F3DF7-1027-47EB-A83F-EA03403DB111}" srcOrd="1" destOrd="0" presId="urn:microsoft.com/office/officeart/2005/8/layout/vList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1B3BE46B-A19B-4F11-BB45-D1B8A9B86EB8}" type="doc">
      <dgm:prSet loTypeId="urn:microsoft.com/office/officeart/2005/8/layout/vList3" loCatId="picture" qsTypeId="urn:microsoft.com/office/officeart/2005/8/quickstyle/simple1" qsCatId="simple" csTypeId="urn:microsoft.com/office/officeart/2005/8/colors/accent1_2" csCatId="accent1" phldr="1"/>
      <dgm:spPr/>
    </dgm:pt>
    <dgm:pt modelId="{DA131F33-DFFA-46C4-AAA6-38F01DC60666}">
      <dgm:prSet phldrT="[Text]" custT="1"/>
      <dgm:spPr>
        <a:xfrm rot="10800000">
          <a:off x="1288532" y="1348"/>
          <a:ext cx="4230521" cy="891800"/>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Font typeface="Arial" panose="020B0604020202020204" pitchFamily="34" charset="0"/>
            <a:buNone/>
          </a:pPr>
          <a:r>
            <a:rPr lang="en-US" sz="2200">
              <a:solidFill>
                <a:srgbClr val="0078D3"/>
              </a:solidFill>
              <a:latin typeface="Segoe UI"/>
              <a:ea typeface="+mn-ea"/>
              <a:cs typeface="+mn-cs"/>
            </a:rPr>
            <a:t>Scale </a:t>
          </a:r>
        </a:p>
      </dgm:t>
    </dgm:pt>
    <dgm:pt modelId="{175E0962-2A1E-4153-A873-DBFFEE8B3C61}" type="parTrans" cxnId="{82D1BA07-F9BC-4660-ACF0-C30C383DF162}">
      <dgm:prSet/>
      <dgm:spPr/>
      <dgm:t>
        <a:bodyPr/>
        <a:lstStyle/>
        <a:p>
          <a:endParaRPr lang="en-US"/>
        </a:p>
      </dgm:t>
    </dgm:pt>
    <dgm:pt modelId="{AF523B2B-9169-485E-83E5-266383E49094}" type="sibTrans" cxnId="{82D1BA07-F9BC-4660-ACF0-C30C383DF162}">
      <dgm:prSet/>
      <dgm:spPr/>
      <dgm:t>
        <a:bodyPr/>
        <a:lstStyle/>
        <a:p>
          <a:endParaRPr lang="en-US"/>
        </a:p>
      </dgm:t>
    </dgm:pt>
    <dgm:pt modelId="{D3257210-B71E-41C9-9321-07B6A056AE6C}">
      <dgm:prSet custT="1"/>
      <dgm:spPr>
        <a:xfrm rot="10800000">
          <a:off x="1288532" y="1159358"/>
          <a:ext cx="4230521" cy="891800"/>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sz="2200">
              <a:solidFill>
                <a:srgbClr val="0078D3"/>
              </a:solidFill>
              <a:latin typeface="Segoe UI"/>
              <a:ea typeface="+mn-ea"/>
              <a:cs typeface="+mn-cs"/>
            </a:rPr>
            <a:t>Advanced security </a:t>
          </a:r>
        </a:p>
      </dgm:t>
    </dgm:pt>
    <dgm:pt modelId="{C2EF50E9-D02F-4C8B-8240-A2D00DA47E3C}" type="parTrans" cxnId="{B2D2C021-285D-4AD0-AB96-5BFAEB786B40}">
      <dgm:prSet/>
      <dgm:spPr/>
      <dgm:t>
        <a:bodyPr/>
        <a:lstStyle/>
        <a:p>
          <a:endParaRPr lang="en-US"/>
        </a:p>
      </dgm:t>
    </dgm:pt>
    <dgm:pt modelId="{14EA8E44-FFC2-4632-9102-DFDC23913E2A}" type="sibTrans" cxnId="{B2D2C021-285D-4AD0-AB96-5BFAEB786B40}">
      <dgm:prSet/>
      <dgm:spPr/>
      <dgm:t>
        <a:bodyPr/>
        <a:lstStyle/>
        <a:p>
          <a:endParaRPr lang="en-US"/>
        </a:p>
      </dgm:t>
    </dgm:pt>
    <dgm:pt modelId="{3B9370C5-77CF-41A2-8E44-072D14861493}">
      <dgm:prSet custT="1"/>
      <dgm:spPr>
        <a:xfrm rot="10800000">
          <a:off x="1288532" y="2317369"/>
          <a:ext cx="4230521" cy="891800"/>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sz="2200">
              <a:solidFill>
                <a:srgbClr val="0078D3"/>
              </a:solidFill>
              <a:latin typeface="Segoe UI"/>
              <a:ea typeface="+mn-ea"/>
              <a:cs typeface="+mn-cs"/>
            </a:rPr>
            <a:t>Automatic tuning </a:t>
          </a:r>
        </a:p>
      </dgm:t>
    </dgm:pt>
    <dgm:pt modelId="{22EC8849-B74E-4081-99BC-4BB36E196640}" type="parTrans" cxnId="{1DEFC424-9657-4C4E-AB21-BCDA7DF8C3A6}">
      <dgm:prSet/>
      <dgm:spPr/>
      <dgm:t>
        <a:bodyPr/>
        <a:lstStyle/>
        <a:p>
          <a:endParaRPr lang="en-US"/>
        </a:p>
      </dgm:t>
    </dgm:pt>
    <dgm:pt modelId="{B836A885-1BAA-4A21-A1AC-991B5740C1B2}" type="sibTrans" cxnId="{1DEFC424-9657-4C4E-AB21-BCDA7DF8C3A6}">
      <dgm:prSet/>
      <dgm:spPr/>
      <dgm:t>
        <a:bodyPr/>
        <a:lstStyle/>
        <a:p>
          <a:endParaRPr lang="en-US"/>
        </a:p>
      </dgm:t>
    </dgm:pt>
    <dgm:pt modelId="{46F07AC1-BECC-44B1-A6B3-88BF3467DDCC}">
      <dgm:prSet custT="1"/>
      <dgm:spPr>
        <a:xfrm rot="10800000">
          <a:off x="1288532" y="3475379"/>
          <a:ext cx="4230521" cy="891800"/>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sz="2200">
              <a:solidFill>
                <a:srgbClr val="0078D3"/>
              </a:solidFill>
              <a:latin typeface="Segoe UI"/>
              <a:ea typeface="+mn-ea"/>
              <a:cs typeface="+mn-cs"/>
            </a:rPr>
            <a:t>Built-in monitoring </a:t>
          </a:r>
        </a:p>
      </dgm:t>
    </dgm:pt>
    <dgm:pt modelId="{059AA75E-6E27-4BB6-B19B-6F52F606010A}" type="parTrans" cxnId="{1E0A5068-6E02-45A7-B3CC-04D8FE4D11B9}">
      <dgm:prSet/>
      <dgm:spPr/>
      <dgm:t>
        <a:bodyPr/>
        <a:lstStyle/>
        <a:p>
          <a:endParaRPr lang="en-US"/>
        </a:p>
      </dgm:t>
    </dgm:pt>
    <dgm:pt modelId="{A205A3F0-37A1-4912-BF90-B2013C965F52}" type="sibTrans" cxnId="{1E0A5068-6E02-45A7-B3CC-04D8FE4D11B9}">
      <dgm:prSet/>
      <dgm:spPr/>
      <dgm:t>
        <a:bodyPr/>
        <a:lstStyle/>
        <a:p>
          <a:endParaRPr lang="en-US"/>
        </a:p>
      </dgm:t>
    </dgm:pt>
    <dgm:pt modelId="{3334CAC8-EFC6-41B1-A649-3A9B192E9C39}">
      <dgm:prSet custT="1"/>
      <dgm:spPr>
        <a:xfrm rot="10800000">
          <a:off x="1288532" y="4633389"/>
          <a:ext cx="4230521" cy="891800"/>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pPr>
            <a:buNone/>
          </a:pPr>
          <a:r>
            <a:rPr lang="en-US" sz="2200">
              <a:solidFill>
                <a:srgbClr val="0078D3"/>
              </a:solidFill>
              <a:latin typeface="Segoe UI"/>
              <a:ea typeface="+mn-ea"/>
              <a:cs typeface="+mn-cs"/>
            </a:rPr>
            <a:t>Built-in intelligence </a:t>
          </a:r>
        </a:p>
      </dgm:t>
    </dgm:pt>
    <dgm:pt modelId="{22E9670F-BE66-4BCF-B6F8-D1DE10E15DD3}" type="parTrans" cxnId="{A6413DFA-5D34-42A0-95D0-CB1FE8A5AC36}">
      <dgm:prSet/>
      <dgm:spPr/>
      <dgm:t>
        <a:bodyPr/>
        <a:lstStyle/>
        <a:p>
          <a:endParaRPr lang="en-US"/>
        </a:p>
      </dgm:t>
    </dgm:pt>
    <dgm:pt modelId="{892648E1-AB13-45AB-8022-E964325AA79E}" type="sibTrans" cxnId="{A6413DFA-5D34-42A0-95D0-CB1FE8A5AC36}">
      <dgm:prSet/>
      <dgm:spPr/>
      <dgm:t>
        <a:bodyPr/>
        <a:lstStyle/>
        <a:p>
          <a:endParaRPr lang="en-US"/>
        </a:p>
      </dgm:t>
    </dgm:pt>
    <dgm:pt modelId="{B79FAAB3-CD59-45C9-9C12-04EA7741BDDE}" type="pres">
      <dgm:prSet presAssocID="{1B3BE46B-A19B-4F11-BB45-D1B8A9B86EB8}" presName="linearFlow" presStyleCnt="0">
        <dgm:presLayoutVars>
          <dgm:dir/>
          <dgm:resizeHandles val="exact"/>
        </dgm:presLayoutVars>
      </dgm:prSet>
      <dgm:spPr/>
    </dgm:pt>
    <dgm:pt modelId="{F4DA9F5D-39CB-4010-A95A-53569376CB69}" type="pres">
      <dgm:prSet presAssocID="{DA131F33-DFFA-46C4-AAA6-38F01DC60666}" presName="composite" presStyleCnt="0"/>
      <dgm:spPr/>
    </dgm:pt>
    <dgm:pt modelId="{8EEAA515-DE0C-417B-8AE4-56602B493D00}" type="pres">
      <dgm:prSet presAssocID="{DA131F33-DFFA-46C4-AAA6-38F01DC60666}" presName="imgShp" presStyleLbl="fgImgPlace1" presStyleIdx="0" presStyleCnt="5"/>
      <dgm:spPr>
        <a:xfrm>
          <a:off x="842632" y="1348"/>
          <a:ext cx="891800" cy="891800"/>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26558B34-56F0-4AE9-938F-6A875C9760BC}" type="pres">
      <dgm:prSet presAssocID="{DA131F33-DFFA-46C4-AAA6-38F01DC60666}" presName="txShp" presStyleLbl="node1" presStyleIdx="0" presStyleCnt="5">
        <dgm:presLayoutVars>
          <dgm:bulletEnabled val="1"/>
        </dgm:presLayoutVars>
      </dgm:prSet>
      <dgm:spPr/>
    </dgm:pt>
    <dgm:pt modelId="{0EE49838-8499-4B89-85FC-ABD868EF03D3}" type="pres">
      <dgm:prSet presAssocID="{AF523B2B-9169-485E-83E5-266383E49094}" presName="spacing" presStyleCnt="0"/>
      <dgm:spPr/>
    </dgm:pt>
    <dgm:pt modelId="{F310B284-C09D-46B0-A0ED-F6A0DF33C55E}" type="pres">
      <dgm:prSet presAssocID="{D3257210-B71E-41C9-9321-07B6A056AE6C}" presName="composite" presStyleCnt="0"/>
      <dgm:spPr/>
    </dgm:pt>
    <dgm:pt modelId="{57467DF1-65E3-4D4B-9DC9-5B6E7524E660}" type="pres">
      <dgm:prSet presAssocID="{D3257210-B71E-41C9-9321-07B6A056AE6C}" presName="imgShp" presStyleLbl="fgImgPlace1" presStyleIdx="1" presStyleCnt="5"/>
      <dgm:spPr>
        <a:xfrm>
          <a:off x="842632" y="1159358"/>
          <a:ext cx="891800" cy="891800"/>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FB6994A9-E245-4ABF-9030-99F23660AF0D}" type="pres">
      <dgm:prSet presAssocID="{D3257210-B71E-41C9-9321-07B6A056AE6C}" presName="txShp" presStyleLbl="node1" presStyleIdx="1" presStyleCnt="5">
        <dgm:presLayoutVars>
          <dgm:bulletEnabled val="1"/>
        </dgm:presLayoutVars>
      </dgm:prSet>
      <dgm:spPr/>
    </dgm:pt>
    <dgm:pt modelId="{383AA9AA-E6DF-4D5C-9E99-9F2270D2C159}" type="pres">
      <dgm:prSet presAssocID="{14EA8E44-FFC2-4632-9102-DFDC23913E2A}" presName="spacing" presStyleCnt="0"/>
      <dgm:spPr/>
    </dgm:pt>
    <dgm:pt modelId="{839560C7-9114-466D-9AFA-5F66AC33B712}" type="pres">
      <dgm:prSet presAssocID="{3B9370C5-77CF-41A2-8E44-072D14861493}" presName="composite" presStyleCnt="0"/>
      <dgm:spPr/>
    </dgm:pt>
    <dgm:pt modelId="{601BFC33-FE3A-4BDE-88FE-493B6E1B6FB3}" type="pres">
      <dgm:prSet presAssocID="{3B9370C5-77CF-41A2-8E44-072D14861493}" presName="imgShp" presStyleLbl="fgImgPlace1" presStyleIdx="2" presStyleCnt="5"/>
      <dgm:spPr>
        <a:xfrm>
          <a:off x="842632" y="2317369"/>
          <a:ext cx="891800" cy="891800"/>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A3AC942A-802A-45B5-884A-20C804D0F3E0}" type="pres">
      <dgm:prSet presAssocID="{3B9370C5-77CF-41A2-8E44-072D14861493}" presName="txShp" presStyleLbl="node1" presStyleIdx="2" presStyleCnt="5">
        <dgm:presLayoutVars>
          <dgm:bulletEnabled val="1"/>
        </dgm:presLayoutVars>
      </dgm:prSet>
      <dgm:spPr/>
    </dgm:pt>
    <dgm:pt modelId="{A5D998E6-5119-49B2-8308-711DB539B232}" type="pres">
      <dgm:prSet presAssocID="{B836A885-1BAA-4A21-A1AC-991B5740C1B2}" presName="spacing" presStyleCnt="0"/>
      <dgm:spPr/>
    </dgm:pt>
    <dgm:pt modelId="{B939AFB1-E72A-4AE2-A6C6-0330A1284A60}" type="pres">
      <dgm:prSet presAssocID="{46F07AC1-BECC-44B1-A6B3-88BF3467DDCC}" presName="composite" presStyleCnt="0"/>
      <dgm:spPr/>
    </dgm:pt>
    <dgm:pt modelId="{6039329E-4295-499A-B0FF-8DFA17283B09}" type="pres">
      <dgm:prSet presAssocID="{46F07AC1-BECC-44B1-A6B3-88BF3467DDCC}" presName="imgShp" presStyleLbl="fgImgPlace1" presStyleIdx="3" presStyleCnt="5"/>
      <dgm:spPr>
        <a:xfrm>
          <a:off x="842632" y="3475379"/>
          <a:ext cx="891800" cy="891800"/>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B401C2C9-567B-48BC-B477-898F0A169C0B}" type="pres">
      <dgm:prSet presAssocID="{46F07AC1-BECC-44B1-A6B3-88BF3467DDCC}" presName="txShp" presStyleLbl="node1" presStyleIdx="3" presStyleCnt="5">
        <dgm:presLayoutVars>
          <dgm:bulletEnabled val="1"/>
        </dgm:presLayoutVars>
      </dgm:prSet>
      <dgm:spPr/>
    </dgm:pt>
    <dgm:pt modelId="{9665675D-0A69-4B7B-A4DF-10CBF8512707}" type="pres">
      <dgm:prSet presAssocID="{A205A3F0-37A1-4912-BF90-B2013C965F52}" presName="spacing" presStyleCnt="0"/>
      <dgm:spPr/>
    </dgm:pt>
    <dgm:pt modelId="{12EC4F81-F54C-49D6-B068-827B7A4F8EE2}" type="pres">
      <dgm:prSet presAssocID="{3334CAC8-EFC6-41B1-A649-3A9B192E9C39}" presName="composite" presStyleCnt="0"/>
      <dgm:spPr/>
    </dgm:pt>
    <dgm:pt modelId="{E76C1DF1-CC82-4F91-972B-D91FC56976CE}" type="pres">
      <dgm:prSet presAssocID="{3334CAC8-EFC6-41B1-A649-3A9B192E9C39}" presName="imgShp" presStyleLbl="fgImgPlace1" presStyleIdx="4" presStyleCnt="5"/>
      <dgm:spPr>
        <a:xfrm>
          <a:off x="842632" y="4633389"/>
          <a:ext cx="891800" cy="891800"/>
        </a:xfrm>
        <a:prstGeom prst="ellipse">
          <a:avLst/>
        </a:prstGeom>
        <a:solidFill>
          <a:srgbClr val="FFFFFF">
            <a:lumMod val="95000"/>
          </a:srgbClr>
        </a:solidFill>
        <a:ln w="10795" cap="flat" cmpd="sng" algn="ctr">
          <a:solidFill>
            <a:srgbClr val="FFFFFF">
              <a:hueOff val="0"/>
              <a:satOff val="0"/>
              <a:lumOff val="0"/>
              <a:alphaOff val="0"/>
            </a:srgbClr>
          </a:solidFill>
          <a:prstDash val="solid"/>
        </a:ln>
        <a:effectLst/>
      </dgm:spPr>
    </dgm:pt>
    <dgm:pt modelId="{FD7CE52F-A999-4391-8104-68A25F268DDA}" type="pres">
      <dgm:prSet presAssocID="{3334CAC8-EFC6-41B1-A649-3A9B192E9C39}" presName="txShp" presStyleLbl="node1" presStyleIdx="4" presStyleCnt="5">
        <dgm:presLayoutVars>
          <dgm:bulletEnabled val="1"/>
        </dgm:presLayoutVars>
      </dgm:prSet>
      <dgm:spPr/>
    </dgm:pt>
  </dgm:ptLst>
  <dgm:cxnLst>
    <dgm:cxn modelId="{82D1BA07-F9BC-4660-ACF0-C30C383DF162}" srcId="{1B3BE46B-A19B-4F11-BB45-D1B8A9B86EB8}" destId="{DA131F33-DFFA-46C4-AAA6-38F01DC60666}" srcOrd="0" destOrd="0" parTransId="{175E0962-2A1E-4153-A873-DBFFEE8B3C61}" sibTransId="{AF523B2B-9169-485E-83E5-266383E49094}"/>
    <dgm:cxn modelId="{B2D2C021-285D-4AD0-AB96-5BFAEB786B40}" srcId="{1B3BE46B-A19B-4F11-BB45-D1B8A9B86EB8}" destId="{D3257210-B71E-41C9-9321-07B6A056AE6C}" srcOrd="1" destOrd="0" parTransId="{C2EF50E9-D02F-4C8B-8240-A2D00DA47E3C}" sibTransId="{14EA8E44-FFC2-4632-9102-DFDC23913E2A}"/>
    <dgm:cxn modelId="{1DEFC424-9657-4C4E-AB21-BCDA7DF8C3A6}" srcId="{1B3BE46B-A19B-4F11-BB45-D1B8A9B86EB8}" destId="{3B9370C5-77CF-41A2-8E44-072D14861493}" srcOrd="2" destOrd="0" parTransId="{22EC8849-B74E-4081-99BC-4BB36E196640}" sibTransId="{B836A885-1BAA-4A21-A1AC-991B5740C1B2}"/>
    <dgm:cxn modelId="{12EC2B35-862F-4330-8386-1AD52CDBD810}" type="presOf" srcId="{1B3BE46B-A19B-4F11-BB45-D1B8A9B86EB8}" destId="{B79FAAB3-CD59-45C9-9C12-04EA7741BDDE}" srcOrd="0" destOrd="0" presId="urn:microsoft.com/office/officeart/2005/8/layout/vList3"/>
    <dgm:cxn modelId="{1E0A5068-6E02-45A7-B3CC-04D8FE4D11B9}" srcId="{1B3BE46B-A19B-4F11-BB45-D1B8A9B86EB8}" destId="{46F07AC1-BECC-44B1-A6B3-88BF3467DDCC}" srcOrd="3" destOrd="0" parTransId="{059AA75E-6E27-4BB6-B19B-6F52F606010A}" sibTransId="{A205A3F0-37A1-4912-BF90-B2013C965F52}"/>
    <dgm:cxn modelId="{56294D4F-4988-477A-B1DF-956703877402}" type="presOf" srcId="{3334CAC8-EFC6-41B1-A649-3A9B192E9C39}" destId="{FD7CE52F-A999-4391-8104-68A25F268DDA}" srcOrd="0" destOrd="0" presId="urn:microsoft.com/office/officeart/2005/8/layout/vList3"/>
    <dgm:cxn modelId="{1BD35070-8389-4591-A6A6-A1B02E59C78D}" type="presOf" srcId="{D3257210-B71E-41C9-9321-07B6A056AE6C}" destId="{FB6994A9-E245-4ABF-9030-99F23660AF0D}" srcOrd="0" destOrd="0" presId="urn:microsoft.com/office/officeart/2005/8/layout/vList3"/>
    <dgm:cxn modelId="{BEC20257-2CA7-42DA-9EDD-547D3782BDE7}" type="presOf" srcId="{3B9370C5-77CF-41A2-8E44-072D14861493}" destId="{A3AC942A-802A-45B5-884A-20C804D0F3E0}" srcOrd="0" destOrd="0" presId="urn:microsoft.com/office/officeart/2005/8/layout/vList3"/>
    <dgm:cxn modelId="{93D51382-016E-4532-82EA-495FE9F136EA}" type="presOf" srcId="{DA131F33-DFFA-46C4-AAA6-38F01DC60666}" destId="{26558B34-56F0-4AE9-938F-6A875C9760BC}" srcOrd="0" destOrd="0" presId="urn:microsoft.com/office/officeart/2005/8/layout/vList3"/>
    <dgm:cxn modelId="{DCB9C0AC-EFAD-4B1C-AC7C-2621CFA36360}" type="presOf" srcId="{46F07AC1-BECC-44B1-A6B3-88BF3467DDCC}" destId="{B401C2C9-567B-48BC-B477-898F0A169C0B}" srcOrd="0" destOrd="0" presId="urn:microsoft.com/office/officeart/2005/8/layout/vList3"/>
    <dgm:cxn modelId="{A6413DFA-5D34-42A0-95D0-CB1FE8A5AC36}" srcId="{1B3BE46B-A19B-4F11-BB45-D1B8A9B86EB8}" destId="{3334CAC8-EFC6-41B1-A649-3A9B192E9C39}" srcOrd="4" destOrd="0" parTransId="{22E9670F-BE66-4BCF-B6F8-D1DE10E15DD3}" sibTransId="{892648E1-AB13-45AB-8022-E964325AA79E}"/>
    <dgm:cxn modelId="{4BFAD74F-EAFE-4C69-A6E0-409AC1683274}" type="presParOf" srcId="{B79FAAB3-CD59-45C9-9C12-04EA7741BDDE}" destId="{F4DA9F5D-39CB-4010-A95A-53569376CB69}" srcOrd="0" destOrd="0" presId="urn:microsoft.com/office/officeart/2005/8/layout/vList3"/>
    <dgm:cxn modelId="{4894F24E-8B5D-4F01-B082-35F0976334B8}" type="presParOf" srcId="{F4DA9F5D-39CB-4010-A95A-53569376CB69}" destId="{8EEAA515-DE0C-417B-8AE4-56602B493D00}" srcOrd="0" destOrd="0" presId="urn:microsoft.com/office/officeart/2005/8/layout/vList3"/>
    <dgm:cxn modelId="{6857B80F-73C3-456A-A8FB-ECB5BDB1B2E7}" type="presParOf" srcId="{F4DA9F5D-39CB-4010-A95A-53569376CB69}" destId="{26558B34-56F0-4AE9-938F-6A875C9760BC}" srcOrd="1" destOrd="0" presId="urn:microsoft.com/office/officeart/2005/8/layout/vList3"/>
    <dgm:cxn modelId="{CEB1C6D0-B0F7-46D5-9C6F-6CF2E6DCFB3E}" type="presParOf" srcId="{B79FAAB3-CD59-45C9-9C12-04EA7741BDDE}" destId="{0EE49838-8499-4B89-85FC-ABD868EF03D3}" srcOrd="1" destOrd="0" presId="urn:microsoft.com/office/officeart/2005/8/layout/vList3"/>
    <dgm:cxn modelId="{AA11341E-5C44-4F58-8D20-F5A18E23BFDA}" type="presParOf" srcId="{B79FAAB3-CD59-45C9-9C12-04EA7741BDDE}" destId="{F310B284-C09D-46B0-A0ED-F6A0DF33C55E}" srcOrd="2" destOrd="0" presId="urn:microsoft.com/office/officeart/2005/8/layout/vList3"/>
    <dgm:cxn modelId="{0F621B0A-18D0-493B-873B-BB51B18E7C36}" type="presParOf" srcId="{F310B284-C09D-46B0-A0ED-F6A0DF33C55E}" destId="{57467DF1-65E3-4D4B-9DC9-5B6E7524E660}" srcOrd="0" destOrd="0" presId="urn:microsoft.com/office/officeart/2005/8/layout/vList3"/>
    <dgm:cxn modelId="{33B7350B-9811-4A70-A9C0-9C4D34D5FF91}" type="presParOf" srcId="{F310B284-C09D-46B0-A0ED-F6A0DF33C55E}" destId="{FB6994A9-E245-4ABF-9030-99F23660AF0D}" srcOrd="1" destOrd="0" presId="urn:microsoft.com/office/officeart/2005/8/layout/vList3"/>
    <dgm:cxn modelId="{17A308E5-B968-4E67-9E98-050069825BC2}" type="presParOf" srcId="{B79FAAB3-CD59-45C9-9C12-04EA7741BDDE}" destId="{383AA9AA-E6DF-4D5C-9E99-9F2270D2C159}" srcOrd="3" destOrd="0" presId="urn:microsoft.com/office/officeart/2005/8/layout/vList3"/>
    <dgm:cxn modelId="{D7CCAF1F-B0DF-4FB0-B2D1-43DF325A0B09}" type="presParOf" srcId="{B79FAAB3-CD59-45C9-9C12-04EA7741BDDE}" destId="{839560C7-9114-466D-9AFA-5F66AC33B712}" srcOrd="4" destOrd="0" presId="urn:microsoft.com/office/officeart/2005/8/layout/vList3"/>
    <dgm:cxn modelId="{6E5B41C5-85A3-4007-92E9-C596861F09C1}" type="presParOf" srcId="{839560C7-9114-466D-9AFA-5F66AC33B712}" destId="{601BFC33-FE3A-4BDE-88FE-493B6E1B6FB3}" srcOrd="0" destOrd="0" presId="urn:microsoft.com/office/officeart/2005/8/layout/vList3"/>
    <dgm:cxn modelId="{0E76A610-8AD0-4717-B57B-09D4C4F0127F}" type="presParOf" srcId="{839560C7-9114-466D-9AFA-5F66AC33B712}" destId="{A3AC942A-802A-45B5-884A-20C804D0F3E0}" srcOrd="1" destOrd="0" presId="urn:microsoft.com/office/officeart/2005/8/layout/vList3"/>
    <dgm:cxn modelId="{3005AC8C-927F-4626-9B6F-DAABA5AB3C5D}" type="presParOf" srcId="{B79FAAB3-CD59-45C9-9C12-04EA7741BDDE}" destId="{A5D998E6-5119-49B2-8308-711DB539B232}" srcOrd="5" destOrd="0" presId="urn:microsoft.com/office/officeart/2005/8/layout/vList3"/>
    <dgm:cxn modelId="{113728F2-7E76-4296-AA04-737590103462}" type="presParOf" srcId="{B79FAAB3-CD59-45C9-9C12-04EA7741BDDE}" destId="{B939AFB1-E72A-4AE2-A6C6-0330A1284A60}" srcOrd="6" destOrd="0" presId="urn:microsoft.com/office/officeart/2005/8/layout/vList3"/>
    <dgm:cxn modelId="{D97B5B99-6B1B-43AA-AFE5-1F077F9BA711}" type="presParOf" srcId="{B939AFB1-E72A-4AE2-A6C6-0330A1284A60}" destId="{6039329E-4295-499A-B0FF-8DFA17283B09}" srcOrd="0" destOrd="0" presId="urn:microsoft.com/office/officeart/2005/8/layout/vList3"/>
    <dgm:cxn modelId="{BD9F9A16-78CC-466D-8B96-3784DE848687}" type="presParOf" srcId="{B939AFB1-E72A-4AE2-A6C6-0330A1284A60}" destId="{B401C2C9-567B-48BC-B477-898F0A169C0B}" srcOrd="1" destOrd="0" presId="urn:microsoft.com/office/officeart/2005/8/layout/vList3"/>
    <dgm:cxn modelId="{B151F888-D205-44C2-B3F3-13E0BE5B7065}" type="presParOf" srcId="{B79FAAB3-CD59-45C9-9C12-04EA7741BDDE}" destId="{9665675D-0A69-4B7B-A4DF-10CBF8512707}" srcOrd="7" destOrd="0" presId="urn:microsoft.com/office/officeart/2005/8/layout/vList3"/>
    <dgm:cxn modelId="{DCAFEC2D-4AFE-40DC-99A7-024C7D844F2B}" type="presParOf" srcId="{B79FAAB3-CD59-45C9-9C12-04EA7741BDDE}" destId="{12EC4F81-F54C-49D6-B068-827B7A4F8EE2}" srcOrd="8" destOrd="0" presId="urn:microsoft.com/office/officeart/2005/8/layout/vList3"/>
    <dgm:cxn modelId="{78BA005E-AC11-4CAD-8639-DA66945F2843}" type="presParOf" srcId="{12EC4F81-F54C-49D6-B068-827B7A4F8EE2}" destId="{E76C1DF1-CC82-4F91-972B-D91FC56976CE}" srcOrd="0" destOrd="0" presId="urn:microsoft.com/office/officeart/2005/8/layout/vList3"/>
    <dgm:cxn modelId="{DC0AB88A-FCCF-4F42-90E4-00AE28DE4DBA}" type="presParOf" srcId="{12EC4F81-F54C-49D6-B068-827B7A4F8EE2}" destId="{FD7CE52F-A999-4391-8104-68A25F268DDA}"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655816CF-4C4E-4883-9C59-AC37AC927B67}" type="doc">
      <dgm:prSet loTypeId="urn:microsoft.com/office/officeart/2005/8/layout/matrix3" loCatId="matrix" qsTypeId="urn:microsoft.com/office/officeart/2005/8/quickstyle/simple1" qsCatId="simple" csTypeId="urn:microsoft.com/office/officeart/2005/8/colors/accent0_3" csCatId="mainScheme"/>
      <dgm:spPr/>
      <dgm:t>
        <a:bodyPr/>
        <a:lstStyle/>
        <a:p>
          <a:endParaRPr lang="en-US"/>
        </a:p>
      </dgm:t>
    </dgm:pt>
    <dgm:pt modelId="{AD42EA72-6692-4817-A204-12E2DF1AB16F}">
      <dgm:prSet/>
      <dgm:spPr/>
      <dgm:t>
        <a:bodyPr/>
        <a:lstStyle/>
        <a:p>
          <a:r>
            <a:rPr lang="en-US" baseline="0"/>
            <a:t>Seamless hybrid deployment with integrated data synchronization.</a:t>
          </a:r>
          <a:endParaRPr lang="en-US"/>
        </a:p>
      </dgm:t>
    </dgm:pt>
    <dgm:pt modelId="{4B019D71-C8E5-42C1-BDCB-6AA0D90F923C}" type="parTrans" cxnId="{838814EA-28C8-4490-A543-DA16464EAAD7}">
      <dgm:prSet/>
      <dgm:spPr/>
      <dgm:t>
        <a:bodyPr/>
        <a:lstStyle/>
        <a:p>
          <a:endParaRPr lang="en-US"/>
        </a:p>
      </dgm:t>
    </dgm:pt>
    <dgm:pt modelId="{A7E55453-55BC-4221-BFDF-6B286236E7DD}" type="sibTrans" cxnId="{838814EA-28C8-4490-A543-DA16464EAAD7}">
      <dgm:prSet/>
      <dgm:spPr/>
      <dgm:t>
        <a:bodyPr/>
        <a:lstStyle/>
        <a:p>
          <a:endParaRPr lang="en-US"/>
        </a:p>
      </dgm:t>
    </dgm:pt>
    <dgm:pt modelId="{E861A12E-5FBE-4A23-A12A-6C5A77C015B1}">
      <dgm:prSet/>
      <dgm:spPr/>
      <dgm:t>
        <a:bodyPr/>
        <a:lstStyle/>
        <a:p>
          <a:r>
            <a:rPr lang="en-US" baseline="0"/>
            <a:t>Reliable migration at scale.</a:t>
          </a:r>
          <a:endParaRPr lang="en-US"/>
        </a:p>
      </dgm:t>
    </dgm:pt>
    <dgm:pt modelId="{84A30488-66DF-42BE-94D9-41C8265650EA}" type="parTrans" cxnId="{24B892BB-DE5C-4D24-83EE-D8943A36264A}">
      <dgm:prSet/>
      <dgm:spPr/>
      <dgm:t>
        <a:bodyPr/>
        <a:lstStyle/>
        <a:p>
          <a:endParaRPr lang="en-US"/>
        </a:p>
      </dgm:t>
    </dgm:pt>
    <dgm:pt modelId="{5A4562AE-8C8C-481D-9ACD-BC08C8263AEC}" type="sibTrans" cxnId="{24B892BB-DE5C-4D24-83EE-D8943A36264A}">
      <dgm:prSet/>
      <dgm:spPr/>
      <dgm:t>
        <a:bodyPr/>
        <a:lstStyle/>
        <a:p>
          <a:endParaRPr lang="en-US"/>
        </a:p>
      </dgm:t>
    </dgm:pt>
    <dgm:pt modelId="{EC10D2E5-C1EF-48F5-80DE-868C2475AB9E}">
      <dgm:prSet/>
      <dgm:spPr/>
      <dgm:t>
        <a:bodyPr/>
        <a:lstStyle/>
        <a:p>
          <a:r>
            <a:rPr lang="en-US" baseline="0"/>
            <a:t>Lift and shift to the cloud with </a:t>
          </a:r>
          <a:br>
            <a:rPr lang="en-US" baseline="0"/>
          </a:br>
          <a:r>
            <a:rPr lang="en-US" baseline="0"/>
            <a:t>no code changes.</a:t>
          </a:r>
          <a:endParaRPr lang="en-US"/>
        </a:p>
      </dgm:t>
    </dgm:pt>
    <dgm:pt modelId="{02D18800-CBAA-4915-8EF0-8E8DE8D44D93}" type="parTrans" cxnId="{9D39B8D3-82AE-408E-8999-691E4E4C7C5E}">
      <dgm:prSet/>
      <dgm:spPr/>
      <dgm:t>
        <a:bodyPr/>
        <a:lstStyle/>
        <a:p>
          <a:endParaRPr lang="en-US"/>
        </a:p>
      </dgm:t>
    </dgm:pt>
    <dgm:pt modelId="{1C2E9C13-711F-4CBE-AD41-5EABC8A07BE4}" type="sibTrans" cxnId="{9D39B8D3-82AE-408E-8999-691E4E4C7C5E}">
      <dgm:prSet/>
      <dgm:spPr/>
      <dgm:t>
        <a:bodyPr/>
        <a:lstStyle/>
        <a:p>
          <a:endParaRPr lang="en-US"/>
        </a:p>
      </dgm:t>
    </dgm:pt>
    <dgm:pt modelId="{6AB47A89-1B91-44F5-A8BA-EA32D3ECB594}">
      <dgm:prSet/>
      <dgm:spPr/>
      <dgm:t>
        <a:bodyPr/>
        <a:lstStyle/>
        <a:p>
          <a:r>
            <a:rPr lang="en-US" baseline="0"/>
            <a:t>Up to 55% cost savings.</a:t>
          </a:r>
          <a:endParaRPr lang="en-US"/>
        </a:p>
      </dgm:t>
    </dgm:pt>
    <dgm:pt modelId="{5BA5C52F-9106-4543-9CCA-0ED8EC939A1D}" type="parTrans" cxnId="{695593FB-338E-4742-AD84-652CAB3FB1F8}">
      <dgm:prSet/>
      <dgm:spPr/>
      <dgm:t>
        <a:bodyPr/>
        <a:lstStyle/>
        <a:p>
          <a:endParaRPr lang="en-US"/>
        </a:p>
      </dgm:t>
    </dgm:pt>
    <dgm:pt modelId="{792D685E-6A79-4D12-8A28-A9C8DCF9C00F}" type="sibTrans" cxnId="{695593FB-338E-4742-AD84-652CAB3FB1F8}">
      <dgm:prSet/>
      <dgm:spPr/>
      <dgm:t>
        <a:bodyPr/>
        <a:lstStyle/>
        <a:p>
          <a:endParaRPr lang="en-US"/>
        </a:p>
      </dgm:t>
    </dgm:pt>
    <dgm:pt modelId="{A4F5C103-D56E-425C-8FE0-F52469422E24}" type="pres">
      <dgm:prSet presAssocID="{655816CF-4C4E-4883-9C59-AC37AC927B67}" presName="matrix" presStyleCnt="0">
        <dgm:presLayoutVars>
          <dgm:chMax val="1"/>
          <dgm:dir/>
          <dgm:resizeHandles val="exact"/>
        </dgm:presLayoutVars>
      </dgm:prSet>
      <dgm:spPr/>
    </dgm:pt>
    <dgm:pt modelId="{7684624F-D552-45D7-93F4-025C1FF58D04}" type="pres">
      <dgm:prSet presAssocID="{655816CF-4C4E-4883-9C59-AC37AC927B67}" presName="diamond" presStyleLbl="bgShp" presStyleIdx="0" presStyleCnt="1"/>
      <dgm:spPr/>
    </dgm:pt>
    <dgm:pt modelId="{B213A1CE-B32B-49B4-8D4F-BBE8D8EE6053}" type="pres">
      <dgm:prSet presAssocID="{655816CF-4C4E-4883-9C59-AC37AC927B67}" presName="quad1" presStyleLbl="node1" presStyleIdx="0" presStyleCnt="4">
        <dgm:presLayoutVars>
          <dgm:chMax val="0"/>
          <dgm:chPref val="0"/>
          <dgm:bulletEnabled val="1"/>
        </dgm:presLayoutVars>
      </dgm:prSet>
      <dgm:spPr/>
    </dgm:pt>
    <dgm:pt modelId="{06BE4055-5533-4CC0-AF0C-5D412FA334CD}" type="pres">
      <dgm:prSet presAssocID="{655816CF-4C4E-4883-9C59-AC37AC927B67}" presName="quad2" presStyleLbl="node1" presStyleIdx="1" presStyleCnt="4">
        <dgm:presLayoutVars>
          <dgm:chMax val="0"/>
          <dgm:chPref val="0"/>
          <dgm:bulletEnabled val="1"/>
        </dgm:presLayoutVars>
      </dgm:prSet>
      <dgm:spPr/>
    </dgm:pt>
    <dgm:pt modelId="{DBFE9820-AD82-42E1-B640-57D4B192E18A}" type="pres">
      <dgm:prSet presAssocID="{655816CF-4C4E-4883-9C59-AC37AC927B67}" presName="quad3" presStyleLbl="node1" presStyleIdx="2" presStyleCnt="4">
        <dgm:presLayoutVars>
          <dgm:chMax val="0"/>
          <dgm:chPref val="0"/>
          <dgm:bulletEnabled val="1"/>
        </dgm:presLayoutVars>
      </dgm:prSet>
      <dgm:spPr/>
    </dgm:pt>
    <dgm:pt modelId="{9E916831-F3F9-45C2-871B-C73E4CACE838}" type="pres">
      <dgm:prSet presAssocID="{655816CF-4C4E-4883-9C59-AC37AC927B67}" presName="quad4" presStyleLbl="node1" presStyleIdx="3" presStyleCnt="4">
        <dgm:presLayoutVars>
          <dgm:chMax val="0"/>
          <dgm:chPref val="0"/>
          <dgm:bulletEnabled val="1"/>
        </dgm:presLayoutVars>
      </dgm:prSet>
      <dgm:spPr/>
    </dgm:pt>
  </dgm:ptLst>
  <dgm:cxnLst>
    <dgm:cxn modelId="{2FFF9703-C5CF-4A65-8032-CBD6224AA285}" type="presOf" srcId="{EC10D2E5-C1EF-48F5-80DE-868C2475AB9E}" destId="{DBFE9820-AD82-42E1-B640-57D4B192E18A}" srcOrd="0" destOrd="0" presId="urn:microsoft.com/office/officeart/2005/8/layout/matrix3"/>
    <dgm:cxn modelId="{E0089566-90BA-4130-8C80-760DF13A8AA6}" type="presOf" srcId="{E861A12E-5FBE-4A23-A12A-6C5A77C015B1}" destId="{06BE4055-5533-4CC0-AF0C-5D412FA334CD}" srcOrd="0" destOrd="0" presId="urn:microsoft.com/office/officeart/2005/8/layout/matrix3"/>
    <dgm:cxn modelId="{9894AF8F-21DE-4A5A-A002-E2AA15F3D1AC}" type="presOf" srcId="{655816CF-4C4E-4883-9C59-AC37AC927B67}" destId="{A4F5C103-D56E-425C-8FE0-F52469422E24}" srcOrd="0" destOrd="0" presId="urn:microsoft.com/office/officeart/2005/8/layout/matrix3"/>
    <dgm:cxn modelId="{4EDF6AAA-2859-4844-B945-1D3EF97A53F1}" type="presOf" srcId="{6AB47A89-1B91-44F5-A8BA-EA32D3ECB594}" destId="{9E916831-F3F9-45C2-871B-C73E4CACE838}" srcOrd="0" destOrd="0" presId="urn:microsoft.com/office/officeart/2005/8/layout/matrix3"/>
    <dgm:cxn modelId="{24B892BB-DE5C-4D24-83EE-D8943A36264A}" srcId="{655816CF-4C4E-4883-9C59-AC37AC927B67}" destId="{E861A12E-5FBE-4A23-A12A-6C5A77C015B1}" srcOrd="1" destOrd="0" parTransId="{84A30488-66DF-42BE-94D9-41C8265650EA}" sibTransId="{5A4562AE-8C8C-481D-9ACD-BC08C8263AEC}"/>
    <dgm:cxn modelId="{9D39B8D3-82AE-408E-8999-691E4E4C7C5E}" srcId="{655816CF-4C4E-4883-9C59-AC37AC927B67}" destId="{EC10D2E5-C1EF-48F5-80DE-868C2475AB9E}" srcOrd="2" destOrd="0" parTransId="{02D18800-CBAA-4915-8EF0-8E8DE8D44D93}" sibTransId="{1C2E9C13-711F-4CBE-AD41-5EABC8A07BE4}"/>
    <dgm:cxn modelId="{532D29D6-BCBB-4B41-AAD6-953A4288212A}" type="presOf" srcId="{AD42EA72-6692-4817-A204-12E2DF1AB16F}" destId="{B213A1CE-B32B-49B4-8D4F-BBE8D8EE6053}" srcOrd="0" destOrd="0" presId="urn:microsoft.com/office/officeart/2005/8/layout/matrix3"/>
    <dgm:cxn modelId="{838814EA-28C8-4490-A543-DA16464EAAD7}" srcId="{655816CF-4C4E-4883-9C59-AC37AC927B67}" destId="{AD42EA72-6692-4817-A204-12E2DF1AB16F}" srcOrd="0" destOrd="0" parTransId="{4B019D71-C8E5-42C1-BDCB-6AA0D90F923C}" sibTransId="{A7E55453-55BC-4221-BFDF-6B286236E7DD}"/>
    <dgm:cxn modelId="{695593FB-338E-4742-AD84-652CAB3FB1F8}" srcId="{655816CF-4C4E-4883-9C59-AC37AC927B67}" destId="{6AB47A89-1B91-44F5-A8BA-EA32D3ECB594}" srcOrd="3" destOrd="0" parTransId="{5BA5C52F-9106-4543-9CCA-0ED8EC939A1D}" sibTransId="{792D685E-6A79-4D12-8A28-A9C8DCF9C00F}"/>
    <dgm:cxn modelId="{25A8C3C1-674C-42DC-B029-B1E8FBEA847B}" type="presParOf" srcId="{A4F5C103-D56E-425C-8FE0-F52469422E24}" destId="{7684624F-D552-45D7-93F4-025C1FF58D04}" srcOrd="0" destOrd="0" presId="urn:microsoft.com/office/officeart/2005/8/layout/matrix3"/>
    <dgm:cxn modelId="{F0490894-D1DD-4BC5-8B10-F718003AFB60}" type="presParOf" srcId="{A4F5C103-D56E-425C-8FE0-F52469422E24}" destId="{B213A1CE-B32B-49B4-8D4F-BBE8D8EE6053}" srcOrd="1" destOrd="0" presId="urn:microsoft.com/office/officeart/2005/8/layout/matrix3"/>
    <dgm:cxn modelId="{6BD71B8E-4E50-4DB3-ACB2-FC84B9D47E02}" type="presParOf" srcId="{A4F5C103-D56E-425C-8FE0-F52469422E24}" destId="{06BE4055-5533-4CC0-AF0C-5D412FA334CD}" srcOrd="2" destOrd="0" presId="urn:microsoft.com/office/officeart/2005/8/layout/matrix3"/>
    <dgm:cxn modelId="{A294545A-1B18-4944-8CF5-7F575A404163}" type="presParOf" srcId="{A4F5C103-D56E-425C-8FE0-F52469422E24}" destId="{DBFE9820-AD82-42E1-B640-57D4B192E18A}" srcOrd="3" destOrd="0" presId="urn:microsoft.com/office/officeart/2005/8/layout/matrix3"/>
    <dgm:cxn modelId="{B626F1A4-8CEB-48A8-9606-42E1C22F51FD}" type="presParOf" srcId="{A4F5C103-D56E-425C-8FE0-F52469422E24}" destId="{9E916831-F3F9-45C2-871B-C73E4CACE838}"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F0EA422-7A1F-4EAA-BCA4-5E5F36D17577}" type="doc">
      <dgm:prSet loTypeId="urn:microsoft.com/office/officeart/2005/8/layout/lProcess2" loCatId="list" qsTypeId="urn:microsoft.com/office/officeart/2005/8/quickstyle/simple1" qsCatId="simple" csTypeId="urn:microsoft.com/office/officeart/2005/8/colors/accent0_3" csCatId="mainScheme" phldr="1"/>
      <dgm:spPr/>
      <dgm:t>
        <a:bodyPr/>
        <a:lstStyle/>
        <a:p>
          <a:endParaRPr lang="en-US"/>
        </a:p>
      </dgm:t>
    </dgm:pt>
    <dgm:pt modelId="{9260BBB4-79F6-40AB-902E-325015DFDE31}">
      <dgm:prSet custT="1"/>
      <dgm:spPr/>
      <dgm:t>
        <a:bodyPr/>
        <a:lstStyle/>
        <a:p>
          <a:r>
            <a:rPr lang="en-US" sz="2000" baseline="0"/>
            <a:t>I want a Virtual Machine</a:t>
          </a:r>
          <a:endParaRPr lang="en-US" sz="2000"/>
        </a:p>
      </dgm:t>
    </dgm:pt>
    <dgm:pt modelId="{C08E79CE-FF3B-4AB1-A6EA-2008EE6DA0A8}" type="parTrans" cxnId="{F686F381-2E67-4E8D-A157-B9D938B71635}">
      <dgm:prSet/>
      <dgm:spPr/>
      <dgm:t>
        <a:bodyPr/>
        <a:lstStyle/>
        <a:p>
          <a:endParaRPr lang="en-US"/>
        </a:p>
      </dgm:t>
    </dgm:pt>
    <dgm:pt modelId="{65F3E32D-814F-42AC-9942-11647788E88F}" type="sibTrans" cxnId="{F686F381-2E67-4E8D-A157-B9D938B71635}">
      <dgm:prSet/>
      <dgm:spPr/>
      <dgm:t>
        <a:bodyPr/>
        <a:lstStyle/>
        <a:p>
          <a:endParaRPr lang="en-US"/>
        </a:p>
      </dgm:t>
    </dgm:pt>
    <dgm:pt modelId="{5DE85D09-C5D6-42AC-A0A7-9DD1C05BBF03}">
      <dgm:prSet custT="1"/>
      <dgm:spPr/>
      <dgm:t>
        <a:bodyPr/>
        <a:lstStyle/>
        <a:p>
          <a:r>
            <a:rPr lang="en-US" sz="2000"/>
            <a:t>I want a SQL Server</a:t>
          </a:r>
        </a:p>
      </dgm:t>
    </dgm:pt>
    <dgm:pt modelId="{187B1633-8A03-45F2-9BC7-FC63DD57AA19}" type="parTrans" cxnId="{833E831D-F18B-4ABE-B26A-11C4EFAD8A74}">
      <dgm:prSet/>
      <dgm:spPr/>
      <dgm:t>
        <a:bodyPr/>
        <a:lstStyle/>
        <a:p>
          <a:endParaRPr lang="en-US"/>
        </a:p>
      </dgm:t>
    </dgm:pt>
    <dgm:pt modelId="{BF178ECD-807C-4194-A0BC-F3D0E6B42DBC}" type="sibTrans" cxnId="{833E831D-F18B-4ABE-B26A-11C4EFAD8A74}">
      <dgm:prSet/>
      <dgm:spPr/>
      <dgm:t>
        <a:bodyPr/>
        <a:lstStyle/>
        <a:p>
          <a:endParaRPr lang="en-US"/>
        </a:p>
      </dgm:t>
    </dgm:pt>
    <dgm:pt modelId="{9140CDD8-64A7-4D47-9EA4-E6C339248F20}">
      <dgm:prSet/>
      <dgm:spPr/>
      <dgm:t>
        <a:bodyPr/>
        <a:lstStyle/>
        <a:p>
          <a:r>
            <a:rPr lang="en-US"/>
            <a:t>Azure manages the hardware</a:t>
          </a:r>
        </a:p>
      </dgm:t>
    </dgm:pt>
    <dgm:pt modelId="{55ECD76B-EFAE-4722-86CF-22991DB2751A}" type="parTrans" cxnId="{4C9CC574-6CFB-4F77-BC6E-5BFF91DAFB39}">
      <dgm:prSet/>
      <dgm:spPr/>
      <dgm:t>
        <a:bodyPr/>
        <a:lstStyle/>
        <a:p>
          <a:endParaRPr lang="en-US"/>
        </a:p>
      </dgm:t>
    </dgm:pt>
    <dgm:pt modelId="{7C978BBA-785C-4E83-9159-7E1C3E832ACC}" type="sibTrans" cxnId="{4C9CC574-6CFB-4F77-BC6E-5BFF91DAFB39}">
      <dgm:prSet/>
      <dgm:spPr/>
      <dgm:t>
        <a:bodyPr/>
        <a:lstStyle/>
        <a:p>
          <a:endParaRPr lang="en-US"/>
        </a:p>
      </dgm:t>
    </dgm:pt>
    <dgm:pt modelId="{8FECA451-CA0E-494B-BBC9-15D06161B8E9}">
      <dgm:prSet/>
      <dgm:spPr/>
      <dgm:t>
        <a:bodyPr/>
        <a:lstStyle/>
        <a:p>
          <a:r>
            <a:rPr lang="en-US"/>
            <a:t>You own monitoring and HADR</a:t>
          </a:r>
        </a:p>
      </dgm:t>
    </dgm:pt>
    <dgm:pt modelId="{5ABC23B1-DA6E-48F9-BFAB-E0A654C40C8B}" type="parTrans" cxnId="{F565FFE6-100B-4461-A034-BE806807DF4D}">
      <dgm:prSet/>
      <dgm:spPr/>
      <dgm:t>
        <a:bodyPr/>
        <a:lstStyle/>
        <a:p>
          <a:endParaRPr lang="en-US"/>
        </a:p>
      </dgm:t>
    </dgm:pt>
    <dgm:pt modelId="{32027BC9-D1F5-4A41-860C-69EAA3A6C0E9}" type="sibTrans" cxnId="{F565FFE6-100B-4461-A034-BE806807DF4D}">
      <dgm:prSet/>
      <dgm:spPr/>
      <dgm:t>
        <a:bodyPr/>
        <a:lstStyle/>
        <a:p>
          <a:endParaRPr lang="en-US"/>
        </a:p>
      </dgm:t>
    </dgm:pt>
    <dgm:pt modelId="{9E711432-04B5-4349-94B7-9C3C128B8B17}">
      <dgm:prSet custT="1"/>
      <dgm:spPr/>
      <dgm:t>
        <a:bodyPr/>
        <a:lstStyle/>
        <a:p>
          <a:r>
            <a:rPr lang="en-US" sz="2000" dirty="0"/>
            <a:t>I want a database</a:t>
          </a:r>
        </a:p>
      </dgm:t>
    </dgm:pt>
    <dgm:pt modelId="{9709BC47-A4CB-4B5A-8E68-19CE41EB0530}" type="parTrans" cxnId="{93AA514E-A64A-4CB6-8BAA-67446A92749B}">
      <dgm:prSet/>
      <dgm:spPr/>
      <dgm:t>
        <a:bodyPr/>
        <a:lstStyle/>
        <a:p>
          <a:endParaRPr lang="en-US"/>
        </a:p>
      </dgm:t>
    </dgm:pt>
    <dgm:pt modelId="{B9794532-E4A1-4715-9526-C6D81EC0CF3F}" type="sibTrans" cxnId="{93AA514E-A64A-4CB6-8BAA-67446A92749B}">
      <dgm:prSet/>
      <dgm:spPr/>
      <dgm:t>
        <a:bodyPr/>
        <a:lstStyle/>
        <a:p>
          <a:endParaRPr lang="en-US"/>
        </a:p>
      </dgm:t>
    </dgm:pt>
    <dgm:pt modelId="{1EB17750-5E2F-4C0D-954B-29D4420AF45F}">
      <dgm:prSet/>
      <dgm:spPr/>
      <dgm:t>
        <a:bodyPr/>
        <a:lstStyle/>
        <a:p>
          <a:r>
            <a:rPr lang="en-US"/>
            <a:t>Azure manages the hardware, OS, and SQL Server</a:t>
          </a:r>
        </a:p>
      </dgm:t>
    </dgm:pt>
    <dgm:pt modelId="{D6871702-96C6-4FA0-8498-2E7374EDAEC1}" type="parTrans" cxnId="{30823D80-2138-4E79-AA4B-7EF4AD413309}">
      <dgm:prSet/>
      <dgm:spPr/>
      <dgm:t>
        <a:bodyPr/>
        <a:lstStyle/>
        <a:p>
          <a:endParaRPr lang="en-US"/>
        </a:p>
      </dgm:t>
    </dgm:pt>
    <dgm:pt modelId="{91F627CE-DCAE-47DD-B2FE-F4926C4DB2E7}" type="sibTrans" cxnId="{30823D80-2138-4E79-AA4B-7EF4AD413309}">
      <dgm:prSet/>
      <dgm:spPr/>
      <dgm:t>
        <a:bodyPr/>
        <a:lstStyle/>
        <a:p>
          <a:endParaRPr lang="en-US"/>
        </a:p>
      </dgm:t>
    </dgm:pt>
    <dgm:pt modelId="{EE2961C5-35EC-424A-8408-B6A47D2118F2}">
      <dgm:prSet/>
      <dgm:spPr/>
      <dgm:t>
        <a:bodyPr/>
        <a:lstStyle/>
        <a:p>
          <a:r>
            <a:rPr lang="en-US"/>
            <a:t>Azure provides HADR, monitoring, and intelligence</a:t>
          </a:r>
        </a:p>
      </dgm:t>
    </dgm:pt>
    <dgm:pt modelId="{4EA26D94-B1E4-4903-8C4B-D954517DEBEF}" type="parTrans" cxnId="{B0CEB683-A1C8-4E95-94BB-7C95F2B2E353}">
      <dgm:prSet/>
      <dgm:spPr/>
      <dgm:t>
        <a:bodyPr/>
        <a:lstStyle/>
        <a:p>
          <a:endParaRPr lang="en-US"/>
        </a:p>
      </dgm:t>
    </dgm:pt>
    <dgm:pt modelId="{1B43ADF9-FB58-438E-BE7B-C210F5DFEA13}" type="sibTrans" cxnId="{B0CEB683-A1C8-4E95-94BB-7C95F2B2E353}">
      <dgm:prSet/>
      <dgm:spPr/>
      <dgm:t>
        <a:bodyPr/>
        <a:lstStyle/>
        <a:p>
          <a:endParaRPr lang="en-US"/>
        </a:p>
      </dgm:t>
    </dgm:pt>
    <dgm:pt modelId="{1C479BA2-D23C-4225-9A7C-CF05F09CF4BD}">
      <dgm:prSet/>
      <dgm:spPr/>
      <dgm:t>
        <a:bodyPr/>
        <a:lstStyle/>
        <a:p>
          <a:r>
            <a:rPr lang="en-US"/>
            <a:t>Azure gives you predicable performance</a:t>
          </a:r>
        </a:p>
      </dgm:t>
    </dgm:pt>
    <dgm:pt modelId="{B21F9AAA-6946-4E10-9923-0359E96302D2}" type="parTrans" cxnId="{34B6EA87-CD87-413C-AB54-F8DFDE3FAD50}">
      <dgm:prSet/>
      <dgm:spPr/>
      <dgm:t>
        <a:bodyPr/>
        <a:lstStyle/>
        <a:p>
          <a:endParaRPr lang="en-US"/>
        </a:p>
      </dgm:t>
    </dgm:pt>
    <dgm:pt modelId="{39BD1856-CF82-4239-83B2-E10D1F553474}" type="sibTrans" cxnId="{34B6EA87-CD87-413C-AB54-F8DFDE3FAD50}">
      <dgm:prSet/>
      <dgm:spPr/>
      <dgm:t>
        <a:bodyPr/>
        <a:lstStyle/>
        <a:p>
          <a:endParaRPr lang="en-US"/>
        </a:p>
      </dgm:t>
    </dgm:pt>
    <dgm:pt modelId="{12B46372-0D13-4931-908B-217832D05980}">
      <dgm:prSet/>
      <dgm:spPr/>
      <dgm:t>
        <a:bodyPr/>
        <a:lstStyle/>
        <a:p>
          <a:r>
            <a:rPr lang="en-US"/>
            <a:t>You own the OS and SQL Server</a:t>
          </a:r>
        </a:p>
      </dgm:t>
    </dgm:pt>
    <dgm:pt modelId="{1DA2D7A9-C4C9-4593-B344-BC55BD54C755}" type="parTrans" cxnId="{12C14B31-B1AD-4F37-A1E8-6E0207F197E4}">
      <dgm:prSet/>
      <dgm:spPr/>
      <dgm:t>
        <a:bodyPr/>
        <a:lstStyle/>
        <a:p>
          <a:endParaRPr lang="en-US"/>
        </a:p>
      </dgm:t>
    </dgm:pt>
    <dgm:pt modelId="{6227A25B-3EE7-47B0-9E84-9895C756CF40}" type="sibTrans" cxnId="{12C14B31-B1AD-4F37-A1E8-6E0207F197E4}">
      <dgm:prSet/>
      <dgm:spPr/>
      <dgm:t>
        <a:bodyPr/>
        <a:lstStyle/>
        <a:p>
          <a:endParaRPr lang="en-US"/>
        </a:p>
      </dgm:t>
    </dgm:pt>
    <dgm:pt modelId="{4171CD06-0460-46DB-9875-89F2C2422C34}">
      <dgm:prSet/>
      <dgm:spPr/>
      <dgm:t>
        <a:bodyPr/>
        <a:lstStyle/>
        <a:p>
          <a:r>
            <a:rPr lang="en-US"/>
            <a:t>Azure manages the hardware and OS</a:t>
          </a:r>
        </a:p>
      </dgm:t>
    </dgm:pt>
    <dgm:pt modelId="{6E17A3E6-5BA1-4BC8-A389-1FF965282083}" type="sibTrans" cxnId="{1E9FC3F6-6A71-4EE8-9FC8-0CF50135591A}">
      <dgm:prSet/>
      <dgm:spPr/>
      <dgm:t>
        <a:bodyPr/>
        <a:lstStyle/>
        <a:p>
          <a:endParaRPr lang="en-US"/>
        </a:p>
      </dgm:t>
    </dgm:pt>
    <dgm:pt modelId="{5B2F9042-BA4F-4EE8-8B24-80E238638B81}" type="parTrans" cxnId="{1E9FC3F6-6A71-4EE8-9FC8-0CF50135591A}">
      <dgm:prSet/>
      <dgm:spPr/>
      <dgm:t>
        <a:bodyPr/>
        <a:lstStyle/>
        <a:p>
          <a:endParaRPr lang="en-US"/>
        </a:p>
      </dgm:t>
    </dgm:pt>
    <dgm:pt modelId="{E06C68AA-10F3-4D77-9615-540EC1E36F44}">
      <dgm:prSet/>
      <dgm:spPr/>
      <dgm:t>
        <a:bodyPr/>
        <a:lstStyle/>
        <a:p>
          <a:r>
            <a:rPr lang="en-US"/>
            <a:t>You get a SQL Server, but we help you manage it</a:t>
          </a:r>
        </a:p>
      </dgm:t>
    </dgm:pt>
    <dgm:pt modelId="{C8D9ED8D-1497-4064-8832-0408715ACC07}" type="sibTrans" cxnId="{2502FF86-E500-41DC-820E-679BC261E376}">
      <dgm:prSet/>
      <dgm:spPr/>
      <dgm:t>
        <a:bodyPr/>
        <a:lstStyle/>
        <a:p>
          <a:endParaRPr lang="en-US"/>
        </a:p>
      </dgm:t>
    </dgm:pt>
    <dgm:pt modelId="{98DE93FE-5A19-45B2-9C46-6A1455D1AC50}" type="parTrans" cxnId="{2502FF86-E500-41DC-820E-679BC261E376}">
      <dgm:prSet/>
      <dgm:spPr/>
      <dgm:t>
        <a:bodyPr/>
        <a:lstStyle/>
        <a:p>
          <a:endParaRPr lang="en-US"/>
        </a:p>
      </dgm:t>
    </dgm:pt>
    <dgm:pt modelId="{1D424241-370D-42F5-9B18-9E28FD622125}">
      <dgm:prSet/>
      <dgm:spPr/>
      <dgm:t>
        <a:bodyPr/>
        <a:lstStyle/>
        <a:p>
          <a:r>
            <a:rPr lang="en-US"/>
            <a:t>You need SQL Server feature compatibility and low friction move</a:t>
          </a:r>
        </a:p>
      </dgm:t>
    </dgm:pt>
    <dgm:pt modelId="{21CE45FD-0681-4831-98AB-E98DE8114F75}" type="sibTrans" cxnId="{6503968B-BAB1-45ED-B7B4-704624D0B089}">
      <dgm:prSet/>
      <dgm:spPr/>
      <dgm:t>
        <a:bodyPr/>
        <a:lstStyle/>
        <a:p>
          <a:endParaRPr lang="en-US"/>
        </a:p>
      </dgm:t>
    </dgm:pt>
    <dgm:pt modelId="{03B0225A-1716-4FFA-8A36-640A843E0DA8}" type="parTrans" cxnId="{6503968B-BAB1-45ED-B7B4-704624D0B089}">
      <dgm:prSet/>
      <dgm:spPr/>
      <dgm:t>
        <a:bodyPr/>
        <a:lstStyle/>
        <a:p>
          <a:endParaRPr lang="en-US"/>
        </a:p>
      </dgm:t>
    </dgm:pt>
    <dgm:pt modelId="{FA6318F5-3F8C-461D-94D3-904E930B7248}" type="pres">
      <dgm:prSet presAssocID="{1F0EA422-7A1F-4EAA-BCA4-5E5F36D17577}" presName="theList" presStyleCnt="0">
        <dgm:presLayoutVars>
          <dgm:dir/>
          <dgm:animLvl val="lvl"/>
          <dgm:resizeHandles val="exact"/>
        </dgm:presLayoutVars>
      </dgm:prSet>
      <dgm:spPr/>
    </dgm:pt>
    <dgm:pt modelId="{9F70D8BC-C5B0-4B1A-B85B-6D44D3B2D17A}" type="pres">
      <dgm:prSet presAssocID="{9260BBB4-79F6-40AB-902E-325015DFDE31}" presName="compNode" presStyleCnt="0"/>
      <dgm:spPr/>
    </dgm:pt>
    <dgm:pt modelId="{AD94C3BC-195F-4709-B62E-20D5CCD2B1A3}" type="pres">
      <dgm:prSet presAssocID="{9260BBB4-79F6-40AB-902E-325015DFDE31}" presName="aNode" presStyleLbl="bgShp" presStyleIdx="0" presStyleCnt="3"/>
      <dgm:spPr/>
    </dgm:pt>
    <dgm:pt modelId="{C0D75077-A454-4C0F-91D4-BCF8C96522B1}" type="pres">
      <dgm:prSet presAssocID="{9260BBB4-79F6-40AB-902E-325015DFDE31}" presName="textNode" presStyleLbl="bgShp" presStyleIdx="0" presStyleCnt="3"/>
      <dgm:spPr/>
    </dgm:pt>
    <dgm:pt modelId="{EEEDA6DD-02C0-4419-B315-D48AC2E98D71}" type="pres">
      <dgm:prSet presAssocID="{9260BBB4-79F6-40AB-902E-325015DFDE31}" presName="compChildNode" presStyleCnt="0"/>
      <dgm:spPr/>
    </dgm:pt>
    <dgm:pt modelId="{F9B44797-9E9D-4231-994A-C7DCC60A2A6F}" type="pres">
      <dgm:prSet presAssocID="{9260BBB4-79F6-40AB-902E-325015DFDE31}" presName="theInnerList" presStyleCnt="0"/>
      <dgm:spPr/>
    </dgm:pt>
    <dgm:pt modelId="{F9AD0AF0-607A-47FF-BACA-DB8AE4C306E8}" type="pres">
      <dgm:prSet presAssocID="{9140CDD8-64A7-4D47-9EA4-E6C339248F20}" presName="childNode" presStyleLbl="node1" presStyleIdx="0" presStyleCnt="9" custLinFactY="-7493" custLinFactNeighborX="73" custLinFactNeighborY="-100000">
        <dgm:presLayoutVars>
          <dgm:bulletEnabled val="1"/>
        </dgm:presLayoutVars>
      </dgm:prSet>
      <dgm:spPr/>
    </dgm:pt>
    <dgm:pt modelId="{1BA7E32F-F65A-45CF-8679-EF7AFDF44AFE}" type="pres">
      <dgm:prSet presAssocID="{9140CDD8-64A7-4D47-9EA4-E6C339248F20}" presName="aSpace2" presStyleCnt="0"/>
      <dgm:spPr/>
    </dgm:pt>
    <dgm:pt modelId="{EE25989F-0E77-4201-A7FB-67D696231781}" type="pres">
      <dgm:prSet presAssocID="{12B46372-0D13-4931-908B-217832D05980}" presName="childNode" presStyleLbl="node1" presStyleIdx="1" presStyleCnt="9" custLinFactNeighborX="73" custLinFactNeighborY="-98694">
        <dgm:presLayoutVars>
          <dgm:bulletEnabled val="1"/>
        </dgm:presLayoutVars>
      </dgm:prSet>
      <dgm:spPr/>
    </dgm:pt>
    <dgm:pt modelId="{8708838B-26B8-4137-964D-1612B8AD28B2}" type="pres">
      <dgm:prSet presAssocID="{12B46372-0D13-4931-908B-217832D05980}" presName="aSpace2" presStyleCnt="0"/>
      <dgm:spPr/>
    </dgm:pt>
    <dgm:pt modelId="{FA7116C2-8E01-4213-B008-104ADDB88512}" type="pres">
      <dgm:prSet presAssocID="{8FECA451-CA0E-494B-BBC9-15D06161B8E9}" presName="childNode" presStyleLbl="node1" presStyleIdx="2" presStyleCnt="9" custLinFactNeighborX="73" custLinFactNeighborY="-21237">
        <dgm:presLayoutVars>
          <dgm:bulletEnabled val="1"/>
        </dgm:presLayoutVars>
      </dgm:prSet>
      <dgm:spPr/>
    </dgm:pt>
    <dgm:pt modelId="{E114DE44-5D6A-465E-9556-7A01781C84DD}" type="pres">
      <dgm:prSet presAssocID="{9260BBB4-79F6-40AB-902E-325015DFDE31}" presName="aSpace" presStyleCnt="0"/>
      <dgm:spPr/>
    </dgm:pt>
    <dgm:pt modelId="{3E2CA126-9E0E-4F5B-AF1C-B641C9140BBC}" type="pres">
      <dgm:prSet presAssocID="{5DE85D09-C5D6-42AC-A0A7-9DD1C05BBF03}" presName="compNode" presStyleCnt="0"/>
      <dgm:spPr/>
    </dgm:pt>
    <dgm:pt modelId="{C8A4EFFE-43DE-4619-BF44-7F2088A2A1E9}" type="pres">
      <dgm:prSet presAssocID="{5DE85D09-C5D6-42AC-A0A7-9DD1C05BBF03}" presName="aNode" presStyleLbl="bgShp" presStyleIdx="1" presStyleCnt="3"/>
      <dgm:spPr/>
    </dgm:pt>
    <dgm:pt modelId="{EFDD6BFB-1D63-4E3F-8BEA-1459395060F6}" type="pres">
      <dgm:prSet presAssocID="{5DE85D09-C5D6-42AC-A0A7-9DD1C05BBF03}" presName="textNode" presStyleLbl="bgShp" presStyleIdx="1" presStyleCnt="3"/>
      <dgm:spPr/>
    </dgm:pt>
    <dgm:pt modelId="{32745389-87F9-4B5F-AEE0-1C3AEE5C5ECE}" type="pres">
      <dgm:prSet presAssocID="{5DE85D09-C5D6-42AC-A0A7-9DD1C05BBF03}" presName="compChildNode" presStyleCnt="0"/>
      <dgm:spPr/>
    </dgm:pt>
    <dgm:pt modelId="{F2006C96-EF0A-42A1-A1A8-777CF420ADAD}" type="pres">
      <dgm:prSet presAssocID="{5DE85D09-C5D6-42AC-A0A7-9DD1C05BBF03}" presName="theInnerList" presStyleCnt="0"/>
      <dgm:spPr/>
    </dgm:pt>
    <dgm:pt modelId="{966ADD0A-A094-4C6C-972C-26C370F2CDEF}" type="pres">
      <dgm:prSet presAssocID="{4171CD06-0460-46DB-9875-89F2C2422C34}" presName="childNode" presStyleLbl="node1" presStyleIdx="3" presStyleCnt="9" custLinFactY="-8626" custLinFactNeighborX="-1305" custLinFactNeighborY="-100000">
        <dgm:presLayoutVars>
          <dgm:bulletEnabled val="1"/>
        </dgm:presLayoutVars>
      </dgm:prSet>
      <dgm:spPr/>
    </dgm:pt>
    <dgm:pt modelId="{4B69C681-AC52-43A2-93D0-2644C951672F}" type="pres">
      <dgm:prSet presAssocID="{4171CD06-0460-46DB-9875-89F2C2422C34}" presName="aSpace2" presStyleCnt="0"/>
      <dgm:spPr/>
    </dgm:pt>
    <dgm:pt modelId="{5D4559B1-E031-46C0-8920-A952930D03AE}" type="pres">
      <dgm:prSet presAssocID="{E06C68AA-10F3-4D77-9615-540EC1E36F44}" presName="childNode" presStyleLbl="node1" presStyleIdx="4" presStyleCnt="9" custLinFactNeighborX="-1305" custLinFactNeighborY="-98694">
        <dgm:presLayoutVars>
          <dgm:bulletEnabled val="1"/>
        </dgm:presLayoutVars>
      </dgm:prSet>
      <dgm:spPr/>
    </dgm:pt>
    <dgm:pt modelId="{0367C031-9BCC-4282-B698-479379278A11}" type="pres">
      <dgm:prSet presAssocID="{E06C68AA-10F3-4D77-9615-540EC1E36F44}" presName="aSpace2" presStyleCnt="0"/>
      <dgm:spPr/>
    </dgm:pt>
    <dgm:pt modelId="{4248F1D4-5C07-4E04-9F70-F0857AEDDFC2}" type="pres">
      <dgm:prSet presAssocID="{1D424241-370D-42F5-9B18-9E28FD622125}" presName="childNode" presStyleLbl="node1" presStyleIdx="5" presStyleCnt="9" custLinFactNeighborX="-1305" custLinFactNeighborY="-54004">
        <dgm:presLayoutVars>
          <dgm:bulletEnabled val="1"/>
        </dgm:presLayoutVars>
      </dgm:prSet>
      <dgm:spPr/>
    </dgm:pt>
    <dgm:pt modelId="{DE905C31-F8E5-4BF9-9443-832BAC8CF7A6}" type="pres">
      <dgm:prSet presAssocID="{5DE85D09-C5D6-42AC-A0A7-9DD1C05BBF03}" presName="aSpace" presStyleCnt="0"/>
      <dgm:spPr/>
    </dgm:pt>
    <dgm:pt modelId="{863B0E17-B61B-434A-BB47-B4C231FDC253}" type="pres">
      <dgm:prSet presAssocID="{9E711432-04B5-4349-94B7-9C3C128B8B17}" presName="compNode" presStyleCnt="0"/>
      <dgm:spPr/>
    </dgm:pt>
    <dgm:pt modelId="{BFF6D176-53C8-4A4D-B994-178314694F50}" type="pres">
      <dgm:prSet presAssocID="{9E711432-04B5-4349-94B7-9C3C128B8B17}" presName="aNode" presStyleLbl="bgShp" presStyleIdx="2" presStyleCnt="3" custLinFactNeighborX="17761" custLinFactNeighborY="-17121"/>
      <dgm:spPr/>
    </dgm:pt>
    <dgm:pt modelId="{2B4BECBB-DB8F-477D-8EC7-7F3E32AF3C05}" type="pres">
      <dgm:prSet presAssocID="{9E711432-04B5-4349-94B7-9C3C128B8B17}" presName="textNode" presStyleLbl="bgShp" presStyleIdx="2" presStyleCnt="3"/>
      <dgm:spPr/>
    </dgm:pt>
    <dgm:pt modelId="{6D179C9D-1D01-400E-8D23-BD46839F961F}" type="pres">
      <dgm:prSet presAssocID="{9E711432-04B5-4349-94B7-9C3C128B8B17}" presName="compChildNode" presStyleCnt="0"/>
      <dgm:spPr/>
    </dgm:pt>
    <dgm:pt modelId="{B0FAD906-8233-439A-8FC2-F199FFD2BD1A}" type="pres">
      <dgm:prSet presAssocID="{9E711432-04B5-4349-94B7-9C3C128B8B17}" presName="theInnerList" presStyleCnt="0"/>
      <dgm:spPr/>
    </dgm:pt>
    <dgm:pt modelId="{FB974DD2-E692-4B64-ADAB-35C50A8536A8}" type="pres">
      <dgm:prSet presAssocID="{1EB17750-5E2F-4C0D-954B-29D4420AF45F}" presName="childNode" presStyleLbl="node1" presStyleIdx="6" presStyleCnt="9" custLinFactY="-11786" custLinFactNeighborX="2156" custLinFactNeighborY="-100000">
        <dgm:presLayoutVars>
          <dgm:bulletEnabled val="1"/>
        </dgm:presLayoutVars>
      </dgm:prSet>
      <dgm:spPr/>
    </dgm:pt>
    <dgm:pt modelId="{18237C50-44DB-460E-810B-B486BAC9C726}" type="pres">
      <dgm:prSet presAssocID="{1EB17750-5E2F-4C0D-954B-29D4420AF45F}" presName="aSpace2" presStyleCnt="0"/>
      <dgm:spPr/>
    </dgm:pt>
    <dgm:pt modelId="{B6B5F729-ED90-431A-BAC5-6FC9F5AD1209}" type="pres">
      <dgm:prSet presAssocID="{1C479BA2-D23C-4225-9A7C-CF05F09CF4BD}" presName="childNode" presStyleLbl="node1" presStyleIdx="7" presStyleCnt="9" custLinFactY="-3028" custLinFactNeighborX="2312" custLinFactNeighborY="-100000">
        <dgm:presLayoutVars>
          <dgm:bulletEnabled val="1"/>
        </dgm:presLayoutVars>
      </dgm:prSet>
      <dgm:spPr/>
    </dgm:pt>
    <dgm:pt modelId="{271A2556-75CA-44A7-B039-79C8B4CB3B3E}" type="pres">
      <dgm:prSet presAssocID="{1C479BA2-D23C-4225-9A7C-CF05F09CF4BD}" presName="aSpace2" presStyleCnt="0"/>
      <dgm:spPr/>
    </dgm:pt>
    <dgm:pt modelId="{519E1A27-1303-434C-B18E-7E74A1FE2E12}" type="pres">
      <dgm:prSet presAssocID="{EE2961C5-35EC-424A-8408-B6A47D2118F2}" presName="childNode" presStyleLbl="node1" presStyleIdx="8" presStyleCnt="9" custLinFactNeighborX="2156" custLinFactNeighborY="-65052">
        <dgm:presLayoutVars>
          <dgm:bulletEnabled val="1"/>
        </dgm:presLayoutVars>
      </dgm:prSet>
      <dgm:spPr/>
    </dgm:pt>
  </dgm:ptLst>
  <dgm:cxnLst>
    <dgm:cxn modelId="{237A1D03-29F1-430A-AE3D-9E0519ED305D}" type="presOf" srcId="{EE2961C5-35EC-424A-8408-B6A47D2118F2}" destId="{519E1A27-1303-434C-B18E-7E74A1FE2E12}" srcOrd="0" destOrd="0" presId="urn:microsoft.com/office/officeart/2005/8/layout/lProcess2"/>
    <dgm:cxn modelId="{AE4AD019-21BE-4E0A-B37B-1777A7E12F80}" type="presOf" srcId="{5DE85D09-C5D6-42AC-A0A7-9DD1C05BBF03}" destId="{C8A4EFFE-43DE-4619-BF44-7F2088A2A1E9}" srcOrd="0" destOrd="0" presId="urn:microsoft.com/office/officeart/2005/8/layout/lProcess2"/>
    <dgm:cxn modelId="{833E831D-F18B-4ABE-B26A-11C4EFAD8A74}" srcId="{1F0EA422-7A1F-4EAA-BCA4-5E5F36D17577}" destId="{5DE85D09-C5D6-42AC-A0A7-9DD1C05BBF03}" srcOrd="1" destOrd="0" parTransId="{187B1633-8A03-45F2-9BC7-FC63DD57AA19}" sibTransId="{BF178ECD-807C-4194-A0BC-F3D0E6B42DBC}"/>
    <dgm:cxn modelId="{12C14B31-B1AD-4F37-A1E8-6E0207F197E4}" srcId="{9260BBB4-79F6-40AB-902E-325015DFDE31}" destId="{12B46372-0D13-4931-908B-217832D05980}" srcOrd="1" destOrd="0" parTransId="{1DA2D7A9-C4C9-4593-B344-BC55BD54C755}" sibTransId="{6227A25B-3EE7-47B0-9E84-9895C756CF40}"/>
    <dgm:cxn modelId="{BAC3BC33-0091-4832-A098-0826825B7B4A}" type="presOf" srcId="{1F0EA422-7A1F-4EAA-BCA4-5E5F36D17577}" destId="{FA6318F5-3F8C-461D-94D3-904E930B7248}" srcOrd="0" destOrd="0" presId="urn:microsoft.com/office/officeart/2005/8/layout/lProcess2"/>
    <dgm:cxn modelId="{AE471834-B48F-401E-82B5-08C7E0C50356}" type="presOf" srcId="{4171CD06-0460-46DB-9875-89F2C2422C34}" destId="{966ADD0A-A094-4C6C-972C-26C370F2CDEF}" srcOrd="0" destOrd="0" presId="urn:microsoft.com/office/officeart/2005/8/layout/lProcess2"/>
    <dgm:cxn modelId="{BED5D760-AED2-45DF-882F-581C2A74DF02}" type="presOf" srcId="{1D424241-370D-42F5-9B18-9E28FD622125}" destId="{4248F1D4-5C07-4E04-9F70-F0857AEDDFC2}" srcOrd="0" destOrd="0" presId="urn:microsoft.com/office/officeart/2005/8/layout/lProcess2"/>
    <dgm:cxn modelId="{6EBD0F6C-A281-471E-9DF5-6C04EC446DFF}" type="presOf" srcId="{1C479BA2-D23C-4225-9A7C-CF05F09CF4BD}" destId="{B6B5F729-ED90-431A-BAC5-6FC9F5AD1209}" srcOrd="0" destOrd="0" presId="urn:microsoft.com/office/officeart/2005/8/layout/lProcess2"/>
    <dgm:cxn modelId="{93AA514E-A64A-4CB6-8BAA-67446A92749B}" srcId="{1F0EA422-7A1F-4EAA-BCA4-5E5F36D17577}" destId="{9E711432-04B5-4349-94B7-9C3C128B8B17}" srcOrd="2" destOrd="0" parTransId="{9709BC47-A4CB-4B5A-8E68-19CE41EB0530}" sibTransId="{B9794532-E4A1-4715-9526-C6D81EC0CF3F}"/>
    <dgm:cxn modelId="{5BF21C50-2EA0-41DB-9297-778699656C5C}" type="presOf" srcId="{9260BBB4-79F6-40AB-902E-325015DFDE31}" destId="{AD94C3BC-195F-4709-B62E-20D5CCD2B1A3}" srcOrd="0" destOrd="0" presId="urn:microsoft.com/office/officeart/2005/8/layout/lProcess2"/>
    <dgm:cxn modelId="{FDEB1C54-E436-4C26-9824-DED4EFB166FA}" type="presOf" srcId="{E06C68AA-10F3-4D77-9615-540EC1E36F44}" destId="{5D4559B1-E031-46C0-8920-A952930D03AE}" srcOrd="0" destOrd="0" presId="urn:microsoft.com/office/officeart/2005/8/layout/lProcess2"/>
    <dgm:cxn modelId="{4C9CC574-6CFB-4F77-BC6E-5BFF91DAFB39}" srcId="{9260BBB4-79F6-40AB-902E-325015DFDE31}" destId="{9140CDD8-64A7-4D47-9EA4-E6C339248F20}" srcOrd="0" destOrd="0" parTransId="{55ECD76B-EFAE-4722-86CF-22991DB2751A}" sibTransId="{7C978BBA-785C-4E83-9159-7E1C3E832ACC}"/>
    <dgm:cxn modelId="{228B267A-673B-4523-A653-288D17198679}" type="presOf" srcId="{1EB17750-5E2F-4C0D-954B-29D4420AF45F}" destId="{FB974DD2-E692-4B64-ADAB-35C50A8536A8}" srcOrd="0" destOrd="0" presId="urn:microsoft.com/office/officeart/2005/8/layout/lProcess2"/>
    <dgm:cxn modelId="{30823D80-2138-4E79-AA4B-7EF4AD413309}" srcId="{9E711432-04B5-4349-94B7-9C3C128B8B17}" destId="{1EB17750-5E2F-4C0D-954B-29D4420AF45F}" srcOrd="0" destOrd="0" parTransId="{D6871702-96C6-4FA0-8498-2E7374EDAEC1}" sibTransId="{91F627CE-DCAE-47DD-B2FE-F4926C4DB2E7}"/>
    <dgm:cxn modelId="{F686F381-2E67-4E8D-A157-B9D938B71635}" srcId="{1F0EA422-7A1F-4EAA-BCA4-5E5F36D17577}" destId="{9260BBB4-79F6-40AB-902E-325015DFDE31}" srcOrd="0" destOrd="0" parTransId="{C08E79CE-FF3B-4AB1-A6EA-2008EE6DA0A8}" sibTransId="{65F3E32D-814F-42AC-9942-11647788E88F}"/>
    <dgm:cxn modelId="{B0CEB683-A1C8-4E95-94BB-7C95F2B2E353}" srcId="{9E711432-04B5-4349-94B7-9C3C128B8B17}" destId="{EE2961C5-35EC-424A-8408-B6A47D2118F2}" srcOrd="2" destOrd="0" parTransId="{4EA26D94-B1E4-4903-8C4B-D954517DEBEF}" sibTransId="{1B43ADF9-FB58-438E-BE7B-C210F5DFEA13}"/>
    <dgm:cxn modelId="{2502FF86-E500-41DC-820E-679BC261E376}" srcId="{5DE85D09-C5D6-42AC-A0A7-9DD1C05BBF03}" destId="{E06C68AA-10F3-4D77-9615-540EC1E36F44}" srcOrd="1" destOrd="0" parTransId="{98DE93FE-5A19-45B2-9C46-6A1455D1AC50}" sibTransId="{C8D9ED8D-1497-4064-8832-0408715ACC07}"/>
    <dgm:cxn modelId="{34B6EA87-CD87-413C-AB54-F8DFDE3FAD50}" srcId="{9E711432-04B5-4349-94B7-9C3C128B8B17}" destId="{1C479BA2-D23C-4225-9A7C-CF05F09CF4BD}" srcOrd="1" destOrd="0" parTransId="{B21F9AAA-6946-4E10-9923-0359E96302D2}" sibTransId="{39BD1856-CF82-4239-83B2-E10D1F553474}"/>
    <dgm:cxn modelId="{6503968B-BAB1-45ED-B7B4-704624D0B089}" srcId="{5DE85D09-C5D6-42AC-A0A7-9DD1C05BBF03}" destId="{1D424241-370D-42F5-9B18-9E28FD622125}" srcOrd="2" destOrd="0" parTransId="{03B0225A-1716-4FFA-8A36-640A843E0DA8}" sibTransId="{21CE45FD-0681-4831-98AB-E98DE8114F75}"/>
    <dgm:cxn modelId="{886D309A-7C9A-40CD-9660-76A6476160AA}" type="presOf" srcId="{8FECA451-CA0E-494B-BBC9-15D06161B8E9}" destId="{FA7116C2-8E01-4213-B008-104ADDB88512}" srcOrd="0" destOrd="0" presId="urn:microsoft.com/office/officeart/2005/8/layout/lProcess2"/>
    <dgm:cxn modelId="{F6E975BD-DC33-49A4-AADB-11E8E397A201}" type="presOf" srcId="{9260BBB4-79F6-40AB-902E-325015DFDE31}" destId="{C0D75077-A454-4C0F-91D4-BCF8C96522B1}" srcOrd="1" destOrd="0" presId="urn:microsoft.com/office/officeart/2005/8/layout/lProcess2"/>
    <dgm:cxn modelId="{E11D72C7-4859-4192-95C6-04128BF631CE}" type="presOf" srcId="{9140CDD8-64A7-4D47-9EA4-E6C339248F20}" destId="{F9AD0AF0-607A-47FF-BACA-DB8AE4C306E8}" srcOrd="0" destOrd="0" presId="urn:microsoft.com/office/officeart/2005/8/layout/lProcess2"/>
    <dgm:cxn modelId="{6DEE33E0-574C-4C35-8511-16E204C27C4E}" type="presOf" srcId="{5DE85D09-C5D6-42AC-A0A7-9DD1C05BBF03}" destId="{EFDD6BFB-1D63-4E3F-8BEA-1459395060F6}" srcOrd="1" destOrd="0" presId="urn:microsoft.com/office/officeart/2005/8/layout/lProcess2"/>
    <dgm:cxn modelId="{F565FFE6-100B-4461-A034-BE806807DF4D}" srcId="{9260BBB4-79F6-40AB-902E-325015DFDE31}" destId="{8FECA451-CA0E-494B-BBC9-15D06161B8E9}" srcOrd="2" destOrd="0" parTransId="{5ABC23B1-DA6E-48F9-BFAB-E0A654C40C8B}" sibTransId="{32027BC9-D1F5-4A41-860C-69EAA3A6C0E9}"/>
    <dgm:cxn modelId="{BDB8FEE7-FDC7-43B7-8504-C2A15C65C9B7}" type="presOf" srcId="{12B46372-0D13-4931-908B-217832D05980}" destId="{EE25989F-0E77-4201-A7FB-67D696231781}" srcOrd="0" destOrd="0" presId="urn:microsoft.com/office/officeart/2005/8/layout/lProcess2"/>
    <dgm:cxn modelId="{F02DF8EB-9A9E-41D3-8365-7F16E29AD835}" type="presOf" srcId="{9E711432-04B5-4349-94B7-9C3C128B8B17}" destId="{BFF6D176-53C8-4A4D-B994-178314694F50}" srcOrd="0" destOrd="0" presId="urn:microsoft.com/office/officeart/2005/8/layout/lProcess2"/>
    <dgm:cxn modelId="{69C2CFF3-1581-4E95-9338-60C28D2E11FE}" type="presOf" srcId="{9E711432-04B5-4349-94B7-9C3C128B8B17}" destId="{2B4BECBB-DB8F-477D-8EC7-7F3E32AF3C05}" srcOrd="1" destOrd="0" presId="urn:microsoft.com/office/officeart/2005/8/layout/lProcess2"/>
    <dgm:cxn modelId="{1E9FC3F6-6A71-4EE8-9FC8-0CF50135591A}" srcId="{5DE85D09-C5D6-42AC-A0A7-9DD1C05BBF03}" destId="{4171CD06-0460-46DB-9875-89F2C2422C34}" srcOrd="0" destOrd="0" parTransId="{5B2F9042-BA4F-4EE8-8B24-80E238638B81}" sibTransId="{6E17A3E6-5BA1-4BC8-A389-1FF965282083}"/>
    <dgm:cxn modelId="{783161FE-0596-4F1E-A9BC-D20EE6C26933}" type="presParOf" srcId="{FA6318F5-3F8C-461D-94D3-904E930B7248}" destId="{9F70D8BC-C5B0-4B1A-B85B-6D44D3B2D17A}" srcOrd="0" destOrd="0" presId="urn:microsoft.com/office/officeart/2005/8/layout/lProcess2"/>
    <dgm:cxn modelId="{56FC043C-9174-4837-8277-A0C7015CAB8E}" type="presParOf" srcId="{9F70D8BC-C5B0-4B1A-B85B-6D44D3B2D17A}" destId="{AD94C3BC-195F-4709-B62E-20D5CCD2B1A3}" srcOrd="0" destOrd="0" presId="urn:microsoft.com/office/officeart/2005/8/layout/lProcess2"/>
    <dgm:cxn modelId="{EDBEC6B0-C2C8-483D-AA42-6E31563F4E9C}" type="presParOf" srcId="{9F70D8BC-C5B0-4B1A-B85B-6D44D3B2D17A}" destId="{C0D75077-A454-4C0F-91D4-BCF8C96522B1}" srcOrd="1" destOrd="0" presId="urn:microsoft.com/office/officeart/2005/8/layout/lProcess2"/>
    <dgm:cxn modelId="{B045413E-BB7F-40AB-BB36-6141EB1451E9}" type="presParOf" srcId="{9F70D8BC-C5B0-4B1A-B85B-6D44D3B2D17A}" destId="{EEEDA6DD-02C0-4419-B315-D48AC2E98D71}" srcOrd="2" destOrd="0" presId="urn:microsoft.com/office/officeart/2005/8/layout/lProcess2"/>
    <dgm:cxn modelId="{A21C2EE1-75C0-4454-A7B2-540F9E684F73}" type="presParOf" srcId="{EEEDA6DD-02C0-4419-B315-D48AC2E98D71}" destId="{F9B44797-9E9D-4231-994A-C7DCC60A2A6F}" srcOrd="0" destOrd="0" presId="urn:microsoft.com/office/officeart/2005/8/layout/lProcess2"/>
    <dgm:cxn modelId="{E157C265-4084-4AD1-901A-621266CBE24A}" type="presParOf" srcId="{F9B44797-9E9D-4231-994A-C7DCC60A2A6F}" destId="{F9AD0AF0-607A-47FF-BACA-DB8AE4C306E8}" srcOrd="0" destOrd="0" presId="urn:microsoft.com/office/officeart/2005/8/layout/lProcess2"/>
    <dgm:cxn modelId="{679E8278-4760-4788-A810-E8D34455AEE6}" type="presParOf" srcId="{F9B44797-9E9D-4231-994A-C7DCC60A2A6F}" destId="{1BA7E32F-F65A-45CF-8679-EF7AFDF44AFE}" srcOrd="1" destOrd="0" presId="urn:microsoft.com/office/officeart/2005/8/layout/lProcess2"/>
    <dgm:cxn modelId="{47FA067E-CFD1-46BD-A13D-CD6B6D495D31}" type="presParOf" srcId="{F9B44797-9E9D-4231-994A-C7DCC60A2A6F}" destId="{EE25989F-0E77-4201-A7FB-67D696231781}" srcOrd="2" destOrd="0" presId="urn:microsoft.com/office/officeart/2005/8/layout/lProcess2"/>
    <dgm:cxn modelId="{78418C13-D1EC-4959-854D-DEBF6CE68069}" type="presParOf" srcId="{F9B44797-9E9D-4231-994A-C7DCC60A2A6F}" destId="{8708838B-26B8-4137-964D-1612B8AD28B2}" srcOrd="3" destOrd="0" presId="urn:microsoft.com/office/officeart/2005/8/layout/lProcess2"/>
    <dgm:cxn modelId="{64E2763A-34EF-41E4-8E3F-787EC3032CD2}" type="presParOf" srcId="{F9B44797-9E9D-4231-994A-C7DCC60A2A6F}" destId="{FA7116C2-8E01-4213-B008-104ADDB88512}" srcOrd="4" destOrd="0" presId="urn:microsoft.com/office/officeart/2005/8/layout/lProcess2"/>
    <dgm:cxn modelId="{F97FECB2-578F-43F6-A9CE-11072097248B}" type="presParOf" srcId="{FA6318F5-3F8C-461D-94D3-904E930B7248}" destId="{E114DE44-5D6A-465E-9556-7A01781C84DD}" srcOrd="1" destOrd="0" presId="urn:microsoft.com/office/officeart/2005/8/layout/lProcess2"/>
    <dgm:cxn modelId="{2CB0F562-D55C-45EF-9BCB-EB4C3C8F7ACE}" type="presParOf" srcId="{FA6318F5-3F8C-461D-94D3-904E930B7248}" destId="{3E2CA126-9E0E-4F5B-AF1C-B641C9140BBC}" srcOrd="2" destOrd="0" presId="urn:microsoft.com/office/officeart/2005/8/layout/lProcess2"/>
    <dgm:cxn modelId="{17654071-78CC-4748-8856-7C2A588D3313}" type="presParOf" srcId="{3E2CA126-9E0E-4F5B-AF1C-B641C9140BBC}" destId="{C8A4EFFE-43DE-4619-BF44-7F2088A2A1E9}" srcOrd="0" destOrd="0" presId="urn:microsoft.com/office/officeart/2005/8/layout/lProcess2"/>
    <dgm:cxn modelId="{9F36B88A-4F3F-4688-BB8B-0E2DCD99FF5D}" type="presParOf" srcId="{3E2CA126-9E0E-4F5B-AF1C-B641C9140BBC}" destId="{EFDD6BFB-1D63-4E3F-8BEA-1459395060F6}" srcOrd="1" destOrd="0" presId="urn:microsoft.com/office/officeart/2005/8/layout/lProcess2"/>
    <dgm:cxn modelId="{AD745B82-1DE0-4776-98A4-D6B4918DB7E1}" type="presParOf" srcId="{3E2CA126-9E0E-4F5B-AF1C-B641C9140BBC}" destId="{32745389-87F9-4B5F-AEE0-1C3AEE5C5ECE}" srcOrd="2" destOrd="0" presId="urn:microsoft.com/office/officeart/2005/8/layout/lProcess2"/>
    <dgm:cxn modelId="{89DC5E40-B276-43BF-92E3-DB8F3F534355}" type="presParOf" srcId="{32745389-87F9-4B5F-AEE0-1C3AEE5C5ECE}" destId="{F2006C96-EF0A-42A1-A1A8-777CF420ADAD}" srcOrd="0" destOrd="0" presId="urn:microsoft.com/office/officeart/2005/8/layout/lProcess2"/>
    <dgm:cxn modelId="{E40F1A4B-0F8C-46D4-BB2D-B2A35F68E0B7}" type="presParOf" srcId="{F2006C96-EF0A-42A1-A1A8-777CF420ADAD}" destId="{966ADD0A-A094-4C6C-972C-26C370F2CDEF}" srcOrd="0" destOrd="0" presId="urn:microsoft.com/office/officeart/2005/8/layout/lProcess2"/>
    <dgm:cxn modelId="{21840B38-5209-4BC4-A7EB-DCB002878665}" type="presParOf" srcId="{F2006C96-EF0A-42A1-A1A8-777CF420ADAD}" destId="{4B69C681-AC52-43A2-93D0-2644C951672F}" srcOrd="1" destOrd="0" presId="urn:microsoft.com/office/officeart/2005/8/layout/lProcess2"/>
    <dgm:cxn modelId="{254E9505-1924-4134-A41A-B8F60A54DD2A}" type="presParOf" srcId="{F2006C96-EF0A-42A1-A1A8-777CF420ADAD}" destId="{5D4559B1-E031-46C0-8920-A952930D03AE}" srcOrd="2" destOrd="0" presId="urn:microsoft.com/office/officeart/2005/8/layout/lProcess2"/>
    <dgm:cxn modelId="{7D27F007-2255-4917-9DD2-29FFBFA3A64B}" type="presParOf" srcId="{F2006C96-EF0A-42A1-A1A8-777CF420ADAD}" destId="{0367C031-9BCC-4282-B698-479379278A11}" srcOrd="3" destOrd="0" presId="urn:microsoft.com/office/officeart/2005/8/layout/lProcess2"/>
    <dgm:cxn modelId="{E7CDD0A1-8CBD-48A6-835C-ABD9B6B5FEB8}" type="presParOf" srcId="{F2006C96-EF0A-42A1-A1A8-777CF420ADAD}" destId="{4248F1D4-5C07-4E04-9F70-F0857AEDDFC2}" srcOrd="4" destOrd="0" presId="urn:microsoft.com/office/officeart/2005/8/layout/lProcess2"/>
    <dgm:cxn modelId="{6E0A636B-89C6-41FA-BEF9-9A52D0FCB810}" type="presParOf" srcId="{FA6318F5-3F8C-461D-94D3-904E930B7248}" destId="{DE905C31-F8E5-4BF9-9443-832BAC8CF7A6}" srcOrd="3" destOrd="0" presId="urn:microsoft.com/office/officeart/2005/8/layout/lProcess2"/>
    <dgm:cxn modelId="{C1125176-7EF7-4A90-8FFE-DFD90E4CAC99}" type="presParOf" srcId="{FA6318F5-3F8C-461D-94D3-904E930B7248}" destId="{863B0E17-B61B-434A-BB47-B4C231FDC253}" srcOrd="4" destOrd="0" presId="urn:microsoft.com/office/officeart/2005/8/layout/lProcess2"/>
    <dgm:cxn modelId="{3973414E-8890-43FB-BCC8-30F166BDA08C}" type="presParOf" srcId="{863B0E17-B61B-434A-BB47-B4C231FDC253}" destId="{BFF6D176-53C8-4A4D-B994-178314694F50}" srcOrd="0" destOrd="0" presId="urn:microsoft.com/office/officeart/2005/8/layout/lProcess2"/>
    <dgm:cxn modelId="{9F3C0E47-C676-41D8-93DF-39CBBFFC8445}" type="presParOf" srcId="{863B0E17-B61B-434A-BB47-B4C231FDC253}" destId="{2B4BECBB-DB8F-477D-8EC7-7F3E32AF3C05}" srcOrd="1" destOrd="0" presId="urn:microsoft.com/office/officeart/2005/8/layout/lProcess2"/>
    <dgm:cxn modelId="{9C798C38-AE32-4C2B-8E09-8C8E811BE403}" type="presParOf" srcId="{863B0E17-B61B-434A-BB47-B4C231FDC253}" destId="{6D179C9D-1D01-400E-8D23-BD46839F961F}" srcOrd="2" destOrd="0" presId="urn:microsoft.com/office/officeart/2005/8/layout/lProcess2"/>
    <dgm:cxn modelId="{14DB4042-7B2B-4B87-A0CF-88C7191DEE6B}" type="presParOf" srcId="{6D179C9D-1D01-400E-8D23-BD46839F961F}" destId="{B0FAD906-8233-439A-8FC2-F199FFD2BD1A}" srcOrd="0" destOrd="0" presId="urn:microsoft.com/office/officeart/2005/8/layout/lProcess2"/>
    <dgm:cxn modelId="{2A4D9352-4A18-4D0C-87EA-3414BC712A76}" type="presParOf" srcId="{B0FAD906-8233-439A-8FC2-F199FFD2BD1A}" destId="{FB974DD2-E692-4B64-ADAB-35C50A8536A8}" srcOrd="0" destOrd="0" presId="urn:microsoft.com/office/officeart/2005/8/layout/lProcess2"/>
    <dgm:cxn modelId="{6434AC93-4D4F-495E-B0FE-8BE0CF8C0AE7}" type="presParOf" srcId="{B0FAD906-8233-439A-8FC2-F199FFD2BD1A}" destId="{18237C50-44DB-460E-810B-B486BAC9C726}" srcOrd="1" destOrd="0" presId="urn:microsoft.com/office/officeart/2005/8/layout/lProcess2"/>
    <dgm:cxn modelId="{FB650269-65E8-4CAD-ACDD-7150B2151F8C}" type="presParOf" srcId="{B0FAD906-8233-439A-8FC2-F199FFD2BD1A}" destId="{B6B5F729-ED90-431A-BAC5-6FC9F5AD1209}" srcOrd="2" destOrd="0" presId="urn:microsoft.com/office/officeart/2005/8/layout/lProcess2"/>
    <dgm:cxn modelId="{7B621642-CED4-463F-8020-8172AC5CB92C}" type="presParOf" srcId="{B0FAD906-8233-439A-8FC2-F199FFD2BD1A}" destId="{271A2556-75CA-44A7-B039-79C8B4CB3B3E}" srcOrd="3" destOrd="0" presId="urn:microsoft.com/office/officeart/2005/8/layout/lProcess2"/>
    <dgm:cxn modelId="{F5D8CACA-0859-451C-84F6-85AB7B9BDE0F}" type="presParOf" srcId="{B0FAD906-8233-439A-8FC2-F199FFD2BD1A}" destId="{519E1A27-1303-434C-B18E-7E74A1FE2E12}" srcOrd="4"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6348B241-DE2F-41B7-A3AD-CE8E0471881B}" type="doc">
      <dgm:prSet loTypeId="urn:microsoft.com/office/officeart/2005/8/layout/vList5" loCatId="list" qsTypeId="urn:microsoft.com/office/officeart/2005/8/quickstyle/simple1" qsCatId="simple" csTypeId="urn:microsoft.com/office/officeart/2005/8/colors/accent0_3" csCatId="mainScheme"/>
      <dgm:spPr/>
      <dgm:t>
        <a:bodyPr/>
        <a:lstStyle/>
        <a:p>
          <a:endParaRPr lang="en-US"/>
        </a:p>
      </dgm:t>
    </dgm:pt>
    <dgm:pt modelId="{18F05E32-E56B-4617-BDDC-C190C2A43D94}">
      <dgm:prSet/>
      <dgm:spPr/>
      <dgm:t>
        <a:bodyPr/>
        <a:lstStyle/>
        <a:p>
          <a:r>
            <a:rPr lang="en-US" baseline="0"/>
            <a:t>Take an inventory of on-premises licenses to determine potential for conversion. Convert on-premises cores to vCores to maximize value of investments. </a:t>
          </a:r>
          <a:endParaRPr lang="en-US"/>
        </a:p>
      </dgm:t>
    </dgm:pt>
    <dgm:pt modelId="{D246D32C-7593-4387-A1FE-F1FB17BA3391}" type="parTrans" cxnId="{6AB78511-F977-494F-B981-018B06004700}">
      <dgm:prSet/>
      <dgm:spPr/>
      <dgm:t>
        <a:bodyPr/>
        <a:lstStyle/>
        <a:p>
          <a:endParaRPr lang="en-US"/>
        </a:p>
      </dgm:t>
    </dgm:pt>
    <dgm:pt modelId="{797EE602-A604-48B2-BFB9-7D229CFED87F}" type="sibTrans" cxnId="{6AB78511-F977-494F-B981-018B06004700}">
      <dgm:prSet/>
      <dgm:spPr/>
      <dgm:t>
        <a:bodyPr/>
        <a:lstStyle/>
        <a:p>
          <a:endParaRPr lang="en-US"/>
        </a:p>
      </dgm:t>
    </dgm:pt>
    <dgm:pt modelId="{03433A1D-7DF0-4272-A0A9-3AE59828BD62}">
      <dgm:prSet/>
      <dgm:spPr/>
      <dgm:t>
        <a:bodyPr/>
        <a:lstStyle/>
        <a:p>
          <a:r>
            <a:rPr lang="en-US" baseline="0"/>
            <a:t>1 Standard license core = 1 General Purpose or Hyperscale core.</a:t>
          </a:r>
          <a:endParaRPr lang="en-US"/>
        </a:p>
      </dgm:t>
    </dgm:pt>
    <dgm:pt modelId="{A78F197D-839F-4019-8F22-3C89DFA6FABE}" type="parTrans" cxnId="{0B0C6005-3A91-4EE8-9F60-A75C0EAF0453}">
      <dgm:prSet/>
      <dgm:spPr/>
      <dgm:t>
        <a:bodyPr/>
        <a:lstStyle/>
        <a:p>
          <a:endParaRPr lang="en-US"/>
        </a:p>
      </dgm:t>
    </dgm:pt>
    <dgm:pt modelId="{75C95E0D-194E-41E9-BAF9-7E9100105616}" type="sibTrans" cxnId="{0B0C6005-3A91-4EE8-9F60-A75C0EAF0453}">
      <dgm:prSet/>
      <dgm:spPr/>
      <dgm:t>
        <a:bodyPr/>
        <a:lstStyle/>
        <a:p>
          <a:endParaRPr lang="en-US"/>
        </a:p>
      </dgm:t>
    </dgm:pt>
    <dgm:pt modelId="{2CC9E3DE-27EB-4E4E-AE42-946EFC5D0062}">
      <dgm:prSet/>
      <dgm:spPr/>
      <dgm:t>
        <a:bodyPr/>
        <a:lstStyle/>
        <a:p>
          <a:r>
            <a:rPr lang="en-US" baseline="0"/>
            <a:t>1 Enterprise license core = 1 Business Critical core.</a:t>
          </a:r>
          <a:endParaRPr lang="en-US"/>
        </a:p>
      </dgm:t>
    </dgm:pt>
    <dgm:pt modelId="{86D68850-ED14-4FCC-A91C-1456EB179AA2}" type="parTrans" cxnId="{6DA3D797-3A54-4169-B753-57C31AB09BF2}">
      <dgm:prSet/>
      <dgm:spPr/>
      <dgm:t>
        <a:bodyPr/>
        <a:lstStyle/>
        <a:p>
          <a:endParaRPr lang="en-US"/>
        </a:p>
      </dgm:t>
    </dgm:pt>
    <dgm:pt modelId="{DC5D30E8-0777-41BF-8948-BC9C44E7A586}" type="sibTrans" cxnId="{6DA3D797-3A54-4169-B753-57C31AB09BF2}">
      <dgm:prSet/>
      <dgm:spPr/>
      <dgm:t>
        <a:bodyPr/>
        <a:lstStyle/>
        <a:p>
          <a:endParaRPr lang="en-US"/>
        </a:p>
      </dgm:t>
    </dgm:pt>
    <dgm:pt modelId="{ABFB1644-7368-4F5C-A33D-406C0EEDBD63}">
      <dgm:prSet/>
      <dgm:spPr/>
      <dgm:t>
        <a:bodyPr/>
        <a:lstStyle/>
        <a:p>
          <a:r>
            <a:rPr lang="en-US" baseline="0"/>
            <a:t>1 Enterprise license core = 4 General Purpose or Hyperscale cores </a:t>
          </a:r>
          <a:br>
            <a:rPr lang="en-US" baseline="0"/>
          </a:br>
          <a:r>
            <a:rPr lang="en-US" baseline="0"/>
            <a:t>(virtualization benefit).</a:t>
          </a:r>
          <a:endParaRPr lang="en-US"/>
        </a:p>
      </dgm:t>
    </dgm:pt>
    <dgm:pt modelId="{71604D6D-C83E-4D3C-A3E2-C1472988AE80}" type="parTrans" cxnId="{8B01D0BE-D038-421B-A0A1-241832ADBB36}">
      <dgm:prSet/>
      <dgm:spPr/>
      <dgm:t>
        <a:bodyPr/>
        <a:lstStyle/>
        <a:p>
          <a:endParaRPr lang="en-US"/>
        </a:p>
      </dgm:t>
    </dgm:pt>
    <dgm:pt modelId="{605F6875-1479-413C-978C-8A514B9DA4A1}" type="sibTrans" cxnId="{8B01D0BE-D038-421B-A0A1-241832ADBB36}">
      <dgm:prSet/>
      <dgm:spPr/>
      <dgm:t>
        <a:bodyPr/>
        <a:lstStyle/>
        <a:p>
          <a:endParaRPr lang="en-US"/>
        </a:p>
      </dgm:t>
    </dgm:pt>
    <dgm:pt modelId="{988510E6-D9EC-4095-B15A-FA4387F8E88A}" type="pres">
      <dgm:prSet presAssocID="{6348B241-DE2F-41B7-A3AD-CE8E0471881B}" presName="Name0" presStyleCnt="0">
        <dgm:presLayoutVars>
          <dgm:dir/>
          <dgm:animLvl val="lvl"/>
          <dgm:resizeHandles val="exact"/>
        </dgm:presLayoutVars>
      </dgm:prSet>
      <dgm:spPr/>
    </dgm:pt>
    <dgm:pt modelId="{50C2515E-BB1F-4FC9-B81E-E6968D04040B}" type="pres">
      <dgm:prSet presAssocID="{18F05E32-E56B-4617-BDDC-C190C2A43D94}" presName="linNode" presStyleCnt="0"/>
      <dgm:spPr/>
    </dgm:pt>
    <dgm:pt modelId="{0FC0DAD7-794E-4EC0-95CF-7582A0AAD9B3}" type="pres">
      <dgm:prSet presAssocID="{18F05E32-E56B-4617-BDDC-C190C2A43D94}" presName="parentText" presStyleLbl="node1" presStyleIdx="0" presStyleCnt="1">
        <dgm:presLayoutVars>
          <dgm:chMax val="1"/>
          <dgm:bulletEnabled val="1"/>
        </dgm:presLayoutVars>
      </dgm:prSet>
      <dgm:spPr/>
    </dgm:pt>
    <dgm:pt modelId="{56C7CD83-B230-4431-83B2-F99528A2B909}" type="pres">
      <dgm:prSet presAssocID="{18F05E32-E56B-4617-BDDC-C190C2A43D94}" presName="descendantText" presStyleLbl="alignAccFollowNode1" presStyleIdx="0" presStyleCnt="1">
        <dgm:presLayoutVars>
          <dgm:bulletEnabled val="1"/>
        </dgm:presLayoutVars>
      </dgm:prSet>
      <dgm:spPr/>
    </dgm:pt>
  </dgm:ptLst>
  <dgm:cxnLst>
    <dgm:cxn modelId="{0B0C6005-3A91-4EE8-9F60-A75C0EAF0453}" srcId="{18F05E32-E56B-4617-BDDC-C190C2A43D94}" destId="{03433A1D-7DF0-4272-A0A9-3AE59828BD62}" srcOrd="0" destOrd="0" parTransId="{A78F197D-839F-4019-8F22-3C89DFA6FABE}" sibTransId="{75C95E0D-194E-41E9-BAF9-7E9100105616}"/>
    <dgm:cxn modelId="{6AB78511-F977-494F-B981-018B06004700}" srcId="{6348B241-DE2F-41B7-A3AD-CE8E0471881B}" destId="{18F05E32-E56B-4617-BDDC-C190C2A43D94}" srcOrd="0" destOrd="0" parTransId="{D246D32C-7593-4387-A1FE-F1FB17BA3391}" sibTransId="{797EE602-A604-48B2-BFB9-7D229CFED87F}"/>
    <dgm:cxn modelId="{FC19025E-798F-4F6B-AC77-305E414FF4EB}" type="presOf" srcId="{18F05E32-E56B-4617-BDDC-C190C2A43D94}" destId="{0FC0DAD7-794E-4EC0-95CF-7582A0AAD9B3}" srcOrd="0" destOrd="0" presId="urn:microsoft.com/office/officeart/2005/8/layout/vList5"/>
    <dgm:cxn modelId="{D68B4864-F24A-4B65-8BFF-459842296439}" type="presOf" srcId="{ABFB1644-7368-4F5C-A33D-406C0EEDBD63}" destId="{56C7CD83-B230-4431-83B2-F99528A2B909}" srcOrd="0" destOrd="2" presId="urn:microsoft.com/office/officeart/2005/8/layout/vList5"/>
    <dgm:cxn modelId="{B1D21F53-87AB-44F5-959C-907CD8682022}" type="presOf" srcId="{6348B241-DE2F-41B7-A3AD-CE8E0471881B}" destId="{988510E6-D9EC-4095-B15A-FA4387F8E88A}" srcOrd="0" destOrd="0" presId="urn:microsoft.com/office/officeart/2005/8/layout/vList5"/>
    <dgm:cxn modelId="{1707CE91-FEAE-4F7B-9DDB-C7C0B7A45D53}" type="presOf" srcId="{2CC9E3DE-27EB-4E4E-AE42-946EFC5D0062}" destId="{56C7CD83-B230-4431-83B2-F99528A2B909}" srcOrd="0" destOrd="1" presId="urn:microsoft.com/office/officeart/2005/8/layout/vList5"/>
    <dgm:cxn modelId="{6DA3D797-3A54-4169-B753-57C31AB09BF2}" srcId="{18F05E32-E56B-4617-BDDC-C190C2A43D94}" destId="{2CC9E3DE-27EB-4E4E-AE42-946EFC5D0062}" srcOrd="1" destOrd="0" parTransId="{86D68850-ED14-4FCC-A91C-1456EB179AA2}" sibTransId="{DC5D30E8-0777-41BF-8948-BC9C44E7A586}"/>
    <dgm:cxn modelId="{8B01D0BE-D038-421B-A0A1-241832ADBB36}" srcId="{18F05E32-E56B-4617-BDDC-C190C2A43D94}" destId="{ABFB1644-7368-4F5C-A33D-406C0EEDBD63}" srcOrd="2" destOrd="0" parTransId="{71604D6D-C83E-4D3C-A3E2-C1472988AE80}" sibTransId="{605F6875-1479-413C-978C-8A514B9DA4A1}"/>
    <dgm:cxn modelId="{1A9BF6F3-A2E2-4708-B09F-0D3F830C9DFD}" type="presOf" srcId="{03433A1D-7DF0-4272-A0A9-3AE59828BD62}" destId="{56C7CD83-B230-4431-83B2-F99528A2B909}" srcOrd="0" destOrd="0" presId="urn:microsoft.com/office/officeart/2005/8/layout/vList5"/>
    <dgm:cxn modelId="{E4C4EB1A-21A0-420E-9F9A-AFB2096070D8}" type="presParOf" srcId="{988510E6-D9EC-4095-B15A-FA4387F8E88A}" destId="{50C2515E-BB1F-4FC9-B81E-E6968D04040B}" srcOrd="0" destOrd="0" presId="urn:microsoft.com/office/officeart/2005/8/layout/vList5"/>
    <dgm:cxn modelId="{99DE6745-D9F2-4084-A6CB-5F56D308690B}" type="presParOf" srcId="{50C2515E-BB1F-4FC9-B81E-E6968D04040B}" destId="{0FC0DAD7-794E-4EC0-95CF-7582A0AAD9B3}" srcOrd="0" destOrd="0" presId="urn:microsoft.com/office/officeart/2005/8/layout/vList5"/>
    <dgm:cxn modelId="{BD3220A5-AB50-4926-8689-26ADC0832C04}" type="presParOf" srcId="{50C2515E-BB1F-4FC9-B81E-E6968D04040B}" destId="{56C7CD83-B230-4431-83B2-F99528A2B90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a:solidFill>
                <a:srgbClr val="FFFFFF"/>
              </a:solidFill>
            </a:rPr>
            <a:t>What are the main motivations to choose for Azure SQL Database?</a:t>
          </a:r>
          <a:endParaRPr lang="en-US"/>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a:solidFill>
                <a:srgbClr val="FFFFFF"/>
              </a:solidFill>
            </a:rPr>
            <a:t>How can you compare the Total Application Cost between Azure SQL Database and SQL Server in Azure VM?</a:t>
          </a:r>
          <a:endParaRPr lang="en-US"/>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7D1C0D01-AFC2-40A6-9796-C17FA9DEEB7A}" type="doc">
      <dgm:prSet loTypeId="urn:microsoft.com/office/officeart/2005/8/layout/hList6" loCatId="list" qsTypeId="urn:microsoft.com/office/officeart/2005/8/quickstyle/simple1" qsCatId="simple" csTypeId="urn:microsoft.com/office/officeart/2005/8/colors/colorful2" csCatId="colorful"/>
      <dgm:spPr/>
      <dgm:t>
        <a:bodyPr/>
        <a:lstStyle/>
        <a:p>
          <a:endParaRPr lang="en-US"/>
        </a:p>
      </dgm:t>
    </dgm:pt>
    <dgm:pt modelId="{83245A63-01B9-4EC6-B1D1-0CF3A868B78C}">
      <dgm:prSet/>
      <dgm:spPr/>
      <dgm:t>
        <a:bodyPr/>
        <a:lstStyle/>
        <a:p>
          <a:r>
            <a:rPr lang="en-US" baseline="0"/>
            <a:t>Basic concepts of Azure SQL Database</a:t>
          </a:r>
          <a:endParaRPr lang="en-US"/>
        </a:p>
      </dgm:t>
    </dgm:pt>
    <dgm:pt modelId="{E60F8834-558D-47F7-92B9-DF1C06082A53}" type="parTrans" cxnId="{D6CEE10C-4240-4AC4-9AD1-F95B6142C0AF}">
      <dgm:prSet/>
      <dgm:spPr/>
      <dgm:t>
        <a:bodyPr/>
        <a:lstStyle/>
        <a:p>
          <a:endParaRPr lang="en-US"/>
        </a:p>
      </dgm:t>
    </dgm:pt>
    <dgm:pt modelId="{47F06573-772D-4437-A92A-BB5585953A89}" type="sibTrans" cxnId="{D6CEE10C-4240-4AC4-9AD1-F95B6142C0AF}">
      <dgm:prSet/>
      <dgm:spPr/>
      <dgm:t>
        <a:bodyPr/>
        <a:lstStyle/>
        <a:p>
          <a:endParaRPr lang="en-US"/>
        </a:p>
      </dgm:t>
    </dgm:pt>
    <dgm:pt modelId="{4A822A36-FAB1-46C9-8EA5-850752567996}">
      <dgm:prSet/>
      <dgm:spPr/>
      <dgm:t>
        <a:bodyPr/>
        <a:lstStyle/>
        <a:p>
          <a:r>
            <a:rPr lang="en-US" baseline="0"/>
            <a:t>Create an Azure SQL Database</a:t>
          </a:r>
          <a:endParaRPr lang="en-US"/>
        </a:p>
      </dgm:t>
    </dgm:pt>
    <dgm:pt modelId="{BED22A41-ABB8-4A7A-B68D-F560C3CAA937}" type="parTrans" cxnId="{7108D003-C047-40E2-AB51-B1BFB8E91B7D}">
      <dgm:prSet/>
      <dgm:spPr/>
      <dgm:t>
        <a:bodyPr/>
        <a:lstStyle/>
        <a:p>
          <a:endParaRPr lang="en-US"/>
        </a:p>
      </dgm:t>
    </dgm:pt>
    <dgm:pt modelId="{46F069C0-E3C6-4530-B4D1-F59504153C2F}" type="sibTrans" cxnId="{7108D003-C047-40E2-AB51-B1BFB8E91B7D}">
      <dgm:prSet/>
      <dgm:spPr/>
      <dgm:t>
        <a:bodyPr/>
        <a:lstStyle/>
        <a:p>
          <a:endParaRPr lang="en-US"/>
        </a:p>
      </dgm:t>
    </dgm:pt>
    <dgm:pt modelId="{8BDECA24-6979-458A-B2C8-F6DB0458E225}">
      <dgm:prSet/>
      <dgm:spPr/>
      <dgm:t>
        <a:bodyPr/>
        <a:lstStyle/>
        <a:p>
          <a:r>
            <a:rPr lang="en-US" baseline="0"/>
            <a:t>Manage and scale multiple Azure SQL databases using Elastic Pools</a:t>
          </a:r>
          <a:endParaRPr lang="en-US"/>
        </a:p>
      </dgm:t>
    </dgm:pt>
    <dgm:pt modelId="{12DCF10C-A3A9-45FE-8A56-B9E52A802F30}" type="parTrans" cxnId="{9A548A2B-3031-4E79-B0A6-4BB1C4B1F19F}">
      <dgm:prSet/>
      <dgm:spPr/>
      <dgm:t>
        <a:bodyPr/>
        <a:lstStyle/>
        <a:p>
          <a:endParaRPr lang="en-US"/>
        </a:p>
      </dgm:t>
    </dgm:pt>
    <dgm:pt modelId="{067A6807-7F61-4AA2-9856-E8B58B2C2EDC}" type="sibTrans" cxnId="{9A548A2B-3031-4E79-B0A6-4BB1C4B1F19F}">
      <dgm:prSet/>
      <dgm:spPr/>
      <dgm:t>
        <a:bodyPr/>
        <a:lstStyle/>
        <a:p>
          <a:endParaRPr lang="en-US"/>
        </a:p>
      </dgm:t>
    </dgm:pt>
    <dgm:pt modelId="{84E85F8F-8247-40ED-A875-94653056727F}">
      <dgm:prSet/>
      <dgm:spPr/>
      <dgm:t>
        <a:bodyPr/>
        <a:lstStyle/>
        <a:p>
          <a:r>
            <a:rPr lang="en-US" baseline="0"/>
            <a:t>Knowledge between Azure SQL Database and SQL Server in Azure VM</a:t>
          </a:r>
          <a:endParaRPr lang="en-US"/>
        </a:p>
      </dgm:t>
    </dgm:pt>
    <dgm:pt modelId="{601E639E-43A8-40E8-8284-D2EA874E7739}" type="parTrans" cxnId="{1ACC1BE9-2489-40B9-9944-ABE8006E3735}">
      <dgm:prSet/>
      <dgm:spPr/>
      <dgm:t>
        <a:bodyPr/>
        <a:lstStyle/>
        <a:p>
          <a:endParaRPr lang="en-US"/>
        </a:p>
      </dgm:t>
    </dgm:pt>
    <dgm:pt modelId="{2157AC01-4892-4B9A-9510-CC5AA9C6A2A2}" type="sibTrans" cxnId="{1ACC1BE9-2489-40B9-9944-ABE8006E3735}">
      <dgm:prSet/>
      <dgm:spPr/>
      <dgm:t>
        <a:bodyPr/>
        <a:lstStyle/>
        <a:p>
          <a:endParaRPr lang="en-US"/>
        </a:p>
      </dgm:t>
    </dgm:pt>
    <dgm:pt modelId="{DB7D2910-EE7C-430C-B495-1C80363C4742}" type="pres">
      <dgm:prSet presAssocID="{7D1C0D01-AFC2-40A6-9796-C17FA9DEEB7A}" presName="Name0" presStyleCnt="0">
        <dgm:presLayoutVars>
          <dgm:dir/>
          <dgm:resizeHandles val="exact"/>
        </dgm:presLayoutVars>
      </dgm:prSet>
      <dgm:spPr/>
    </dgm:pt>
    <dgm:pt modelId="{C38CCB1A-DA41-4F0D-A0E7-9ACBFB32D37E}" type="pres">
      <dgm:prSet presAssocID="{83245A63-01B9-4EC6-B1D1-0CF3A868B78C}" presName="node" presStyleLbl="node1" presStyleIdx="0" presStyleCnt="4">
        <dgm:presLayoutVars>
          <dgm:bulletEnabled val="1"/>
        </dgm:presLayoutVars>
      </dgm:prSet>
      <dgm:spPr/>
    </dgm:pt>
    <dgm:pt modelId="{C7E5DEEC-FEA7-40BA-B6D2-3D0836835A9D}" type="pres">
      <dgm:prSet presAssocID="{47F06573-772D-4437-A92A-BB5585953A89}" presName="sibTrans" presStyleCnt="0"/>
      <dgm:spPr/>
    </dgm:pt>
    <dgm:pt modelId="{AE2F95FC-793E-44C8-A24E-256EFB44FD6E}" type="pres">
      <dgm:prSet presAssocID="{4A822A36-FAB1-46C9-8EA5-850752567996}" presName="node" presStyleLbl="node1" presStyleIdx="1" presStyleCnt="4">
        <dgm:presLayoutVars>
          <dgm:bulletEnabled val="1"/>
        </dgm:presLayoutVars>
      </dgm:prSet>
      <dgm:spPr/>
    </dgm:pt>
    <dgm:pt modelId="{99CC586A-A7D7-4487-9A13-098369599006}" type="pres">
      <dgm:prSet presAssocID="{46F069C0-E3C6-4530-B4D1-F59504153C2F}" presName="sibTrans" presStyleCnt="0"/>
      <dgm:spPr/>
    </dgm:pt>
    <dgm:pt modelId="{A6C9B6AA-2064-41C2-8BD7-0E483215C213}" type="pres">
      <dgm:prSet presAssocID="{8BDECA24-6979-458A-B2C8-F6DB0458E225}" presName="node" presStyleLbl="node1" presStyleIdx="2" presStyleCnt="4">
        <dgm:presLayoutVars>
          <dgm:bulletEnabled val="1"/>
        </dgm:presLayoutVars>
      </dgm:prSet>
      <dgm:spPr/>
    </dgm:pt>
    <dgm:pt modelId="{ABEEC5D3-16EB-4E8E-8AA1-3976E9F3FF26}" type="pres">
      <dgm:prSet presAssocID="{067A6807-7F61-4AA2-9856-E8B58B2C2EDC}" presName="sibTrans" presStyleCnt="0"/>
      <dgm:spPr/>
    </dgm:pt>
    <dgm:pt modelId="{4BA91906-28B3-4086-8DFC-95FA7FE8788A}" type="pres">
      <dgm:prSet presAssocID="{84E85F8F-8247-40ED-A875-94653056727F}" presName="node" presStyleLbl="node1" presStyleIdx="3" presStyleCnt="4">
        <dgm:presLayoutVars>
          <dgm:bulletEnabled val="1"/>
        </dgm:presLayoutVars>
      </dgm:prSet>
      <dgm:spPr/>
    </dgm:pt>
  </dgm:ptLst>
  <dgm:cxnLst>
    <dgm:cxn modelId="{7108D003-C047-40E2-AB51-B1BFB8E91B7D}" srcId="{7D1C0D01-AFC2-40A6-9796-C17FA9DEEB7A}" destId="{4A822A36-FAB1-46C9-8EA5-850752567996}" srcOrd="1" destOrd="0" parTransId="{BED22A41-ABB8-4A7A-B68D-F560C3CAA937}" sibTransId="{46F069C0-E3C6-4530-B4D1-F59504153C2F}"/>
    <dgm:cxn modelId="{9DC80306-1A48-4E73-96EB-B7A7B66D2F8D}" type="presOf" srcId="{4A822A36-FAB1-46C9-8EA5-850752567996}" destId="{AE2F95FC-793E-44C8-A24E-256EFB44FD6E}" srcOrd="0" destOrd="0" presId="urn:microsoft.com/office/officeart/2005/8/layout/hList6"/>
    <dgm:cxn modelId="{D6CEE10C-4240-4AC4-9AD1-F95B6142C0AF}" srcId="{7D1C0D01-AFC2-40A6-9796-C17FA9DEEB7A}" destId="{83245A63-01B9-4EC6-B1D1-0CF3A868B78C}" srcOrd="0" destOrd="0" parTransId="{E60F8834-558D-47F7-92B9-DF1C06082A53}" sibTransId="{47F06573-772D-4437-A92A-BB5585953A89}"/>
    <dgm:cxn modelId="{9A548A2B-3031-4E79-B0A6-4BB1C4B1F19F}" srcId="{7D1C0D01-AFC2-40A6-9796-C17FA9DEEB7A}" destId="{8BDECA24-6979-458A-B2C8-F6DB0458E225}" srcOrd="2" destOrd="0" parTransId="{12DCF10C-A3A9-45FE-8A56-B9E52A802F30}" sibTransId="{067A6807-7F61-4AA2-9856-E8B58B2C2EDC}"/>
    <dgm:cxn modelId="{B3567139-FA82-4EB5-B398-1333CD975568}" type="presOf" srcId="{8BDECA24-6979-458A-B2C8-F6DB0458E225}" destId="{A6C9B6AA-2064-41C2-8BD7-0E483215C213}" srcOrd="0" destOrd="0" presId="urn:microsoft.com/office/officeart/2005/8/layout/hList6"/>
    <dgm:cxn modelId="{F4D03690-56C1-45AE-9BB5-61D82CE6C645}" type="presOf" srcId="{83245A63-01B9-4EC6-B1D1-0CF3A868B78C}" destId="{C38CCB1A-DA41-4F0D-A0E7-9ACBFB32D37E}" srcOrd="0" destOrd="0" presId="urn:microsoft.com/office/officeart/2005/8/layout/hList6"/>
    <dgm:cxn modelId="{EBDFC392-FEFB-4313-B159-3510196AE412}" type="presOf" srcId="{84E85F8F-8247-40ED-A875-94653056727F}" destId="{4BA91906-28B3-4086-8DFC-95FA7FE8788A}" srcOrd="0" destOrd="0" presId="urn:microsoft.com/office/officeart/2005/8/layout/hList6"/>
    <dgm:cxn modelId="{F7656DC7-335E-4A3E-B4A4-38F8EE22843E}" type="presOf" srcId="{7D1C0D01-AFC2-40A6-9796-C17FA9DEEB7A}" destId="{DB7D2910-EE7C-430C-B495-1C80363C4742}" srcOrd="0" destOrd="0" presId="urn:microsoft.com/office/officeart/2005/8/layout/hList6"/>
    <dgm:cxn modelId="{1ACC1BE9-2489-40B9-9944-ABE8006E3735}" srcId="{7D1C0D01-AFC2-40A6-9796-C17FA9DEEB7A}" destId="{84E85F8F-8247-40ED-A875-94653056727F}" srcOrd="3" destOrd="0" parTransId="{601E639E-43A8-40E8-8284-D2EA874E7739}" sibTransId="{2157AC01-4892-4B9A-9510-CC5AA9C6A2A2}"/>
    <dgm:cxn modelId="{EE251E15-AA80-4C4B-99F3-C7B97CE0609F}" type="presParOf" srcId="{DB7D2910-EE7C-430C-B495-1C80363C4742}" destId="{C38CCB1A-DA41-4F0D-A0E7-9ACBFB32D37E}" srcOrd="0" destOrd="0" presId="urn:microsoft.com/office/officeart/2005/8/layout/hList6"/>
    <dgm:cxn modelId="{E58B5974-DE29-4257-8623-458563B9AD87}" type="presParOf" srcId="{DB7D2910-EE7C-430C-B495-1C80363C4742}" destId="{C7E5DEEC-FEA7-40BA-B6D2-3D0836835A9D}" srcOrd="1" destOrd="0" presId="urn:microsoft.com/office/officeart/2005/8/layout/hList6"/>
    <dgm:cxn modelId="{170DD12B-F455-4861-A8F9-45E4D1AEC004}" type="presParOf" srcId="{DB7D2910-EE7C-430C-B495-1C80363C4742}" destId="{AE2F95FC-793E-44C8-A24E-256EFB44FD6E}" srcOrd="2" destOrd="0" presId="urn:microsoft.com/office/officeart/2005/8/layout/hList6"/>
    <dgm:cxn modelId="{F24E044E-E2BB-4CC1-9816-52DE6B8627D4}" type="presParOf" srcId="{DB7D2910-EE7C-430C-B495-1C80363C4742}" destId="{99CC586A-A7D7-4487-9A13-098369599006}" srcOrd="3" destOrd="0" presId="urn:microsoft.com/office/officeart/2005/8/layout/hList6"/>
    <dgm:cxn modelId="{343D8B1F-09E2-4ECF-A29D-4997B110E3EF}" type="presParOf" srcId="{DB7D2910-EE7C-430C-B495-1C80363C4742}" destId="{A6C9B6AA-2064-41C2-8BD7-0E483215C213}" srcOrd="4" destOrd="0" presId="urn:microsoft.com/office/officeart/2005/8/layout/hList6"/>
    <dgm:cxn modelId="{37147B2E-4902-4E4B-AF94-5EBEF1F658CE}" type="presParOf" srcId="{DB7D2910-EE7C-430C-B495-1C80363C4742}" destId="{ABEEC5D3-16EB-4E8E-8AA1-3976E9F3FF26}" srcOrd="5" destOrd="0" presId="urn:microsoft.com/office/officeart/2005/8/layout/hList6"/>
    <dgm:cxn modelId="{5EED8CC3-1383-46F7-80ED-CD638FBABA9E}" type="presParOf" srcId="{DB7D2910-EE7C-430C-B495-1C80363C4742}" destId="{4BA91906-28B3-4086-8DFC-95FA7FE8788A}" srcOrd="6"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F1D9399-7667-4E3F-9C6F-ED74215FF152}" type="doc">
      <dgm:prSet loTypeId="urn:microsoft.com/office/officeart/2005/8/layout/hList1" loCatId="list" qsTypeId="urn:microsoft.com/office/officeart/2005/8/quickstyle/simple2" qsCatId="simple" csTypeId="urn:microsoft.com/office/officeart/2005/8/colors/accent1_2" csCatId="accent1" phldr="1"/>
      <dgm:spPr/>
      <dgm:t>
        <a:bodyPr/>
        <a:lstStyle/>
        <a:p>
          <a:endParaRPr lang="en-US"/>
        </a:p>
      </dgm:t>
    </dgm:pt>
    <dgm:pt modelId="{6622C38D-CA4D-4395-A05B-CE2E807273EA}">
      <dgm:prSet custT="1"/>
      <dgm:spPr>
        <a:xfrm>
          <a:off x="4133480" y="71624"/>
          <a:ext cx="3622601" cy="460800"/>
        </a:xfrm>
      </dgm:spPr>
      <dgm:t>
        <a:bodyPr/>
        <a:lstStyle/>
        <a:p>
          <a:pPr>
            <a:buNone/>
          </a:pPr>
          <a:r>
            <a:rPr lang="nl-BE" sz="1800" b="1" dirty="0">
              <a:latin typeface="Segoe UI"/>
              <a:ea typeface="+mn-ea"/>
              <a:cs typeface="+mn-cs"/>
            </a:rPr>
            <a:t>SQL Server in Azure VM</a:t>
          </a:r>
          <a:endParaRPr lang="en-US" sz="1800" dirty="0">
            <a:latin typeface="Segoe UI"/>
            <a:ea typeface="+mn-ea"/>
            <a:cs typeface="+mn-cs"/>
          </a:endParaRPr>
        </a:p>
      </dgm:t>
    </dgm:pt>
    <dgm:pt modelId="{05DF670A-810F-43AE-AD8A-1168962C2087}" type="parTrans" cxnId="{06F48F80-1D20-49D3-A693-62FFAB75286E}">
      <dgm:prSet/>
      <dgm:spPr/>
      <dgm:t>
        <a:bodyPr/>
        <a:lstStyle/>
        <a:p>
          <a:endParaRPr lang="en-US"/>
        </a:p>
      </dgm:t>
    </dgm:pt>
    <dgm:pt modelId="{C6D3CBF4-C26E-46F4-8E17-0F6641FA2497}" type="sibTrans" cxnId="{06F48F80-1D20-49D3-A693-62FFAB75286E}">
      <dgm:prSet/>
      <dgm:spPr/>
      <dgm:t>
        <a:bodyPr/>
        <a:lstStyle/>
        <a:p>
          <a:endParaRPr lang="en-US"/>
        </a:p>
      </dgm:t>
    </dgm:pt>
    <dgm:pt modelId="{1526D4B6-E7EC-47EA-8CF3-1B7A7A87738D}">
      <dgm:prSet custT="1"/>
      <dgm:spPr>
        <a:xfrm>
          <a:off x="4133480" y="532424"/>
          <a:ext cx="3622601" cy="5228581"/>
        </a:xfrm>
      </dgm:spPr>
      <dgm:t>
        <a:bodyPr/>
        <a:lstStyle/>
        <a:p>
          <a:pPr>
            <a:buChar char="•"/>
          </a:pPr>
          <a:r>
            <a:rPr lang="en-US" sz="1400" dirty="0">
              <a:latin typeface="Segoe UI"/>
              <a:ea typeface="+mn-ea"/>
              <a:cs typeface="+mn-cs"/>
            </a:rPr>
            <a:t>New applications or existing on-premises applications that want to use the latest stable SQL Server features and that are migrated to the cloud with minimal changes.</a:t>
          </a:r>
          <a:endParaRPr lang="nl-BE" sz="1400" dirty="0">
            <a:latin typeface="Segoe UI"/>
            <a:ea typeface="+mn-ea"/>
            <a:cs typeface="+mn-cs"/>
          </a:endParaRPr>
        </a:p>
      </dgm:t>
    </dgm:pt>
    <dgm:pt modelId="{1EFD3C76-03A1-4B0F-97A0-60CD57E7038E}" type="parTrans" cxnId="{17C681BE-8ADC-4186-AD40-6E3AFE5EE7C9}">
      <dgm:prSet/>
      <dgm:spPr/>
      <dgm:t>
        <a:bodyPr/>
        <a:lstStyle/>
        <a:p>
          <a:endParaRPr lang="en-US"/>
        </a:p>
      </dgm:t>
    </dgm:pt>
    <dgm:pt modelId="{49486109-EA05-4877-91C9-D24D498AA2E4}" type="sibTrans" cxnId="{17C681BE-8ADC-4186-AD40-6E3AFE5EE7C9}">
      <dgm:prSet/>
      <dgm:spPr/>
      <dgm:t>
        <a:bodyPr/>
        <a:lstStyle/>
        <a:p>
          <a:endParaRPr lang="en-US"/>
        </a:p>
      </dgm:t>
    </dgm:pt>
    <dgm:pt modelId="{9BC9B252-FAF6-4A55-A635-063A947FBF3F}">
      <dgm:prSet custT="1"/>
      <dgm:spPr>
        <a:xfrm>
          <a:off x="4133480" y="532424"/>
          <a:ext cx="3622601" cy="5228581"/>
        </a:xfrm>
      </dgm:spPr>
      <dgm:t>
        <a:bodyPr/>
        <a:lstStyle/>
        <a:p>
          <a:pPr>
            <a:buChar char="•"/>
          </a:pPr>
          <a:r>
            <a:rPr lang="en-US" sz="1400">
              <a:latin typeface="Segoe UI"/>
              <a:ea typeface="+mn-ea"/>
              <a:cs typeface="+mn-cs"/>
            </a:rPr>
            <a:t>Teams that need built-in high availability, disaster recovery, and upgrade for the database.</a:t>
          </a:r>
        </a:p>
      </dgm:t>
    </dgm:pt>
    <dgm:pt modelId="{36AEC279-A643-4963-9C0F-CD5FB2573E67}" type="parTrans" cxnId="{7D2D0B60-1D00-4246-8E56-7E9A5F240C58}">
      <dgm:prSet/>
      <dgm:spPr/>
      <dgm:t>
        <a:bodyPr/>
        <a:lstStyle/>
        <a:p>
          <a:endParaRPr lang="en-US"/>
        </a:p>
      </dgm:t>
    </dgm:pt>
    <dgm:pt modelId="{62C70245-523E-4E2C-B718-CBD46A00FC16}" type="sibTrans" cxnId="{7D2D0B60-1D00-4246-8E56-7E9A5F240C58}">
      <dgm:prSet/>
      <dgm:spPr/>
      <dgm:t>
        <a:bodyPr/>
        <a:lstStyle/>
        <a:p>
          <a:endParaRPr lang="en-US"/>
        </a:p>
      </dgm:t>
    </dgm:pt>
    <dgm:pt modelId="{0B04F3E7-3650-4961-A057-36BCE8464EA9}">
      <dgm:prSet custT="1"/>
      <dgm:spPr>
        <a:xfrm>
          <a:off x="4133480" y="532424"/>
          <a:ext cx="3622601" cy="5228581"/>
        </a:xfrm>
      </dgm:spPr>
      <dgm:t>
        <a:bodyPr/>
        <a:lstStyle/>
        <a:p>
          <a:pPr>
            <a:buChar char="•"/>
          </a:pPr>
          <a:r>
            <a:rPr lang="en-US" sz="1400" dirty="0">
              <a:latin typeface="Segoe UI"/>
              <a:ea typeface="+mn-ea"/>
              <a:cs typeface="+mn-cs"/>
            </a:rPr>
            <a:t>Teams that do not want to manage the underlying operating system and configuration settings.</a:t>
          </a:r>
        </a:p>
      </dgm:t>
    </dgm:pt>
    <dgm:pt modelId="{30B89EF4-241E-44A8-B45C-76B0C48D5296}" type="parTrans" cxnId="{FDA6B3EB-8030-4271-894A-F53FE53C4986}">
      <dgm:prSet/>
      <dgm:spPr/>
      <dgm:t>
        <a:bodyPr/>
        <a:lstStyle/>
        <a:p>
          <a:endParaRPr lang="en-US"/>
        </a:p>
      </dgm:t>
    </dgm:pt>
    <dgm:pt modelId="{6FEFE518-BA9F-4280-94F5-0E2C7BE6A0CD}" type="sibTrans" cxnId="{FDA6B3EB-8030-4271-894A-F53FE53C4986}">
      <dgm:prSet/>
      <dgm:spPr/>
      <dgm:t>
        <a:bodyPr/>
        <a:lstStyle/>
        <a:p>
          <a:endParaRPr lang="en-US"/>
        </a:p>
      </dgm:t>
    </dgm:pt>
    <dgm:pt modelId="{621B0979-8D61-4574-A3F9-FEF306434B57}">
      <dgm:prSet custT="1"/>
      <dgm:spPr>
        <a:xfrm>
          <a:off x="4133480" y="532424"/>
          <a:ext cx="3622601" cy="5228581"/>
        </a:xfrm>
      </dgm:spPr>
      <dgm:t>
        <a:bodyPr/>
        <a:lstStyle/>
        <a:p>
          <a:pPr>
            <a:buChar char="•"/>
          </a:pPr>
          <a:r>
            <a:rPr lang="en-US" sz="1400">
              <a:latin typeface="Segoe UI"/>
              <a:ea typeface="+mn-ea"/>
              <a:cs typeface="+mn-cs"/>
            </a:rPr>
            <a:t>Databases of up to 8 TB, or larger databases that can be horizontally or vertically partitioned using a scale-out pattern.</a:t>
          </a:r>
          <a:endParaRPr lang="en-US" sz="1400" dirty="0">
            <a:latin typeface="Segoe UI"/>
            <a:ea typeface="+mn-ea"/>
            <a:cs typeface="+mn-cs"/>
          </a:endParaRPr>
        </a:p>
      </dgm:t>
    </dgm:pt>
    <dgm:pt modelId="{DF505AB1-F0EF-45A5-B60C-2BEFD3900E19}" type="parTrans" cxnId="{D1A54EF9-826A-43CE-ACCE-EB3CDBF577AA}">
      <dgm:prSet/>
      <dgm:spPr/>
      <dgm:t>
        <a:bodyPr/>
        <a:lstStyle/>
        <a:p>
          <a:endParaRPr lang="en-US"/>
        </a:p>
      </dgm:t>
    </dgm:pt>
    <dgm:pt modelId="{9BABEA73-6F08-42E6-A75E-763A7C04E977}" type="sibTrans" cxnId="{D1A54EF9-826A-43CE-ACCE-EB3CDBF577AA}">
      <dgm:prSet/>
      <dgm:spPr/>
      <dgm:t>
        <a:bodyPr/>
        <a:lstStyle/>
        <a:p>
          <a:endParaRPr lang="en-US"/>
        </a:p>
      </dgm:t>
    </dgm:pt>
    <dgm:pt modelId="{3E604CBF-D3E8-4636-9D8A-149C0773CC8F}">
      <dgm:prSet custT="1"/>
      <dgm:spPr>
        <a:xfrm>
          <a:off x="4133480" y="532424"/>
          <a:ext cx="3622601" cy="5228581"/>
        </a:xfrm>
      </dgm:spPr>
      <dgm:t>
        <a:bodyPr/>
        <a:lstStyle/>
        <a:p>
          <a:pPr>
            <a:buChar char="•"/>
          </a:pPr>
          <a:endParaRPr lang="nl-BE" sz="1400">
            <a:solidFill>
              <a:srgbClr val="505050"/>
            </a:solidFill>
            <a:latin typeface="Segoe UI"/>
            <a:ea typeface="+mn-ea"/>
            <a:cs typeface="+mn-cs"/>
          </a:endParaRPr>
        </a:p>
      </dgm:t>
    </dgm:pt>
    <dgm:pt modelId="{4C1F5967-D32D-4FB6-B82D-5F08E78C5D61}" type="parTrans" cxnId="{6F3D24BD-DB60-4890-AF54-1A62F00A33E4}">
      <dgm:prSet/>
      <dgm:spPr/>
      <dgm:t>
        <a:bodyPr/>
        <a:lstStyle/>
        <a:p>
          <a:endParaRPr lang="en-US"/>
        </a:p>
      </dgm:t>
    </dgm:pt>
    <dgm:pt modelId="{35EAD70B-24B7-4FE8-8721-C14ADA98EACB}" type="sibTrans" cxnId="{6F3D24BD-DB60-4890-AF54-1A62F00A33E4}">
      <dgm:prSet/>
      <dgm:spPr/>
      <dgm:t>
        <a:bodyPr/>
        <a:lstStyle/>
        <a:p>
          <a:endParaRPr lang="en-US"/>
        </a:p>
      </dgm:t>
    </dgm:pt>
    <dgm:pt modelId="{42D739D5-2C42-4586-8DF9-0EC85D4DD939}">
      <dgm:prSet custT="1"/>
      <dgm:spPr>
        <a:xfrm>
          <a:off x="4133480" y="532424"/>
          <a:ext cx="3622601" cy="5228581"/>
        </a:xfrm>
      </dgm:spPr>
      <dgm:t>
        <a:bodyPr/>
        <a:lstStyle/>
        <a:p>
          <a:pPr>
            <a:buChar char="•"/>
          </a:pPr>
          <a:endParaRPr lang="en-US" sz="1400">
            <a:solidFill>
              <a:srgbClr val="505050"/>
            </a:solidFill>
            <a:latin typeface="Segoe UI"/>
            <a:ea typeface="+mn-ea"/>
            <a:cs typeface="+mn-cs"/>
          </a:endParaRPr>
        </a:p>
      </dgm:t>
    </dgm:pt>
    <dgm:pt modelId="{26158B57-53BD-4445-B4BF-A9C8C9936C39}" type="parTrans" cxnId="{62C06C09-BB70-4F3E-8B5B-ACE88502421E}">
      <dgm:prSet/>
      <dgm:spPr/>
      <dgm:t>
        <a:bodyPr/>
        <a:lstStyle/>
        <a:p>
          <a:endParaRPr lang="en-US"/>
        </a:p>
      </dgm:t>
    </dgm:pt>
    <dgm:pt modelId="{92A4B315-D734-4C22-AA18-518A61B80F6A}" type="sibTrans" cxnId="{62C06C09-BB70-4F3E-8B5B-ACE88502421E}">
      <dgm:prSet/>
      <dgm:spPr/>
      <dgm:t>
        <a:bodyPr/>
        <a:lstStyle/>
        <a:p>
          <a:endParaRPr lang="en-US"/>
        </a:p>
      </dgm:t>
    </dgm:pt>
    <dgm:pt modelId="{B1C3D9BC-C4EA-4BF6-9B2B-A063D6FC232D}">
      <dgm:prSet custT="1"/>
      <dgm:spPr>
        <a:xfrm>
          <a:off x="4133480" y="532424"/>
          <a:ext cx="3622601" cy="5228581"/>
        </a:xfrm>
      </dgm:spPr>
      <dgm:t>
        <a:bodyPr/>
        <a:lstStyle/>
        <a:p>
          <a:pPr>
            <a:buChar char="•"/>
          </a:pPr>
          <a:endParaRPr lang="en-US" sz="1400">
            <a:solidFill>
              <a:srgbClr val="505050"/>
            </a:solidFill>
            <a:latin typeface="Segoe UI"/>
            <a:ea typeface="+mn-ea"/>
            <a:cs typeface="+mn-cs"/>
          </a:endParaRPr>
        </a:p>
      </dgm:t>
    </dgm:pt>
    <dgm:pt modelId="{8F6F125E-E872-4C12-91A8-B10B490E2940}" type="parTrans" cxnId="{67890775-500C-45EE-A894-0A730FD5281B}">
      <dgm:prSet/>
      <dgm:spPr/>
      <dgm:t>
        <a:bodyPr/>
        <a:lstStyle/>
        <a:p>
          <a:endParaRPr lang="en-US"/>
        </a:p>
      </dgm:t>
    </dgm:pt>
    <dgm:pt modelId="{B4AF8B9D-3BEF-4A4F-8BC5-CCA13BD0C613}" type="sibTrans" cxnId="{67890775-500C-45EE-A894-0A730FD5281B}">
      <dgm:prSet/>
      <dgm:spPr/>
      <dgm:t>
        <a:bodyPr/>
        <a:lstStyle/>
        <a:p>
          <a:endParaRPr lang="en-US"/>
        </a:p>
      </dgm:t>
    </dgm:pt>
    <dgm:pt modelId="{88FD2127-41F8-4D56-B458-5020A562CBF6}">
      <dgm:prSet custT="1"/>
      <dgm:spPr>
        <a:xfrm>
          <a:off x="3715" y="483327"/>
          <a:ext cx="3622601" cy="5294043"/>
        </a:xfrm>
      </dgm:spPr>
      <dgm:t>
        <a:bodyPr/>
        <a:lstStyle/>
        <a:p>
          <a:pPr>
            <a:buChar char="•"/>
          </a:pPr>
          <a:r>
            <a:rPr lang="en-US" sz="1400" dirty="0">
              <a:latin typeface="Segoe UI"/>
              <a:ea typeface="+mn-ea"/>
              <a:cs typeface="+mn-cs"/>
            </a:rPr>
            <a:t>New cloud-designed applications that want to use the latest stable SQL Server features and have time constraints in development and marketing.</a:t>
          </a:r>
          <a:endParaRPr lang="nl-BE" sz="1400" dirty="0">
            <a:latin typeface="Segoe UI"/>
            <a:ea typeface="+mn-ea"/>
            <a:cs typeface="+mn-cs"/>
          </a:endParaRPr>
        </a:p>
      </dgm:t>
    </dgm:pt>
    <dgm:pt modelId="{19D840C7-E747-49DA-B0D1-B6A926FE6C2F}" type="parTrans" cxnId="{EC8FFFA8-2EBC-4671-991B-4105C08CB3E1}">
      <dgm:prSet/>
      <dgm:spPr/>
      <dgm:t>
        <a:bodyPr/>
        <a:lstStyle/>
        <a:p>
          <a:endParaRPr lang="en-US"/>
        </a:p>
      </dgm:t>
    </dgm:pt>
    <dgm:pt modelId="{2A283F15-43B8-494F-8A60-F59B92212255}" type="sibTrans" cxnId="{EC8FFFA8-2EBC-4671-991B-4105C08CB3E1}">
      <dgm:prSet/>
      <dgm:spPr/>
      <dgm:t>
        <a:bodyPr/>
        <a:lstStyle/>
        <a:p>
          <a:endParaRPr lang="en-US"/>
        </a:p>
      </dgm:t>
    </dgm:pt>
    <dgm:pt modelId="{E53DAADF-D316-49D8-8FDB-19104076CC0B}">
      <dgm:prSet custT="1"/>
      <dgm:spPr>
        <a:xfrm>
          <a:off x="3715" y="483327"/>
          <a:ext cx="3622601" cy="5294043"/>
        </a:xfrm>
      </dgm:spPr>
      <dgm:t>
        <a:bodyPr/>
        <a:lstStyle/>
        <a:p>
          <a:pPr>
            <a:buChar char="•"/>
          </a:pPr>
          <a:endParaRPr lang="nl-BE" sz="1400" dirty="0">
            <a:solidFill>
              <a:srgbClr val="505050"/>
            </a:solidFill>
            <a:latin typeface="Segoe UI"/>
            <a:ea typeface="+mn-ea"/>
            <a:cs typeface="+mn-cs"/>
          </a:endParaRPr>
        </a:p>
      </dgm:t>
    </dgm:pt>
    <dgm:pt modelId="{44ED94C6-8130-4242-B14A-8A766702F68C}" type="parTrans" cxnId="{957BB1BD-9B1B-4CDA-85AB-2836CBA0D0A9}">
      <dgm:prSet/>
      <dgm:spPr/>
      <dgm:t>
        <a:bodyPr/>
        <a:lstStyle/>
        <a:p>
          <a:endParaRPr lang="en-US"/>
        </a:p>
      </dgm:t>
    </dgm:pt>
    <dgm:pt modelId="{8162D763-CEDD-4A8D-9ECE-D61BC97DCA1E}" type="sibTrans" cxnId="{957BB1BD-9B1B-4CDA-85AB-2836CBA0D0A9}">
      <dgm:prSet/>
      <dgm:spPr/>
      <dgm:t>
        <a:bodyPr/>
        <a:lstStyle/>
        <a:p>
          <a:endParaRPr lang="en-US"/>
        </a:p>
      </dgm:t>
    </dgm:pt>
    <dgm:pt modelId="{E9DAE887-AB35-47F8-8B1D-69D30668D3BD}">
      <dgm:prSet custT="1"/>
      <dgm:spPr>
        <a:xfrm>
          <a:off x="3715" y="483327"/>
          <a:ext cx="3622601" cy="5294043"/>
        </a:xfrm>
      </dgm:spPr>
      <dgm:t>
        <a:bodyPr/>
        <a:lstStyle/>
        <a:p>
          <a:pPr>
            <a:buChar char="•"/>
          </a:pPr>
          <a:r>
            <a:rPr lang="en-US" sz="1400" dirty="0">
              <a:latin typeface="Segoe UI"/>
              <a:ea typeface="+mn-ea"/>
              <a:cs typeface="+mn-cs"/>
            </a:rPr>
            <a:t>Teams that need built-in high availability, disaster recovery, and upgrade for the database.</a:t>
          </a:r>
        </a:p>
      </dgm:t>
    </dgm:pt>
    <dgm:pt modelId="{2793E381-B118-44AE-9E49-8EF49B9A21F1}" type="parTrans" cxnId="{B7AD77FA-4EA3-440C-BCE3-EACCC80ABAC8}">
      <dgm:prSet/>
      <dgm:spPr/>
      <dgm:t>
        <a:bodyPr/>
        <a:lstStyle/>
        <a:p>
          <a:endParaRPr lang="en-US"/>
        </a:p>
      </dgm:t>
    </dgm:pt>
    <dgm:pt modelId="{F4F3F9F7-2E6C-4453-B259-26CFBAE70BD5}" type="sibTrans" cxnId="{B7AD77FA-4EA3-440C-BCE3-EACCC80ABAC8}">
      <dgm:prSet/>
      <dgm:spPr/>
      <dgm:t>
        <a:bodyPr/>
        <a:lstStyle/>
        <a:p>
          <a:endParaRPr lang="en-US"/>
        </a:p>
      </dgm:t>
    </dgm:pt>
    <dgm:pt modelId="{34AB325B-B668-447A-83BD-D640DF2BCDCC}">
      <dgm:prSet custT="1"/>
      <dgm:spPr>
        <a:xfrm>
          <a:off x="3715" y="483327"/>
          <a:ext cx="3622601" cy="5294043"/>
        </a:xfrm>
      </dgm:spPr>
      <dgm:t>
        <a:bodyPr/>
        <a:lstStyle/>
        <a:p>
          <a:pPr>
            <a:buChar char="•"/>
          </a:pPr>
          <a:endParaRPr lang="en-US" sz="1400" dirty="0">
            <a:solidFill>
              <a:srgbClr val="505050"/>
            </a:solidFill>
            <a:latin typeface="Segoe UI"/>
            <a:ea typeface="+mn-ea"/>
            <a:cs typeface="+mn-cs"/>
          </a:endParaRPr>
        </a:p>
      </dgm:t>
    </dgm:pt>
    <dgm:pt modelId="{EE713FFE-D592-4591-A925-58EBCD4DC301}" type="parTrans" cxnId="{D781B4ED-5F5A-451B-8BB0-303B4855A5B6}">
      <dgm:prSet/>
      <dgm:spPr/>
      <dgm:t>
        <a:bodyPr/>
        <a:lstStyle/>
        <a:p>
          <a:endParaRPr lang="en-US"/>
        </a:p>
      </dgm:t>
    </dgm:pt>
    <dgm:pt modelId="{92AEF957-BC27-4560-9553-65204E8DC6B9}" type="sibTrans" cxnId="{D781B4ED-5F5A-451B-8BB0-303B4855A5B6}">
      <dgm:prSet/>
      <dgm:spPr/>
      <dgm:t>
        <a:bodyPr/>
        <a:lstStyle/>
        <a:p>
          <a:endParaRPr lang="en-US"/>
        </a:p>
      </dgm:t>
    </dgm:pt>
    <dgm:pt modelId="{68C1B624-1BC3-49F7-B4AB-EC3FC7374C4A}">
      <dgm:prSet custT="1"/>
      <dgm:spPr>
        <a:xfrm>
          <a:off x="3715" y="483327"/>
          <a:ext cx="3622601" cy="5294043"/>
        </a:xfrm>
      </dgm:spPr>
      <dgm:t>
        <a:bodyPr/>
        <a:lstStyle/>
        <a:p>
          <a:pPr>
            <a:buChar char="•"/>
          </a:pPr>
          <a:r>
            <a:rPr lang="en-US" sz="1400" dirty="0">
              <a:latin typeface="Segoe UI"/>
              <a:ea typeface="+mn-ea"/>
              <a:cs typeface="+mn-cs"/>
            </a:rPr>
            <a:t>Teams that do not want to manage the underlying operating system and configuration settings.</a:t>
          </a:r>
        </a:p>
      </dgm:t>
    </dgm:pt>
    <dgm:pt modelId="{1965D53B-23A6-4656-B33A-658E0D7B9518}" type="parTrans" cxnId="{A80AFE2F-0F04-4571-B61C-2BFC5D0F4D81}">
      <dgm:prSet/>
      <dgm:spPr/>
      <dgm:t>
        <a:bodyPr/>
        <a:lstStyle/>
        <a:p>
          <a:endParaRPr lang="en-US"/>
        </a:p>
      </dgm:t>
    </dgm:pt>
    <dgm:pt modelId="{43401577-5871-4CAB-92C0-0CA4658A253D}" type="sibTrans" cxnId="{A80AFE2F-0F04-4571-B61C-2BFC5D0F4D81}">
      <dgm:prSet/>
      <dgm:spPr/>
      <dgm:t>
        <a:bodyPr/>
        <a:lstStyle/>
        <a:p>
          <a:endParaRPr lang="en-US"/>
        </a:p>
      </dgm:t>
    </dgm:pt>
    <dgm:pt modelId="{9B062E4F-027A-4BC1-B189-1325A1017D91}">
      <dgm:prSet custT="1"/>
      <dgm:spPr>
        <a:xfrm>
          <a:off x="3715" y="483327"/>
          <a:ext cx="3622601" cy="5294043"/>
        </a:xfrm>
      </dgm:spPr>
      <dgm:t>
        <a:bodyPr/>
        <a:lstStyle/>
        <a:p>
          <a:pPr>
            <a:buChar char="•"/>
          </a:pPr>
          <a:endParaRPr lang="en-US" sz="1400" dirty="0">
            <a:solidFill>
              <a:srgbClr val="505050"/>
            </a:solidFill>
            <a:latin typeface="Segoe UI"/>
            <a:ea typeface="+mn-ea"/>
            <a:cs typeface="+mn-cs"/>
          </a:endParaRPr>
        </a:p>
      </dgm:t>
    </dgm:pt>
    <dgm:pt modelId="{09278422-9671-4CF2-B871-91220D963609}" type="parTrans" cxnId="{2AA2CA69-0C4D-4725-89C7-504F27796067}">
      <dgm:prSet/>
      <dgm:spPr/>
      <dgm:t>
        <a:bodyPr/>
        <a:lstStyle/>
        <a:p>
          <a:endParaRPr lang="en-US"/>
        </a:p>
      </dgm:t>
    </dgm:pt>
    <dgm:pt modelId="{7710DDA1-ECB8-4569-93B5-461AC0534BEF}" type="sibTrans" cxnId="{2AA2CA69-0C4D-4725-89C7-504F27796067}">
      <dgm:prSet/>
      <dgm:spPr/>
      <dgm:t>
        <a:bodyPr/>
        <a:lstStyle/>
        <a:p>
          <a:endParaRPr lang="en-US"/>
        </a:p>
      </dgm:t>
    </dgm:pt>
    <dgm:pt modelId="{C6663E03-060E-483E-AB41-1EFD3673E3EB}">
      <dgm:prSet custT="1"/>
      <dgm:spPr>
        <a:xfrm>
          <a:off x="3715" y="483327"/>
          <a:ext cx="3622601" cy="5294043"/>
        </a:xfrm>
      </dgm:spPr>
      <dgm:t>
        <a:bodyPr/>
        <a:lstStyle/>
        <a:p>
          <a:pPr>
            <a:buChar char="•"/>
          </a:pPr>
          <a:r>
            <a:rPr lang="en-US" sz="1400" dirty="0">
              <a:latin typeface="Segoe UI"/>
              <a:ea typeface="+mn-ea"/>
              <a:cs typeface="+mn-cs"/>
            </a:rPr>
            <a:t>Databases of up to 4 TB, or larger databases that can be horizontally or vertically partitioned using a scale-out pattern.</a:t>
          </a:r>
        </a:p>
      </dgm:t>
    </dgm:pt>
    <dgm:pt modelId="{80A09DFD-2727-4A36-9181-29838B880385}" type="parTrans" cxnId="{0064ABC9-CAB4-4C49-AC4A-A6B4BDBEA037}">
      <dgm:prSet/>
      <dgm:spPr/>
      <dgm:t>
        <a:bodyPr/>
        <a:lstStyle/>
        <a:p>
          <a:endParaRPr lang="en-US"/>
        </a:p>
      </dgm:t>
    </dgm:pt>
    <dgm:pt modelId="{E9DDF333-46A3-45B3-8462-C512913D5D83}" type="sibTrans" cxnId="{0064ABC9-CAB4-4C49-AC4A-A6B4BDBEA037}">
      <dgm:prSet/>
      <dgm:spPr/>
      <dgm:t>
        <a:bodyPr/>
        <a:lstStyle/>
        <a:p>
          <a:endParaRPr lang="en-US"/>
        </a:p>
      </dgm:t>
    </dgm:pt>
    <dgm:pt modelId="{B6819062-AB24-45FA-85B5-B182FC29FFF8}">
      <dgm:prSet custT="1"/>
      <dgm:spPr>
        <a:xfrm>
          <a:off x="8263246" y="532424"/>
          <a:ext cx="3622601" cy="5228581"/>
        </a:xfrm>
      </dgm:spPr>
      <dgm:t>
        <a:bodyPr/>
        <a:lstStyle/>
        <a:p>
          <a:pPr>
            <a:buChar char="•"/>
          </a:pPr>
          <a:r>
            <a:rPr lang="nl-BE" sz="1800" b="1" dirty="0">
              <a:latin typeface="Segoe UI"/>
              <a:ea typeface="+mn-ea"/>
              <a:cs typeface="+mn-cs"/>
            </a:rPr>
            <a:t>Azure SQL Datababase</a:t>
          </a:r>
          <a:endParaRPr lang="en-US" sz="1800" dirty="0">
            <a:latin typeface="Segoe UI"/>
            <a:ea typeface="+mn-ea"/>
            <a:cs typeface="+mn-cs"/>
          </a:endParaRPr>
        </a:p>
      </dgm:t>
    </dgm:pt>
    <dgm:pt modelId="{64348D9E-48BA-40C9-A70A-7736298C9B39}" type="parTrans" cxnId="{5305DDFA-D7A7-463B-B56D-7A009F1E7A99}">
      <dgm:prSet/>
      <dgm:spPr/>
      <dgm:t>
        <a:bodyPr/>
        <a:lstStyle/>
        <a:p>
          <a:endParaRPr lang="en-US"/>
        </a:p>
      </dgm:t>
    </dgm:pt>
    <dgm:pt modelId="{09EE4DD4-D24D-40F2-9D55-02EC9A5CDDC6}" type="sibTrans" cxnId="{5305DDFA-D7A7-463B-B56D-7A009F1E7A99}">
      <dgm:prSet/>
      <dgm:spPr/>
      <dgm:t>
        <a:bodyPr/>
        <a:lstStyle/>
        <a:p>
          <a:endParaRPr lang="en-US"/>
        </a:p>
      </dgm:t>
    </dgm:pt>
    <dgm:pt modelId="{EE6F4CFD-6E77-4B00-9445-13626E116585}">
      <dgm:prSet custT="1"/>
      <dgm:spPr>
        <a:xfrm>
          <a:off x="4133480" y="71624"/>
          <a:ext cx="3622601" cy="460800"/>
        </a:xfrm>
      </dgm:spPr>
      <dgm:t>
        <a:bodyPr/>
        <a:lstStyle/>
        <a:p>
          <a:pPr>
            <a:buChar char="•"/>
          </a:pPr>
          <a:r>
            <a:rPr lang="en-US" sz="1400" dirty="0">
              <a:latin typeface="Segoe UI"/>
              <a:ea typeface="+mn-ea"/>
              <a:cs typeface="+mn-cs"/>
            </a:rPr>
            <a:t>Existing applications that require fast migration to the cloud with minimal changes or no changes.</a:t>
          </a:r>
          <a:endParaRPr lang="nl-BE" sz="1400" dirty="0">
            <a:latin typeface="Segoe UI"/>
            <a:ea typeface="+mn-ea"/>
            <a:cs typeface="+mn-cs"/>
          </a:endParaRPr>
        </a:p>
      </dgm:t>
    </dgm:pt>
    <dgm:pt modelId="{404AB862-62D0-417F-B541-95688E882B40}" type="parTrans" cxnId="{6E420A6F-91A4-492F-8718-24E6B862980A}">
      <dgm:prSet/>
      <dgm:spPr/>
      <dgm:t>
        <a:bodyPr/>
        <a:lstStyle/>
        <a:p>
          <a:endParaRPr lang="en-US"/>
        </a:p>
      </dgm:t>
    </dgm:pt>
    <dgm:pt modelId="{FB378A0E-CE3B-4D54-A5F6-34D66D72EE69}" type="sibTrans" cxnId="{6E420A6F-91A4-492F-8718-24E6B862980A}">
      <dgm:prSet/>
      <dgm:spPr/>
      <dgm:t>
        <a:bodyPr/>
        <a:lstStyle/>
        <a:p>
          <a:endParaRPr lang="en-US"/>
        </a:p>
      </dgm:t>
    </dgm:pt>
    <dgm:pt modelId="{F435DC69-C0F5-49B1-A7C9-535D8DE4474A}">
      <dgm:prSet custT="1"/>
      <dgm:spPr>
        <a:xfrm>
          <a:off x="4133480" y="71624"/>
          <a:ext cx="3622601" cy="460800"/>
        </a:xfrm>
      </dgm:spPr>
      <dgm:t>
        <a:bodyPr/>
        <a:lstStyle/>
        <a:p>
          <a:pPr>
            <a:buChar char="•"/>
          </a:pPr>
          <a:endParaRPr lang="nl-BE" sz="1400" dirty="0">
            <a:solidFill>
              <a:srgbClr val="505050"/>
            </a:solidFill>
            <a:latin typeface="Segoe UI"/>
            <a:ea typeface="+mn-ea"/>
            <a:cs typeface="+mn-cs"/>
          </a:endParaRPr>
        </a:p>
      </dgm:t>
    </dgm:pt>
    <dgm:pt modelId="{951AB178-793C-468A-BC16-6A4B5082E901}" type="parTrans" cxnId="{10CECB0C-7443-4EE9-8C9E-72B56B0F540E}">
      <dgm:prSet/>
      <dgm:spPr/>
      <dgm:t>
        <a:bodyPr/>
        <a:lstStyle/>
        <a:p>
          <a:endParaRPr lang="en-US"/>
        </a:p>
      </dgm:t>
    </dgm:pt>
    <dgm:pt modelId="{2AFE8B10-3804-4F5B-AFFB-8E39276614BF}" type="sibTrans" cxnId="{10CECB0C-7443-4EE9-8C9E-72B56B0F540E}">
      <dgm:prSet/>
      <dgm:spPr/>
      <dgm:t>
        <a:bodyPr/>
        <a:lstStyle/>
        <a:p>
          <a:endParaRPr lang="en-US"/>
        </a:p>
      </dgm:t>
    </dgm:pt>
    <dgm:pt modelId="{F369171B-98B9-499F-96EF-F8C31A19A2F4}">
      <dgm:prSet custT="1"/>
      <dgm:spPr>
        <a:xfrm>
          <a:off x="4133480" y="71624"/>
          <a:ext cx="3622601" cy="460800"/>
        </a:xfrm>
      </dgm:spPr>
      <dgm:t>
        <a:bodyPr/>
        <a:lstStyle/>
        <a:p>
          <a:pPr>
            <a:buChar char="•"/>
          </a:pPr>
          <a:r>
            <a:rPr lang="en-US" sz="1400" dirty="0">
              <a:latin typeface="Segoe UI"/>
              <a:ea typeface="+mn-ea"/>
              <a:cs typeface="+mn-cs"/>
            </a:rPr>
            <a:t>Teams that can configure, fine tune, customize, and manage high availability, disaster recovery, and patching for SQL Server.</a:t>
          </a:r>
        </a:p>
      </dgm:t>
    </dgm:pt>
    <dgm:pt modelId="{405EFEA8-D33F-478C-8447-24F421B5BCBE}" type="parTrans" cxnId="{F8E04C1F-DFA6-4826-B543-01D44A3C4516}">
      <dgm:prSet/>
      <dgm:spPr/>
      <dgm:t>
        <a:bodyPr/>
        <a:lstStyle/>
        <a:p>
          <a:endParaRPr lang="en-US"/>
        </a:p>
      </dgm:t>
    </dgm:pt>
    <dgm:pt modelId="{735FBBB1-A2D0-49E5-B386-5788AD209CF1}" type="sibTrans" cxnId="{F8E04C1F-DFA6-4826-B543-01D44A3C4516}">
      <dgm:prSet/>
      <dgm:spPr/>
      <dgm:t>
        <a:bodyPr/>
        <a:lstStyle/>
        <a:p>
          <a:endParaRPr lang="en-US"/>
        </a:p>
      </dgm:t>
    </dgm:pt>
    <dgm:pt modelId="{65B02B7D-B4E2-4177-B644-451A89A72984}">
      <dgm:prSet custT="1"/>
      <dgm:spPr>
        <a:xfrm>
          <a:off x="4133480" y="71624"/>
          <a:ext cx="3622601" cy="460800"/>
        </a:xfrm>
      </dgm:spPr>
      <dgm:t>
        <a:bodyPr/>
        <a:lstStyle/>
        <a:p>
          <a:pPr>
            <a:buChar char="•"/>
          </a:pPr>
          <a:endParaRPr lang="en-US" sz="1400" dirty="0">
            <a:solidFill>
              <a:srgbClr val="505050"/>
            </a:solidFill>
            <a:latin typeface="Segoe UI"/>
            <a:ea typeface="+mn-ea"/>
            <a:cs typeface="+mn-cs"/>
          </a:endParaRPr>
        </a:p>
      </dgm:t>
    </dgm:pt>
    <dgm:pt modelId="{95853383-790D-4730-8175-4E65249B625C}" type="parTrans" cxnId="{6B118BB8-461F-4B7E-9C0F-F267F403BB66}">
      <dgm:prSet/>
      <dgm:spPr/>
      <dgm:t>
        <a:bodyPr/>
        <a:lstStyle/>
        <a:p>
          <a:endParaRPr lang="en-US"/>
        </a:p>
      </dgm:t>
    </dgm:pt>
    <dgm:pt modelId="{5C8CF27B-73AC-4E93-AB7D-2E9125CE54A6}" type="sibTrans" cxnId="{6B118BB8-461F-4B7E-9C0F-F267F403BB66}">
      <dgm:prSet/>
      <dgm:spPr/>
      <dgm:t>
        <a:bodyPr/>
        <a:lstStyle/>
        <a:p>
          <a:endParaRPr lang="en-US"/>
        </a:p>
      </dgm:t>
    </dgm:pt>
    <dgm:pt modelId="{4CA9CE44-9A57-4320-B670-F52C0582C39E}">
      <dgm:prSet custT="1"/>
      <dgm:spPr>
        <a:xfrm>
          <a:off x="4133480" y="71624"/>
          <a:ext cx="3622601" cy="460800"/>
        </a:xfrm>
      </dgm:spPr>
      <dgm:t>
        <a:bodyPr/>
        <a:lstStyle/>
        <a:p>
          <a:pPr>
            <a:buChar char="•"/>
          </a:pPr>
          <a:r>
            <a:rPr lang="en-US" sz="1400" dirty="0">
              <a:latin typeface="Segoe UI"/>
              <a:ea typeface="+mn-ea"/>
              <a:cs typeface="+mn-cs"/>
            </a:rPr>
            <a:t>You need a customized environment with full administrative rights.</a:t>
          </a:r>
        </a:p>
      </dgm:t>
    </dgm:pt>
    <dgm:pt modelId="{89916B6C-EBC5-4C6B-9989-B708C143B1F2}" type="parTrans" cxnId="{7338C87A-5DAD-42A0-B8B8-78D6DC1D8479}">
      <dgm:prSet/>
      <dgm:spPr/>
      <dgm:t>
        <a:bodyPr/>
        <a:lstStyle/>
        <a:p>
          <a:endParaRPr lang="en-US"/>
        </a:p>
      </dgm:t>
    </dgm:pt>
    <dgm:pt modelId="{D8B5C90A-E6B3-4B18-9FFD-2410B6C27B23}" type="sibTrans" cxnId="{7338C87A-5DAD-42A0-B8B8-78D6DC1D8479}">
      <dgm:prSet/>
      <dgm:spPr/>
      <dgm:t>
        <a:bodyPr/>
        <a:lstStyle/>
        <a:p>
          <a:endParaRPr lang="en-US"/>
        </a:p>
      </dgm:t>
    </dgm:pt>
    <dgm:pt modelId="{3612E95A-2B03-4D80-97C8-2BAF210601CE}">
      <dgm:prSet custT="1"/>
      <dgm:spPr>
        <a:xfrm>
          <a:off x="4133480" y="71624"/>
          <a:ext cx="3622601" cy="460800"/>
        </a:xfrm>
      </dgm:spPr>
      <dgm:t>
        <a:bodyPr/>
        <a:lstStyle/>
        <a:p>
          <a:pPr>
            <a:buChar char="•"/>
          </a:pPr>
          <a:endParaRPr lang="en-US" sz="1400" dirty="0">
            <a:solidFill>
              <a:srgbClr val="505050"/>
            </a:solidFill>
            <a:latin typeface="Segoe UI"/>
            <a:ea typeface="+mn-ea"/>
            <a:cs typeface="+mn-cs"/>
          </a:endParaRPr>
        </a:p>
      </dgm:t>
    </dgm:pt>
    <dgm:pt modelId="{A1D4F4A8-2B47-44C2-9C41-6F0ADBC1B60D}" type="parTrans" cxnId="{87BEC9C3-44FB-4B09-8F68-AF7022C49159}">
      <dgm:prSet/>
      <dgm:spPr/>
      <dgm:t>
        <a:bodyPr/>
        <a:lstStyle/>
        <a:p>
          <a:endParaRPr lang="en-US"/>
        </a:p>
      </dgm:t>
    </dgm:pt>
    <dgm:pt modelId="{369FC510-7C87-4611-8DA0-7D96D837A6FE}" type="sibTrans" cxnId="{87BEC9C3-44FB-4B09-8F68-AF7022C49159}">
      <dgm:prSet/>
      <dgm:spPr/>
      <dgm:t>
        <a:bodyPr/>
        <a:lstStyle/>
        <a:p>
          <a:endParaRPr lang="en-US"/>
        </a:p>
      </dgm:t>
    </dgm:pt>
    <dgm:pt modelId="{FE393B93-CCFA-4E75-A03C-F57A97B81A31}">
      <dgm:prSet custT="1"/>
      <dgm:spPr>
        <a:xfrm>
          <a:off x="4133480" y="71624"/>
          <a:ext cx="3622601" cy="460800"/>
        </a:xfrm>
      </dgm:spPr>
      <dgm:t>
        <a:bodyPr/>
        <a:lstStyle/>
        <a:p>
          <a:pPr>
            <a:buChar char="•"/>
          </a:pPr>
          <a:r>
            <a:rPr lang="en-US" sz="1400" dirty="0">
              <a:latin typeface="Segoe UI"/>
              <a:ea typeface="+mn-ea"/>
              <a:cs typeface="+mn-cs"/>
            </a:rPr>
            <a:t>SQL Server instances with up to 64 TB of storage. The instance can support as many databases as needed.</a:t>
          </a:r>
        </a:p>
      </dgm:t>
    </dgm:pt>
    <dgm:pt modelId="{F95D099E-DAED-48AB-944A-D2E7CDC77E2C}" type="parTrans" cxnId="{E485357E-2F72-4FF0-BAC7-65616527B136}">
      <dgm:prSet/>
      <dgm:spPr/>
      <dgm:t>
        <a:bodyPr/>
        <a:lstStyle/>
        <a:p>
          <a:endParaRPr lang="en-US"/>
        </a:p>
      </dgm:t>
    </dgm:pt>
    <dgm:pt modelId="{6AB060C7-559E-4F47-9C22-22E0EEFA26CC}" type="sibTrans" cxnId="{E485357E-2F72-4FF0-BAC7-65616527B136}">
      <dgm:prSet/>
      <dgm:spPr/>
      <dgm:t>
        <a:bodyPr/>
        <a:lstStyle/>
        <a:p>
          <a:endParaRPr lang="en-US"/>
        </a:p>
      </dgm:t>
    </dgm:pt>
    <dgm:pt modelId="{6201FA28-2BAD-41E0-97EF-D93219245D77}">
      <dgm:prSet custT="1"/>
      <dgm:spPr>
        <a:xfrm>
          <a:off x="4133480" y="71624"/>
          <a:ext cx="3622601" cy="460800"/>
        </a:xfrm>
      </dgm:spPr>
      <dgm:t>
        <a:bodyPr/>
        <a:lstStyle/>
        <a:p>
          <a:pPr>
            <a:buNone/>
          </a:pPr>
          <a:r>
            <a:rPr lang="nl-BE" sz="1800" b="1" dirty="0">
              <a:latin typeface="Segoe UI"/>
              <a:ea typeface="+mn-ea"/>
              <a:cs typeface="+mn-cs"/>
            </a:rPr>
            <a:t>Managed Instance</a:t>
          </a:r>
          <a:endParaRPr lang="en-US" sz="1800" dirty="0">
            <a:latin typeface="Segoe UI"/>
            <a:ea typeface="+mn-ea"/>
            <a:cs typeface="+mn-cs"/>
          </a:endParaRPr>
        </a:p>
      </dgm:t>
    </dgm:pt>
    <dgm:pt modelId="{08517092-59B0-4A8B-B0F7-FD3D99E2D4ED}" type="parTrans" cxnId="{E70FE163-AAD6-4765-BAC5-A4E5E4111D18}">
      <dgm:prSet/>
      <dgm:spPr/>
      <dgm:t>
        <a:bodyPr/>
        <a:lstStyle/>
        <a:p>
          <a:endParaRPr lang="en-US"/>
        </a:p>
      </dgm:t>
    </dgm:pt>
    <dgm:pt modelId="{0E234811-E1EC-4A03-9D0F-D9417E0DFAFF}" type="sibTrans" cxnId="{E70FE163-AAD6-4765-BAC5-A4E5E4111D18}">
      <dgm:prSet/>
      <dgm:spPr/>
      <dgm:t>
        <a:bodyPr/>
        <a:lstStyle/>
        <a:p>
          <a:endParaRPr lang="en-US"/>
        </a:p>
      </dgm:t>
    </dgm:pt>
    <dgm:pt modelId="{62A09538-0600-42BA-B538-8537C29C80AD}" type="pres">
      <dgm:prSet presAssocID="{9F1D9399-7667-4E3F-9C6F-ED74215FF152}" presName="Name0" presStyleCnt="0">
        <dgm:presLayoutVars>
          <dgm:dir/>
          <dgm:animLvl val="lvl"/>
          <dgm:resizeHandles val="exact"/>
        </dgm:presLayoutVars>
      </dgm:prSet>
      <dgm:spPr/>
    </dgm:pt>
    <dgm:pt modelId="{42B08CCC-2F12-4D98-BCEE-C0123F005EDA}" type="pres">
      <dgm:prSet presAssocID="{6622C38D-CA4D-4395-A05B-CE2E807273EA}" presName="composite" presStyleCnt="0"/>
      <dgm:spPr/>
    </dgm:pt>
    <dgm:pt modelId="{AA30D338-E269-431D-A98C-C0A93B715B27}" type="pres">
      <dgm:prSet presAssocID="{6622C38D-CA4D-4395-A05B-CE2E807273EA}" presName="parTx" presStyleLbl="alignNode1" presStyleIdx="0" presStyleCnt="3">
        <dgm:presLayoutVars>
          <dgm:chMax val="0"/>
          <dgm:chPref val="0"/>
          <dgm:bulletEnabled val="1"/>
        </dgm:presLayoutVars>
      </dgm:prSet>
      <dgm:spPr>
        <a:prstGeom prst="rect">
          <a:avLst/>
        </a:prstGeom>
      </dgm:spPr>
    </dgm:pt>
    <dgm:pt modelId="{F3A57436-5AA8-434C-BF63-BEA0FFE33A10}" type="pres">
      <dgm:prSet presAssocID="{6622C38D-CA4D-4395-A05B-CE2E807273EA}" presName="desTx" presStyleLbl="alignAccFollowNode1" presStyleIdx="0" presStyleCnt="3">
        <dgm:presLayoutVars>
          <dgm:bulletEnabled val="1"/>
        </dgm:presLayoutVars>
      </dgm:prSet>
      <dgm:spPr>
        <a:prstGeom prst="rect">
          <a:avLst/>
        </a:prstGeom>
      </dgm:spPr>
    </dgm:pt>
    <dgm:pt modelId="{87734321-104C-4FF7-A31A-58FDC7F45E21}" type="pres">
      <dgm:prSet presAssocID="{C6D3CBF4-C26E-46F4-8E17-0F6641FA2497}" presName="space" presStyleCnt="0"/>
      <dgm:spPr/>
    </dgm:pt>
    <dgm:pt modelId="{1A535B9B-AE45-4A47-B102-06667AC0E7FE}" type="pres">
      <dgm:prSet presAssocID="{6201FA28-2BAD-41E0-97EF-D93219245D77}" presName="composite" presStyleCnt="0"/>
      <dgm:spPr/>
    </dgm:pt>
    <dgm:pt modelId="{A2D15BCF-708C-4FF6-8EE7-EE2407D53939}" type="pres">
      <dgm:prSet presAssocID="{6201FA28-2BAD-41E0-97EF-D93219245D77}" presName="parTx" presStyleLbl="alignNode1" presStyleIdx="1" presStyleCnt="3">
        <dgm:presLayoutVars>
          <dgm:chMax val="0"/>
          <dgm:chPref val="0"/>
          <dgm:bulletEnabled val="1"/>
        </dgm:presLayoutVars>
      </dgm:prSet>
      <dgm:spPr/>
    </dgm:pt>
    <dgm:pt modelId="{3D465702-9231-4877-B6C5-F44EBDEA04CA}" type="pres">
      <dgm:prSet presAssocID="{6201FA28-2BAD-41E0-97EF-D93219245D77}" presName="desTx" presStyleLbl="alignAccFollowNode1" presStyleIdx="1" presStyleCnt="3">
        <dgm:presLayoutVars>
          <dgm:bulletEnabled val="1"/>
        </dgm:presLayoutVars>
      </dgm:prSet>
      <dgm:spPr/>
    </dgm:pt>
    <dgm:pt modelId="{3CA76ADD-C923-4FD4-8EC6-167640B354F7}" type="pres">
      <dgm:prSet presAssocID="{0E234811-E1EC-4A03-9D0F-D9417E0DFAFF}" presName="space" presStyleCnt="0"/>
      <dgm:spPr/>
    </dgm:pt>
    <dgm:pt modelId="{56A36901-E67E-4BE5-A3DC-11280FF0DB71}" type="pres">
      <dgm:prSet presAssocID="{B6819062-AB24-45FA-85B5-B182FC29FFF8}" presName="composite" presStyleCnt="0"/>
      <dgm:spPr/>
    </dgm:pt>
    <dgm:pt modelId="{0E037236-D9E1-4EC6-963E-04B05024B8FB}" type="pres">
      <dgm:prSet presAssocID="{B6819062-AB24-45FA-85B5-B182FC29FFF8}" presName="parTx" presStyleLbl="alignNode1" presStyleIdx="2" presStyleCnt="3">
        <dgm:presLayoutVars>
          <dgm:chMax val="0"/>
          <dgm:chPref val="0"/>
          <dgm:bulletEnabled val="1"/>
        </dgm:presLayoutVars>
      </dgm:prSet>
      <dgm:spPr/>
    </dgm:pt>
    <dgm:pt modelId="{E6A5368B-206B-4DAE-BAF7-B0396F4E16C2}" type="pres">
      <dgm:prSet presAssocID="{B6819062-AB24-45FA-85B5-B182FC29FFF8}" presName="desTx" presStyleLbl="alignAccFollowNode1" presStyleIdx="2" presStyleCnt="3">
        <dgm:presLayoutVars>
          <dgm:bulletEnabled val="1"/>
        </dgm:presLayoutVars>
      </dgm:prSet>
      <dgm:spPr/>
    </dgm:pt>
  </dgm:ptLst>
  <dgm:cxnLst>
    <dgm:cxn modelId="{A827E102-17B9-43F8-A372-5A622AE9F286}" type="presOf" srcId="{6622C38D-CA4D-4395-A05B-CE2E807273EA}" destId="{AA30D338-E269-431D-A98C-C0A93B715B27}" srcOrd="0" destOrd="0" presId="urn:microsoft.com/office/officeart/2005/8/layout/hList1"/>
    <dgm:cxn modelId="{62C06C09-BB70-4F3E-8B5B-ACE88502421E}" srcId="{6201FA28-2BAD-41E0-97EF-D93219245D77}" destId="{42D739D5-2C42-4586-8DF9-0EC85D4DD939}" srcOrd="3" destOrd="0" parTransId="{26158B57-53BD-4445-B4BF-A9C8C9936C39}" sibTransId="{92A4B315-D734-4C22-AA18-518A61B80F6A}"/>
    <dgm:cxn modelId="{10CECB0C-7443-4EE9-8C9E-72B56B0F540E}" srcId="{6622C38D-CA4D-4395-A05B-CE2E807273EA}" destId="{F435DC69-C0F5-49B1-A7C9-535D8DE4474A}" srcOrd="1" destOrd="0" parTransId="{951AB178-793C-468A-BC16-6A4B5082E901}" sibTransId="{2AFE8B10-3804-4F5B-AFFB-8E39276614BF}"/>
    <dgm:cxn modelId="{59BE400F-2869-4BC9-A606-A049CEB2758C}" type="presOf" srcId="{EE6F4CFD-6E77-4B00-9445-13626E116585}" destId="{F3A57436-5AA8-434C-BF63-BEA0FFE33A10}" srcOrd="0" destOrd="0" presId="urn:microsoft.com/office/officeart/2005/8/layout/hList1"/>
    <dgm:cxn modelId="{F8E04C1F-DFA6-4826-B543-01D44A3C4516}" srcId="{6622C38D-CA4D-4395-A05B-CE2E807273EA}" destId="{F369171B-98B9-499F-96EF-F8C31A19A2F4}" srcOrd="2" destOrd="0" parTransId="{405EFEA8-D33F-478C-8447-24F421B5BCBE}" sibTransId="{735FBBB1-A2D0-49E5-B386-5788AD209CF1}"/>
    <dgm:cxn modelId="{3C23C120-74AC-4FB1-9C6B-5419EBE86425}" type="presOf" srcId="{34AB325B-B668-447A-83BD-D640DF2BCDCC}" destId="{E6A5368B-206B-4DAE-BAF7-B0396F4E16C2}" srcOrd="0" destOrd="3" presId="urn:microsoft.com/office/officeart/2005/8/layout/hList1"/>
    <dgm:cxn modelId="{DF03B922-9293-4C36-BF85-8A00927CB428}" type="presOf" srcId="{68C1B624-1BC3-49F7-B4AB-EC3FC7374C4A}" destId="{E6A5368B-206B-4DAE-BAF7-B0396F4E16C2}" srcOrd="0" destOrd="4" presId="urn:microsoft.com/office/officeart/2005/8/layout/hList1"/>
    <dgm:cxn modelId="{6EAFA32F-1D97-48D8-AD51-4E1A6AA2ED86}" type="presOf" srcId="{88FD2127-41F8-4D56-B458-5020A562CBF6}" destId="{E6A5368B-206B-4DAE-BAF7-B0396F4E16C2}" srcOrd="0" destOrd="0" presId="urn:microsoft.com/office/officeart/2005/8/layout/hList1"/>
    <dgm:cxn modelId="{A80AFE2F-0F04-4571-B61C-2BFC5D0F4D81}" srcId="{B6819062-AB24-45FA-85B5-B182FC29FFF8}" destId="{68C1B624-1BC3-49F7-B4AB-EC3FC7374C4A}" srcOrd="4" destOrd="0" parTransId="{1965D53B-23A6-4656-B33A-658E0D7B9518}" sibTransId="{43401577-5871-4CAB-92C0-0CA4658A253D}"/>
    <dgm:cxn modelId="{51B83332-1071-4476-88A6-78457E5CF944}" type="presOf" srcId="{B1C3D9BC-C4EA-4BF6-9B2B-A063D6FC232D}" destId="{3D465702-9231-4877-B6C5-F44EBDEA04CA}" srcOrd="0" destOrd="5" presId="urn:microsoft.com/office/officeart/2005/8/layout/hList1"/>
    <dgm:cxn modelId="{52297C32-F84D-4B82-B1D3-2475C7613122}" type="presOf" srcId="{6201FA28-2BAD-41E0-97EF-D93219245D77}" destId="{A2D15BCF-708C-4FF6-8EE7-EE2407D53939}" srcOrd="0" destOrd="0" presId="urn:microsoft.com/office/officeart/2005/8/layout/hList1"/>
    <dgm:cxn modelId="{AFA9453D-49B4-46A2-99A2-9E9CC7EF2B0E}" type="presOf" srcId="{E9DAE887-AB35-47F8-8B1D-69D30668D3BD}" destId="{E6A5368B-206B-4DAE-BAF7-B0396F4E16C2}" srcOrd="0" destOrd="2" presId="urn:microsoft.com/office/officeart/2005/8/layout/hList1"/>
    <dgm:cxn modelId="{57ABF05E-F7FB-4D21-B013-D8AE8AFBC76E}" type="presOf" srcId="{F435DC69-C0F5-49B1-A7C9-535D8DE4474A}" destId="{F3A57436-5AA8-434C-BF63-BEA0FFE33A10}" srcOrd="0" destOrd="1" presId="urn:microsoft.com/office/officeart/2005/8/layout/hList1"/>
    <dgm:cxn modelId="{7D2D0B60-1D00-4246-8E56-7E9A5F240C58}" srcId="{6201FA28-2BAD-41E0-97EF-D93219245D77}" destId="{9BC9B252-FAF6-4A55-A635-063A947FBF3F}" srcOrd="2" destOrd="0" parTransId="{36AEC279-A643-4963-9C0F-CD5FB2573E67}" sibTransId="{62C70245-523E-4E2C-B718-CBD46A00FC16}"/>
    <dgm:cxn modelId="{C724C560-46E9-451F-A5CC-A9416FF0C297}" type="presOf" srcId="{3612E95A-2B03-4D80-97C8-2BAF210601CE}" destId="{F3A57436-5AA8-434C-BF63-BEA0FFE33A10}" srcOrd="0" destOrd="5" presId="urn:microsoft.com/office/officeart/2005/8/layout/hList1"/>
    <dgm:cxn modelId="{5933B562-2210-41CD-AB0B-A04BDF4884B7}" type="presOf" srcId="{B6819062-AB24-45FA-85B5-B182FC29FFF8}" destId="{0E037236-D9E1-4EC6-963E-04B05024B8FB}" srcOrd="0" destOrd="0" presId="urn:microsoft.com/office/officeart/2005/8/layout/hList1"/>
    <dgm:cxn modelId="{E70FE163-AAD6-4765-BAC5-A4E5E4111D18}" srcId="{9F1D9399-7667-4E3F-9C6F-ED74215FF152}" destId="{6201FA28-2BAD-41E0-97EF-D93219245D77}" srcOrd="1" destOrd="0" parTransId="{08517092-59B0-4A8B-B0F7-FD3D99E2D4ED}" sibTransId="{0E234811-E1EC-4A03-9D0F-D9417E0DFAFF}"/>
    <dgm:cxn modelId="{E88C9946-4A15-4DED-A582-D0A71BE81EB7}" type="presOf" srcId="{42D739D5-2C42-4586-8DF9-0EC85D4DD939}" destId="{3D465702-9231-4877-B6C5-F44EBDEA04CA}" srcOrd="0" destOrd="3" presId="urn:microsoft.com/office/officeart/2005/8/layout/hList1"/>
    <dgm:cxn modelId="{05485B47-8728-482B-81BA-07CF46D63A23}" type="presOf" srcId="{FE393B93-CCFA-4E75-A03C-F57A97B81A31}" destId="{F3A57436-5AA8-434C-BF63-BEA0FFE33A10}" srcOrd="0" destOrd="6" presId="urn:microsoft.com/office/officeart/2005/8/layout/hList1"/>
    <dgm:cxn modelId="{C7EB5668-498C-46E7-8C6B-4B8CB7D82BFD}" type="presOf" srcId="{C6663E03-060E-483E-AB41-1EFD3673E3EB}" destId="{E6A5368B-206B-4DAE-BAF7-B0396F4E16C2}" srcOrd="0" destOrd="6" presId="urn:microsoft.com/office/officeart/2005/8/layout/hList1"/>
    <dgm:cxn modelId="{2AA2CA69-0C4D-4725-89C7-504F27796067}" srcId="{B6819062-AB24-45FA-85B5-B182FC29FFF8}" destId="{9B062E4F-027A-4BC1-B189-1325A1017D91}" srcOrd="5" destOrd="0" parTransId="{09278422-9671-4CF2-B871-91220D963609}" sibTransId="{7710DDA1-ECB8-4569-93B5-461AC0534BEF}"/>
    <dgm:cxn modelId="{6E420A6F-91A4-492F-8718-24E6B862980A}" srcId="{6622C38D-CA4D-4395-A05B-CE2E807273EA}" destId="{EE6F4CFD-6E77-4B00-9445-13626E116585}" srcOrd="0" destOrd="0" parTransId="{404AB862-62D0-417F-B541-95688E882B40}" sibTransId="{FB378A0E-CE3B-4D54-A5F6-34D66D72EE69}"/>
    <dgm:cxn modelId="{28747052-EC51-4491-A1DA-A5D6E426ECDF}" type="presOf" srcId="{1526D4B6-E7EC-47EA-8CF3-1B7A7A87738D}" destId="{3D465702-9231-4877-B6C5-F44EBDEA04CA}" srcOrd="0" destOrd="0" presId="urn:microsoft.com/office/officeart/2005/8/layout/hList1"/>
    <dgm:cxn modelId="{67890775-500C-45EE-A894-0A730FD5281B}" srcId="{6201FA28-2BAD-41E0-97EF-D93219245D77}" destId="{B1C3D9BC-C4EA-4BF6-9B2B-A063D6FC232D}" srcOrd="5" destOrd="0" parTransId="{8F6F125E-E872-4C12-91A8-B10B490E2940}" sibTransId="{B4AF8B9D-3BEF-4A4F-8BC5-CCA13BD0C613}"/>
    <dgm:cxn modelId="{7338C87A-5DAD-42A0-B8B8-78D6DC1D8479}" srcId="{6622C38D-CA4D-4395-A05B-CE2E807273EA}" destId="{4CA9CE44-9A57-4320-B670-F52C0582C39E}" srcOrd="4" destOrd="0" parTransId="{89916B6C-EBC5-4C6B-9989-B708C143B1F2}" sibTransId="{D8B5C90A-E6B3-4B18-9FFD-2410B6C27B23}"/>
    <dgm:cxn modelId="{E485357E-2F72-4FF0-BAC7-65616527B136}" srcId="{6622C38D-CA4D-4395-A05B-CE2E807273EA}" destId="{FE393B93-CCFA-4E75-A03C-F57A97B81A31}" srcOrd="6" destOrd="0" parTransId="{F95D099E-DAED-48AB-944A-D2E7CDC77E2C}" sibTransId="{6AB060C7-559E-4F47-9C22-22E0EEFA26CC}"/>
    <dgm:cxn modelId="{06F48F80-1D20-49D3-A693-62FFAB75286E}" srcId="{9F1D9399-7667-4E3F-9C6F-ED74215FF152}" destId="{6622C38D-CA4D-4395-A05B-CE2E807273EA}" srcOrd="0" destOrd="0" parTransId="{05DF670A-810F-43AE-AD8A-1168962C2087}" sibTransId="{C6D3CBF4-C26E-46F4-8E17-0F6641FA2497}"/>
    <dgm:cxn modelId="{489DDC96-7887-4E8C-B7E0-2EBBFED4EF87}" type="presOf" srcId="{9B062E4F-027A-4BC1-B189-1325A1017D91}" destId="{E6A5368B-206B-4DAE-BAF7-B0396F4E16C2}" srcOrd="0" destOrd="5" presId="urn:microsoft.com/office/officeart/2005/8/layout/hList1"/>
    <dgm:cxn modelId="{6483499D-096C-4447-8B21-E91FDF257738}" type="presOf" srcId="{F369171B-98B9-499F-96EF-F8C31A19A2F4}" destId="{F3A57436-5AA8-434C-BF63-BEA0FFE33A10}" srcOrd="0" destOrd="2" presId="urn:microsoft.com/office/officeart/2005/8/layout/hList1"/>
    <dgm:cxn modelId="{C5347CA1-2A92-4D72-A365-25AFE97A6EA8}" type="presOf" srcId="{4CA9CE44-9A57-4320-B670-F52C0582C39E}" destId="{F3A57436-5AA8-434C-BF63-BEA0FFE33A10}" srcOrd="0" destOrd="4" presId="urn:microsoft.com/office/officeart/2005/8/layout/hList1"/>
    <dgm:cxn modelId="{1F21E5A3-A124-4418-9BBF-54220C04257D}" type="presOf" srcId="{9BC9B252-FAF6-4A55-A635-063A947FBF3F}" destId="{3D465702-9231-4877-B6C5-F44EBDEA04CA}" srcOrd="0" destOrd="2" presId="urn:microsoft.com/office/officeart/2005/8/layout/hList1"/>
    <dgm:cxn modelId="{FD7DB6A7-5EC5-461B-8351-2287DCD45259}" type="presOf" srcId="{E53DAADF-D316-49D8-8FDB-19104076CC0B}" destId="{E6A5368B-206B-4DAE-BAF7-B0396F4E16C2}" srcOrd="0" destOrd="1" presId="urn:microsoft.com/office/officeart/2005/8/layout/hList1"/>
    <dgm:cxn modelId="{EC8FFFA8-2EBC-4671-991B-4105C08CB3E1}" srcId="{B6819062-AB24-45FA-85B5-B182FC29FFF8}" destId="{88FD2127-41F8-4D56-B458-5020A562CBF6}" srcOrd="0" destOrd="0" parTransId="{19D840C7-E747-49DA-B0D1-B6A926FE6C2F}" sibTransId="{2A283F15-43B8-494F-8A60-F59B92212255}"/>
    <dgm:cxn modelId="{7C5D87B0-3252-49BD-948C-2AB263B24F56}" type="presOf" srcId="{621B0979-8D61-4574-A3F9-FEF306434B57}" destId="{3D465702-9231-4877-B6C5-F44EBDEA04CA}" srcOrd="0" destOrd="6" presId="urn:microsoft.com/office/officeart/2005/8/layout/hList1"/>
    <dgm:cxn modelId="{0F5CF6B6-E0FA-48B5-8866-83F2D126C9C0}" type="presOf" srcId="{9F1D9399-7667-4E3F-9C6F-ED74215FF152}" destId="{62A09538-0600-42BA-B538-8537C29C80AD}" srcOrd="0" destOrd="0" presId="urn:microsoft.com/office/officeart/2005/8/layout/hList1"/>
    <dgm:cxn modelId="{6B118BB8-461F-4B7E-9C0F-F267F403BB66}" srcId="{6622C38D-CA4D-4395-A05B-CE2E807273EA}" destId="{65B02B7D-B4E2-4177-B644-451A89A72984}" srcOrd="3" destOrd="0" parTransId="{95853383-790D-4730-8175-4E65249B625C}" sibTransId="{5C8CF27B-73AC-4E93-AB7D-2E9125CE54A6}"/>
    <dgm:cxn modelId="{6F3D24BD-DB60-4890-AF54-1A62F00A33E4}" srcId="{6201FA28-2BAD-41E0-97EF-D93219245D77}" destId="{3E604CBF-D3E8-4636-9D8A-149C0773CC8F}" srcOrd="1" destOrd="0" parTransId="{4C1F5967-D32D-4FB6-B82D-5F08E78C5D61}" sibTransId="{35EAD70B-24B7-4FE8-8721-C14ADA98EACB}"/>
    <dgm:cxn modelId="{957BB1BD-9B1B-4CDA-85AB-2836CBA0D0A9}" srcId="{B6819062-AB24-45FA-85B5-B182FC29FFF8}" destId="{E53DAADF-D316-49D8-8FDB-19104076CC0B}" srcOrd="1" destOrd="0" parTransId="{44ED94C6-8130-4242-B14A-8A766702F68C}" sibTransId="{8162D763-CEDD-4A8D-9ECE-D61BC97DCA1E}"/>
    <dgm:cxn modelId="{17C681BE-8ADC-4186-AD40-6E3AFE5EE7C9}" srcId="{6201FA28-2BAD-41E0-97EF-D93219245D77}" destId="{1526D4B6-E7EC-47EA-8CF3-1B7A7A87738D}" srcOrd="0" destOrd="0" parTransId="{1EFD3C76-03A1-4B0F-97A0-60CD57E7038E}" sibTransId="{49486109-EA05-4877-91C9-D24D498AA2E4}"/>
    <dgm:cxn modelId="{87BEC9C3-44FB-4B09-8F68-AF7022C49159}" srcId="{6622C38D-CA4D-4395-A05B-CE2E807273EA}" destId="{3612E95A-2B03-4D80-97C8-2BAF210601CE}" srcOrd="5" destOrd="0" parTransId="{A1D4F4A8-2B47-44C2-9C41-6F0ADBC1B60D}" sibTransId="{369FC510-7C87-4611-8DA0-7D96D837A6FE}"/>
    <dgm:cxn modelId="{0064ABC9-CAB4-4C49-AC4A-A6B4BDBEA037}" srcId="{B6819062-AB24-45FA-85B5-B182FC29FFF8}" destId="{C6663E03-060E-483E-AB41-1EFD3673E3EB}" srcOrd="6" destOrd="0" parTransId="{80A09DFD-2727-4A36-9181-29838B880385}" sibTransId="{E9DDF333-46A3-45B3-8462-C512913D5D83}"/>
    <dgm:cxn modelId="{BC8826D2-3715-4EFA-9650-012FF9365742}" type="presOf" srcId="{3E604CBF-D3E8-4636-9D8A-149C0773CC8F}" destId="{3D465702-9231-4877-B6C5-F44EBDEA04CA}" srcOrd="0" destOrd="1" presId="urn:microsoft.com/office/officeart/2005/8/layout/hList1"/>
    <dgm:cxn modelId="{B9DB72E3-73BF-43AC-ADE2-492BB7F68B95}" type="presOf" srcId="{65B02B7D-B4E2-4177-B644-451A89A72984}" destId="{F3A57436-5AA8-434C-BF63-BEA0FFE33A10}" srcOrd="0" destOrd="3" presId="urn:microsoft.com/office/officeart/2005/8/layout/hList1"/>
    <dgm:cxn modelId="{541930E6-531F-421E-8D8F-0500F65D3F93}" type="presOf" srcId="{0B04F3E7-3650-4961-A057-36BCE8464EA9}" destId="{3D465702-9231-4877-B6C5-F44EBDEA04CA}" srcOrd="0" destOrd="4" presId="urn:microsoft.com/office/officeart/2005/8/layout/hList1"/>
    <dgm:cxn modelId="{FDA6B3EB-8030-4271-894A-F53FE53C4986}" srcId="{6201FA28-2BAD-41E0-97EF-D93219245D77}" destId="{0B04F3E7-3650-4961-A057-36BCE8464EA9}" srcOrd="4" destOrd="0" parTransId="{30B89EF4-241E-44A8-B45C-76B0C48D5296}" sibTransId="{6FEFE518-BA9F-4280-94F5-0E2C7BE6A0CD}"/>
    <dgm:cxn modelId="{D781B4ED-5F5A-451B-8BB0-303B4855A5B6}" srcId="{B6819062-AB24-45FA-85B5-B182FC29FFF8}" destId="{34AB325B-B668-447A-83BD-D640DF2BCDCC}" srcOrd="3" destOrd="0" parTransId="{EE713FFE-D592-4591-A925-58EBCD4DC301}" sibTransId="{92AEF957-BC27-4560-9553-65204E8DC6B9}"/>
    <dgm:cxn modelId="{D1A54EF9-826A-43CE-ACCE-EB3CDBF577AA}" srcId="{6201FA28-2BAD-41E0-97EF-D93219245D77}" destId="{621B0979-8D61-4574-A3F9-FEF306434B57}" srcOrd="6" destOrd="0" parTransId="{DF505AB1-F0EF-45A5-B60C-2BEFD3900E19}" sibTransId="{9BABEA73-6F08-42E6-A75E-763A7C04E977}"/>
    <dgm:cxn modelId="{B7AD77FA-4EA3-440C-BCE3-EACCC80ABAC8}" srcId="{B6819062-AB24-45FA-85B5-B182FC29FFF8}" destId="{E9DAE887-AB35-47F8-8B1D-69D30668D3BD}" srcOrd="2" destOrd="0" parTransId="{2793E381-B118-44AE-9E49-8EF49B9A21F1}" sibTransId="{F4F3F9F7-2E6C-4453-B259-26CFBAE70BD5}"/>
    <dgm:cxn modelId="{5305DDFA-D7A7-463B-B56D-7A009F1E7A99}" srcId="{9F1D9399-7667-4E3F-9C6F-ED74215FF152}" destId="{B6819062-AB24-45FA-85B5-B182FC29FFF8}" srcOrd="2" destOrd="0" parTransId="{64348D9E-48BA-40C9-A70A-7736298C9B39}" sibTransId="{09EE4DD4-D24D-40F2-9D55-02EC9A5CDDC6}"/>
    <dgm:cxn modelId="{8BAD3F28-D7AC-420E-869C-028B4FDBE599}" type="presParOf" srcId="{62A09538-0600-42BA-B538-8537C29C80AD}" destId="{42B08CCC-2F12-4D98-BCEE-C0123F005EDA}" srcOrd="0" destOrd="0" presId="urn:microsoft.com/office/officeart/2005/8/layout/hList1"/>
    <dgm:cxn modelId="{753DB5F5-D214-4D84-BB4A-D4AE3FB37ADE}" type="presParOf" srcId="{42B08CCC-2F12-4D98-BCEE-C0123F005EDA}" destId="{AA30D338-E269-431D-A98C-C0A93B715B27}" srcOrd="0" destOrd="0" presId="urn:microsoft.com/office/officeart/2005/8/layout/hList1"/>
    <dgm:cxn modelId="{AE7C9FFE-1F6B-4F46-9631-E50899570EE2}" type="presParOf" srcId="{42B08CCC-2F12-4D98-BCEE-C0123F005EDA}" destId="{F3A57436-5AA8-434C-BF63-BEA0FFE33A10}" srcOrd="1" destOrd="0" presId="urn:microsoft.com/office/officeart/2005/8/layout/hList1"/>
    <dgm:cxn modelId="{551DB35D-9858-480A-AA2C-2DA84F29EEBB}" type="presParOf" srcId="{62A09538-0600-42BA-B538-8537C29C80AD}" destId="{87734321-104C-4FF7-A31A-58FDC7F45E21}" srcOrd="1" destOrd="0" presId="urn:microsoft.com/office/officeart/2005/8/layout/hList1"/>
    <dgm:cxn modelId="{D079AC35-2C51-4307-808D-94BA97C11EF7}" type="presParOf" srcId="{62A09538-0600-42BA-B538-8537C29C80AD}" destId="{1A535B9B-AE45-4A47-B102-06667AC0E7FE}" srcOrd="2" destOrd="0" presId="urn:microsoft.com/office/officeart/2005/8/layout/hList1"/>
    <dgm:cxn modelId="{DFA43ECD-610C-4FA9-B5C9-ACD08A3AD4DD}" type="presParOf" srcId="{1A535B9B-AE45-4A47-B102-06667AC0E7FE}" destId="{A2D15BCF-708C-4FF6-8EE7-EE2407D53939}" srcOrd="0" destOrd="0" presId="urn:microsoft.com/office/officeart/2005/8/layout/hList1"/>
    <dgm:cxn modelId="{AA70155F-BF29-410A-BA1A-12D8D8BA9510}" type="presParOf" srcId="{1A535B9B-AE45-4A47-B102-06667AC0E7FE}" destId="{3D465702-9231-4877-B6C5-F44EBDEA04CA}" srcOrd="1" destOrd="0" presId="urn:microsoft.com/office/officeart/2005/8/layout/hList1"/>
    <dgm:cxn modelId="{334C01A2-74D9-4717-BF64-CE3BB324F490}" type="presParOf" srcId="{62A09538-0600-42BA-B538-8537C29C80AD}" destId="{3CA76ADD-C923-4FD4-8EC6-167640B354F7}" srcOrd="3" destOrd="0" presId="urn:microsoft.com/office/officeart/2005/8/layout/hList1"/>
    <dgm:cxn modelId="{9574FD4A-FE6F-4D8D-9484-B1A9E5662FBA}" type="presParOf" srcId="{62A09538-0600-42BA-B538-8537C29C80AD}" destId="{56A36901-E67E-4BE5-A3DC-11280FF0DB71}" srcOrd="4" destOrd="0" presId="urn:microsoft.com/office/officeart/2005/8/layout/hList1"/>
    <dgm:cxn modelId="{5946B56E-55A4-45C5-8755-F2B36A38F0AB}" type="presParOf" srcId="{56A36901-E67E-4BE5-A3DC-11280FF0DB71}" destId="{0E037236-D9E1-4EC6-963E-04B05024B8FB}" srcOrd="0" destOrd="0" presId="urn:microsoft.com/office/officeart/2005/8/layout/hList1"/>
    <dgm:cxn modelId="{3A05BA59-F285-41F2-918D-D8B0F2064FDD}" type="presParOf" srcId="{56A36901-E67E-4BE5-A3DC-11280FF0DB71}" destId="{E6A5368B-206B-4DAE-BAF7-B0396F4E16C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7AD98C9-DAD4-43F9-9C59-0BA2A780652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E750C14C-314B-4B94-9D59-BCC1F286F72D}">
      <dgm:prSet/>
      <dgm:spPr/>
      <dgm:t>
        <a:bodyPr/>
        <a:lstStyle/>
        <a:p>
          <a:r>
            <a:rPr lang="en-US" baseline="0"/>
            <a:t>Database Transaction Unit (DTU) model</a:t>
          </a:r>
          <a:endParaRPr lang="en-US"/>
        </a:p>
      </dgm:t>
    </dgm:pt>
    <dgm:pt modelId="{6AD199FD-F928-4787-96A7-9AD442A46CF0}" type="parTrans" cxnId="{D50D5BC5-C296-4DC8-99A0-7CF243D3312B}">
      <dgm:prSet/>
      <dgm:spPr/>
      <dgm:t>
        <a:bodyPr/>
        <a:lstStyle/>
        <a:p>
          <a:endParaRPr lang="en-US"/>
        </a:p>
      </dgm:t>
    </dgm:pt>
    <dgm:pt modelId="{C9FB4340-6A1A-4A50-B3A3-1D9C539A8479}" type="sibTrans" cxnId="{D50D5BC5-C296-4DC8-99A0-7CF243D3312B}">
      <dgm:prSet/>
      <dgm:spPr/>
      <dgm:t>
        <a:bodyPr/>
        <a:lstStyle/>
        <a:p>
          <a:endParaRPr lang="en-US"/>
        </a:p>
      </dgm:t>
    </dgm:pt>
    <dgm:pt modelId="{01004DBA-96C4-49D4-ABC7-AE18EEAEFD88}">
      <dgm:prSet/>
      <dgm:spPr/>
      <dgm:t>
        <a:bodyPr/>
        <a:lstStyle/>
        <a:p>
          <a:r>
            <a:rPr lang="en-US"/>
            <a:t>Pre-packaged, bundled unit that represents the database power. </a:t>
          </a:r>
        </a:p>
      </dgm:t>
    </dgm:pt>
    <dgm:pt modelId="{9683143A-6BC5-4C59-8F57-6EBC65194C71}" type="parTrans" cxnId="{9B4D969E-3EB9-41BC-BDAE-9D0A0C43EB2C}">
      <dgm:prSet/>
      <dgm:spPr/>
      <dgm:t>
        <a:bodyPr/>
        <a:lstStyle/>
        <a:p>
          <a:endParaRPr lang="en-US"/>
        </a:p>
      </dgm:t>
    </dgm:pt>
    <dgm:pt modelId="{1079C7B0-C4E5-4D09-8F12-C060326DF406}" type="sibTrans" cxnId="{9B4D969E-3EB9-41BC-BDAE-9D0A0C43EB2C}">
      <dgm:prSet/>
      <dgm:spPr/>
      <dgm:t>
        <a:bodyPr/>
        <a:lstStyle/>
        <a:p>
          <a:endParaRPr lang="en-US"/>
        </a:p>
      </dgm:t>
    </dgm:pt>
    <dgm:pt modelId="{AA8B2ED1-2348-498F-8382-D0E44385A6B1}">
      <dgm:prSet/>
      <dgm:spPr/>
      <dgm:t>
        <a:bodyPr/>
        <a:lstStyle/>
        <a:p>
          <a:r>
            <a:rPr lang="en-US" baseline="0" dirty="0"/>
            <a:t>vCore model</a:t>
          </a:r>
          <a:endParaRPr lang="en-US" dirty="0"/>
        </a:p>
      </dgm:t>
    </dgm:pt>
    <dgm:pt modelId="{8D19A4B7-1FD3-48D0-AB80-05E70B7AC4F9}" type="parTrans" cxnId="{455DD7FF-18EE-41EE-993E-1487F70F838F}">
      <dgm:prSet/>
      <dgm:spPr/>
      <dgm:t>
        <a:bodyPr/>
        <a:lstStyle/>
        <a:p>
          <a:endParaRPr lang="en-US"/>
        </a:p>
      </dgm:t>
    </dgm:pt>
    <dgm:pt modelId="{8D14AB4A-8A95-4049-8B7C-ACFD9B20BE9D}" type="sibTrans" cxnId="{455DD7FF-18EE-41EE-993E-1487F70F838F}">
      <dgm:prSet/>
      <dgm:spPr/>
      <dgm:t>
        <a:bodyPr/>
        <a:lstStyle/>
        <a:p>
          <a:endParaRPr lang="en-US"/>
        </a:p>
      </dgm:t>
    </dgm:pt>
    <dgm:pt modelId="{7B190D35-1419-4CB2-B87D-6BCFE31000FD}">
      <dgm:prSet/>
      <dgm:spPr/>
      <dgm:t>
        <a:bodyPr/>
        <a:lstStyle/>
        <a:p>
          <a:r>
            <a:rPr lang="en-US"/>
            <a:t>À La carte approach deconstructs the DTU model into separate parts.</a:t>
          </a:r>
        </a:p>
      </dgm:t>
    </dgm:pt>
    <dgm:pt modelId="{F08D2EB3-DD7E-4B00-AC24-B2E0B82CC8C3}" type="parTrans" cxnId="{4F28D30E-C095-4E88-9FF3-E88EDF4EFBBD}">
      <dgm:prSet/>
      <dgm:spPr/>
      <dgm:t>
        <a:bodyPr/>
        <a:lstStyle/>
        <a:p>
          <a:endParaRPr lang="en-US"/>
        </a:p>
      </dgm:t>
    </dgm:pt>
    <dgm:pt modelId="{6E3D6670-C22E-4E0D-B884-894486BE3379}" type="sibTrans" cxnId="{4F28D30E-C095-4E88-9FF3-E88EDF4EFBBD}">
      <dgm:prSet/>
      <dgm:spPr/>
      <dgm:t>
        <a:bodyPr/>
        <a:lstStyle/>
        <a:p>
          <a:endParaRPr lang="en-US"/>
        </a:p>
      </dgm:t>
    </dgm:pt>
    <dgm:pt modelId="{519722E7-B25E-4AE7-8C77-4F5E8ED9442A}">
      <dgm:prSet/>
      <dgm:spPr/>
      <dgm:t>
        <a:bodyPr/>
        <a:lstStyle/>
        <a:p>
          <a:r>
            <a:rPr lang="en-US"/>
            <a:t>Customers can select compute and storage independently.</a:t>
          </a:r>
          <a:endParaRPr lang="en-US">
            <a:cs typeface="Segoe UI"/>
          </a:endParaRPr>
        </a:p>
      </dgm:t>
    </dgm:pt>
    <dgm:pt modelId="{F8FA5A1F-0E53-4FC3-BBF4-A0665B3941F6}" type="parTrans" cxnId="{368FF869-EB4D-4527-8DAF-FED6E30336B7}">
      <dgm:prSet/>
      <dgm:spPr/>
      <dgm:t>
        <a:bodyPr/>
        <a:lstStyle/>
        <a:p>
          <a:endParaRPr lang="en-US"/>
        </a:p>
      </dgm:t>
    </dgm:pt>
    <dgm:pt modelId="{537C09EB-7CA8-4B05-9363-253F74E85A48}" type="sibTrans" cxnId="{368FF869-EB4D-4527-8DAF-FED6E30336B7}">
      <dgm:prSet/>
      <dgm:spPr/>
      <dgm:t>
        <a:bodyPr/>
        <a:lstStyle/>
        <a:p>
          <a:endParaRPr lang="en-US"/>
        </a:p>
      </dgm:t>
    </dgm:pt>
    <dgm:pt modelId="{1BDB64A4-D452-42B0-A44E-A3D168117F99}">
      <dgm:prSet/>
      <dgm:spPr/>
      <dgm:t>
        <a:bodyPr/>
        <a:lstStyle/>
        <a:p>
          <a:r>
            <a:rPr lang="en-US"/>
            <a:t>Allows customers to right-size their compute requirements in the cloud.</a:t>
          </a:r>
          <a:endParaRPr lang="en-US">
            <a:cs typeface="Segoe UI"/>
          </a:endParaRPr>
        </a:p>
      </dgm:t>
    </dgm:pt>
    <dgm:pt modelId="{42894E30-DF9C-4DC9-B96B-D364D75B07E6}" type="parTrans" cxnId="{BDF28627-E289-460D-9387-D9EE930CBB0C}">
      <dgm:prSet/>
      <dgm:spPr/>
      <dgm:t>
        <a:bodyPr/>
        <a:lstStyle/>
        <a:p>
          <a:endParaRPr lang="en-US"/>
        </a:p>
      </dgm:t>
    </dgm:pt>
    <dgm:pt modelId="{6FDB6E0D-FC38-45D0-88BF-CB67490F0FEE}" type="sibTrans" cxnId="{BDF28627-E289-460D-9387-D9EE930CBB0C}">
      <dgm:prSet/>
      <dgm:spPr/>
      <dgm:t>
        <a:bodyPr/>
        <a:lstStyle/>
        <a:p>
          <a:endParaRPr lang="en-US"/>
        </a:p>
      </dgm:t>
    </dgm:pt>
    <dgm:pt modelId="{FD015494-380E-40B7-A75F-F11C6AB005CE}">
      <dgm:prSet/>
      <dgm:spPr/>
      <dgm:t>
        <a:bodyPr/>
        <a:lstStyle/>
        <a:p>
          <a:r>
            <a:rPr lang="en-US" dirty="0"/>
            <a:t>vCore sizing offers flexibility of choice.</a:t>
          </a:r>
        </a:p>
      </dgm:t>
    </dgm:pt>
    <dgm:pt modelId="{57C77BA8-5A73-4A38-B7B8-3BD5083D116A}" type="parTrans" cxnId="{8255F210-2D08-4732-8523-19796BB211E8}">
      <dgm:prSet/>
      <dgm:spPr/>
      <dgm:t>
        <a:bodyPr/>
        <a:lstStyle/>
        <a:p>
          <a:endParaRPr lang="en-US"/>
        </a:p>
      </dgm:t>
    </dgm:pt>
    <dgm:pt modelId="{BC99CF4D-34DD-4CA3-9448-5AEC62514A29}" type="sibTrans" cxnId="{8255F210-2D08-4732-8523-19796BB211E8}">
      <dgm:prSet/>
      <dgm:spPr/>
      <dgm:t>
        <a:bodyPr/>
        <a:lstStyle/>
        <a:p>
          <a:endParaRPr lang="en-US"/>
        </a:p>
      </dgm:t>
    </dgm:pt>
    <dgm:pt modelId="{DDC11327-B406-4DE1-8C30-3FB4F1FB0998}">
      <dgm:prSet/>
      <dgm:spPr/>
      <dgm:t>
        <a:bodyPr/>
        <a:lstStyle/>
        <a:p>
          <a:r>
            <a:rPr lang="en-US"/>
            <a:t>Provides a choice between a </a:t>
          </a:r>
          <a:r>
            <a:rPr lang="en-US" b="1"/>
            <a:t>provisioned compute tier</a:t>
          </a:r>
          <a:r>
            <a:rPr lang="en-US"/>
            <a:t> and a </a:t>
          </a:r>
          <a:r>
            <a:rPr lang="en-US" b="1"/>
            <a:t>serverless</a:t>
          </a:r>
          <a:r>
            <a:rPr lang="en-US"/>
            <a:t> </a:t>
          </a:r>
          <a:r>
            <a:rPr lang="en-US" b="1"/>
            <a:t>compute tier</a:t>
          </a:r>
          <a:r>
            <a:rPr lang="en-US"/>
            <a:t>.</a:t>
          </a:r>
          <a:endParaRPr lang="en-US">
            <a:cs typeface="Segoe UI"/>
          </a:endParaRPr>
        </a:p>
      </dgm:t>
    </dgm:pt>
    <dgm:pt modelId="{DB2733B7-99AB-4F66-9C70-75780DC128D3}" type="parTrans" cxnId="{66CB192B-3E29-4A83-89DB-645BEE6624EC}">
      <dgm:prSet/>
      <dgm:spPr/>
      <dgm:t>
        <a:bodyPr/>
        <a:lstStyle/>
        <a:p>
          <a:endParaRPr lang="en-US"/>
        </a:p>
      </dgm:t>
    </dgm:pt>
    <dgm:pt modelId="{F2645C56-8CB5-493E-949B-9174F7A2BFEE}" type="sibTrans" cxnId="{66CB192B-3E29-4A83-89DB-645BEE6624EC}">
      <dgm:prSet/>
      <dgm:spPr/>
      <dgm:t>
        <a:bodyPr/>
        <a:lstStyle/>
        <a:p>
          <a:endParaRPr lang="en-US"/>
        </a:p>
      </dgm:t>
    </dgm:pt>
    <dgm:pt modelId="{442AA7D9-FCB9-4296-B960-4298DCB4D660}">
      <dgm:prSet/>
      <dgm:spPr/>
      <dgm:t>
        <a:bodyPr/>
        <a:lstStyle/>
        <a:p>
          <a:r>
            <a:rPr lang="en-US"/>
            <a:t>Designed for </a:t>
          </a:r>
          <a:r>
            <a:rPr lang="en-US" b="1"/>
            <a:t>predictable performance</a:t>
          </a:r>
          <a:r>
            <a:rPr lang="en-US"/>
            <a:t>, but somewhat inflexible and limited in options.</a:t>
          </a:r>
          <a:endParaRPr lang="en-US">
            <a:cs typeface="Segoe UI"/>
          </a:endParaRPr>
        </a:p>
      </dgm:t>
    </dgm:pt>
    <dgm:pt modelId="{0F835F7C-C0E1-4EA3-A6AC-833A581D5411}" type="parTrans" cxnId="{CE3259E0-2384-48C3-A1AD-4546AE7CC070}">
      <dgm:prSet/>
      <dgm:spPr/>
      <dgm:t>
        <a:bodyPr/>
        <a:lstStyle/>
        <a:p>
          <a:endParaRPr lang="en-US"/>
        </a:p>
      </dgm:t>
    </dgm:pt>
    <dgm:pt modelId="{BCBDBBAF-65FB-4EBC-B369-1BED4DFDFEA5}" type="sibTrans" cxnId="{CE3259E0-2384-48C3-A1AD-4546AE7CC070}">
      <dgm:prSet/>
      <dgm:spPr/>
      <dgm:t>
        <a:bodyPr/>
        <a:lstStyle/>
        <a:p>
          <a:endParaRPr lang="en-US"/>
        </a:p>
      </dgm:t>
    </dgm:pt>
    <dgm:pt modelId="{B90F6B63-05A6-41EA-AB28-D4C1C274BC74}">
      <dgm:prSet/>
      <dgm:spPr/>
      <dgm:t>
        <a:bodyPr/>
        <a:lstStyle/>
        <a:p>
          <a:r>
            <a:rPr lang="en-US" dirty="0"/>
            <a:t>DTU sizing offers simplicity of choice. </a:t>
          </a:r>
        </a:p>
      </dgm:t>
    </dgm:pt>
    <dgm:pt modelId="{2DFFE2BA-2F12-4969-B0A6-864CC54F67DA}" type="parTrans" cxnId="{51F8E7F2-CF13-4886-9FA7-44B747F42F5A}">
      <dgm:prSet/>
      <dgm:spPr/>
      <dgm:t>
        <a:bodyPr/>
        <a:lstStyle/>
        <a:p>
          <a:endParaRPr lang="en-US"/>
        </a:p>
      </dgm:t>
    </dgm:pt>
    <dgm:pt modelId="{055E1133-0BD0-491F-8EA6-9DBD61FA1418}" type="sibTrans" cxnId="{51F8E7F2-CF13-4886-9FA7-44B747F42F5A}">
      <dgm:prSet/>
      <dgm:spPr/>
      <dgm:t>
        <a:bodyPr/>
        <a:lstStyle/>
        <a:p>
          <a:endParaRPr lang="en-US"/>
        </a:p>
      </dgm:t>
    </dgm:pt>
    <dgm:pt modelId="{8F1B0CB3-2C32-42C0-A427-121CCD828CAC}">
      <dgm:prSet/>
      <dgm:spPr/>
      <dgm:t>
        <a:bodyPr/>
        <a:lstStyle/>
        <a:p>
          <a:r>
            <a:rPr lang="en-US">
              <a:cs typeface="Segoe UI"/>
            </a:rPr>
            <a:t>Blended measure of CPU, memory, and read-write rates.</a:t>
          </a:r>
        </a:p>
      </dgm:t>
    </dgm:pt>
    <dgm:pt modelId="{2C6E67B5-BA27-41C4-8B21-4DEBAE1FF1E0}" type="parTrans" cxnId="{CFA12F2F-ADDD-4FFE-95E9-852043A89F92}">
      <dgm:prSet/>
      <dgm:spPr/>
      <dgm:t>
        <a:bodyPr/>
        <a:lstStyle/>
        <a:p>
          <a:endParaRPr lang="en-US"/>
        </a:p>
      </dgm:t>
    </dgm:pt>
    <dgm:pt modelId="{20039D3B-B073-4D64-997D-AE24E53B009A}" type="sibTrans" cxnId="{CFA12F2F-ADDD-4FFE-95E9-852043A89F92}">
      <dgm:prSet/>
      <dgm:spPr/>
      <dgm:t>
        <a:bodyPr/>
        <a:lstStyle/>
        <a:p>
          <a:endParaRPr lang="en-US"/>
        </a:p>
      </dgm:t>
    </dgm:pt>
    <dgm:pt modelId="{E9E0891D-69B5-4315-895F-8684D61FC4F9}" type="pres">
      <dgm:prSet presAssocID="{57AD98C9-DAD4-43F9-9C59-0BA2A780652B}" presName="linear" presStyleCnt="0">
        <dgm:presLayoutVars>
          <dgm:animLvl val="lvl"/>
          <dgm:resizeHandles val="exact"/>
        </dgm:presLayoutVars>
      </dgm:prSet>
      <dgm:spPr/>
    </dgm:pt>
    <dgm:pt modelId="{AEC62253-02D6-41BA-BDFA-87B7011E16A3}" type="pres">
      <dgm:prSet presAssocID="{E750C14C-314B-4B94-9D59-BCC1F286F72D}" presName="parentText" presStyleLbl="node1" presStyleIdx="0" presStyleCnt="2">
        <dgm:presLayoutVars>
          <dgm:chMax val="0"/>
          <dgm:bulletEnabled val="1"/>
        </dgm:presLayoutVars>
      </dgm:prSet>
      <dgm:spPr/>
    </dgm:pt>
    <dgm:pt modelId="{8E733FAC-E24A-4DF8-9BB9-862F4FD0A711}" type="pres">
      <dgm:prSet presAssocID="{E750C14C-314B-4B94-9D59-BCC1F286F72D}" presName="childText" presStyleLbl="revTx" presStyleIdx="0" presStyleCnt="2">
        <dgm:presLayoutVars>
          <dgm:bulletEnabled val="1"/>
        </dgm:presLayoutVars>
      </dgm:prSet>
      <dgm:spPr/>
    </dgm:pt>
    <dgm:pt modelId="{FD123AF8-832B-463D-9A48-EA0F6004285B}" type="pres">
      <dgm:prSet presAssocID="{AA8B2ED1-2348-498F-8382-D0E44385A6B1}" presName="parentText" presStyleLbl="node1" presStyleIdx="1" presStyleCnt="2">
        <dgm:presLayoutVars>
          <dgm:chMax val="0"/>
          <dgm:bulletEnabled val="1"/>
        </dgm:presLayoutVars>
      </dgm:prSet>
      <dgm:spPr/>
    </dgm:pt>
    <dgm:pt modelId="{DB95D02C-0B75-4757-804F-2486895801FA}" type="pres">
      <dgm:prSet presAssocID="{AA8B2ED1-2348-498F-8382-D0E44385A6B1}" presName="childText" presStyleLbl="revTx" presStyleIdx="1" presStyleCnt="2">
        <dgm:presLayoutVars>
          <dgm:bulletEnabled val="1"/>
        </dgm:presLayoutVars>
      </dgm:prSet>
      <dgm:spPr/>
    </dgm:pt>
  </dgm:ptLst>
  <dgm:cxnLst>
    <dgm:cxn modelId="{4F28D30E-C095-4E88-9FF3-E88EDF4EFBBD}" srcId="{AA8B2ED1-2348-498F-8382-D0E44385A6B1}" destId="{7B190D35-1419-4CB2-B87D-6BCFE31000FD}" srcOrd="0" destOrd="0" parTransId="{F08D2EB3-DD7E-4B00-AC24-B2E0B82CC8C3}" sibTransId="{6E3D6670-C22E-4E0D-B884-894486BE3379}"/>
    <dgm:cxn modelId="{8255F210-2D08-4732-8523-19796BB211E8}" srcId="{AA8B2ED1-2348-498F-8382-D0E44385A6B1}" destId="{FD015494-380E-40B7-A75F-F11C6AB005CE}" srcOrd="3" destOrd="0" parTransId="{57C77BA8-5A73-4A38-B7B8-3BD5083D116A}" sibTransId="{BC99CF4D-34DD-4CA3-9448-5AEC62514A29}"/>
    <dgm:cxn modelId="{BDF28627-E289-460D-9387-D9EE930CBB0C}" srcId="{AA8B2ED1-2348-498F-8382-D0E44385A6B1}" destId="{1BDB64A4-D452-42B0-A44E-A3D168117F99}" srcOrd="2" destOrd="0" parTransId="{42894E30-DF9C-4DC9-B96B-D364D75B07E6}" sibTransId="{6FDB6E0D-FC38-45D0-88BF-CB67490F0FEE}"/>
    <dgm:cxn modelId="{FCFC7A2A-844E-41FD-9589-5153854A67FE}" type="presOf" srcId="{442AA7D9-FCB9-4296-B960-4298DCB4D660}" destId="{8E733FAC-E24A-4DF8-9BB9-862F4FD0A711}" srcOrd="0" destOrd="1" presId="urn:microsoft.com/office/officeart/2005/8/layout/vList2"/>
    <dgm:cxn modelId="{66CB192B-3E29-4A83-89DB-645BEE6624EC}" srcId="{AA8B2ED1-2348-498F-8382-D0E44385A6B1}" destId="{DDC11327-B406-4DE1-8C30-3FB4F1FB0998}" srcOrd="4" destOrd="0" parTransId="{DB2733B7-99AB-4F66-9C70-75780DC128D3}" sibTransId="{F2645C56-8CB5-493E-949B-9174F7A2BFEE}"/>
    <dgm:cxn modelId="{CFA12F2F-ADDD-4FFE-95E9-852043A89F92}" srcId="{E750C14C-314B-4B94-9D59-BCC1F286F72D}" destId="{8F1B0CB3-2C32-42C0-A427-121CCD828CAC}" srcOrd="3" destOrd="0" parTransId="{2C6E67B5-BA27-41C4-8B21-4DEBAE1FF1E0}" sibTransId="{20039D3B-B073-4D64-997D-AE24E53B009A}"/>
    <dgm:cxn modelId="{26F20A3B-7656-41FD-98D4-FA136D683F08}" type="presOf" srcId="{57AD98C9-DAD4-43F9-9C59-0BA2A780652B}" destId="{E9E0891D-69B5-4315-895F-8684D61FC4F9}" srcOrd="0" destOrd="0" presId="urn:microsoft.com/office/officeart/2005/8/layout/vList2"/>
    <dgm:cxn modelId="{368FF869-EB4D-4527-8DAF-FED6E30336B7}" srcId="{AA8B2ED1-2348-498F-8382-D0E44385A6B1}" destId="{519722E7-B25E-4AE7-8C77-4F5E8ED9442A}" srcOrd="1" destOrd="0" parTransId="{F8FA5A1F-0E53-4FC3-BBF4-A0665B3941F6}" sibTransId="{537C09EB-7CA8-4B05-9363-253F74E85A48}"/>
    <dgm:cxn modelId="{53D36B6E-86A8-425E-B78A-6F4BC87FFE6C}" type="presOf" srcId="{7B190D35-1419-4CB2-B87D-6BCFE31000FD}" destId="{DB95D02C-0B75-4757-804F-2486895801FA}" srcOrd="0" destOrd="0" presId="urn:microsoft.com/office/officeart/2005/8/layout/vList2"/>
    <dgm:cxn modelId="{20AD6E50-AF0D-42C8-830C-D9CFE593BE5C}" type="presOf" srcId="{FD015494-380E-40B7-A75F-F11C6AB005CE}" destId="{DB95D02C-0B75-4757-804F-2486895801FA}" srcOrd="0" destOrd="3" presId="urn:microsoft.com/office/officeart/2005/8/layout/vList2"/>
    <dgm:cxn modelId="{E58C6275-4B46-4617-8A73-878C51E3E701}" type="presOf" srcId="{AA8B2ED1-2348-498F-8382-D0E44385A6B1}" destId="{FD123AF8-832B-463D-9A48-EA0F6004285B}" srcOrd="0" destOrd="0" presId="urn:microsoft.com/office/officeart/2005/8/layout/vList2"/>
    <dgm:cxn modelId="{2E684057-9B9A-4448-A000-CCDA8E763E39}" type="presOf" srcId="{DDC11327-B406-4DE1-8C30-3FB4F1FB0998}" destId="{DB95D02C-0B75-4757-804F-2486895801FA}" srcOrd="0" destOrd="4" presId="urn:microsoft.com/office/officeart/2005/8/layout/vList2"/>
    <dgm:cxn modelId="{9B4D969E-3EB9-41BC-BDAE-9D0A0C43EB2C}" srcId="{E750C14C-314B-4B94-9D59-BCC1F286F72D}" destId="{01004DBA-96C4-49D4-ABC7-AE18EEAEFD88}" srcOrd="0" destOrd="0" parTransId="{9683143A-6BC5-4C59-8F57-6EBC65194C71}" sibTransId="{1079C7B0-C4E5-4D09-8F12-C060326DF406}"/>
    <dgm:cxn modelId="{B08B6EA7-6F78-44CB-91DF-218E75CE1F85}" type="presOf" srcId="{E750C14C-314B-4B94-9D59-BCC1F286F72D}" destId="{AEC62253-02D6-41BA-BDFA-87B7011E16A3}" srcOrd="0" destOrd="0" presId="urn:microsoft.com/office/officeart/2005/8/layout/vList2"/>
    <dgm:cxn modelId="{3613A6C2-E64A-4388-8C39-37FB0B3B3DA9}" type="presOf" srcId="{B90F6B63-05A6-41EA-AB28-D4C1C274BC74}" destId="{8E733FAC-E24A-4DF8-9BB9-862F4FD0A711}" srcOrd="0" destOrd="2" presId="urn:microsoft.com/office/officeart/2005/8/layout/vList2"/>
    <dgm:cxn modelId="{D50D5BC5-C296-4DC8-99A0-7CF243D3312B}" srcId="{57AD98C9-DAD4-43F9-9C59-0BA2A780652B}" destId="{E750C14C-314B-4B94-9D59-BCC1F286F72D}" srcOrd="0" destOrd="0" parTransId="{6AD199FD-F928-4787-96A7-9AD442A46CF0}" sibTransId="{C9FB4340-6A1A-4A50-B3A3-1D9C539A8479}"/>
    <dgm:cxn modelId="{4168F6D0-047B-4B93-B9B8-7EABE9A131B7}" type="presOf" srcId="{1BDB64A4-D452-42B0-A44E-A3D168117F99}" destId="{DB95D02C-0B75-4757-804F-2486895801FA}" srcOrd="0" destOrd="2" presId="urn:microsoft.com/office/officeart/2005/8/layout/vList2"/>
    <dgm:cxn modelId="{577169DD-E137-44AD-96EE-86A67D3375BD}" type="presOf" srcId="{8F1B0CB3-2C32-42C0-A427-121CCD828CAC}" destId="{8E733FAC-E24A-4DF8-9BB9-862F4FD0A711}" srcOrd="0" destOrd="3" presId="urn:microsoft.com/office/officeart/2005/8/layout/vList2"/>
    <dgm:cxn modelId="{CE3259E0-2384-48C3-A1AD-4546AE7CC070}" srcId="{E750C14C-314B-4B94-9D59-BCC1F286F72D}" destId="{442AA7D9-FCB9-4296-B960-4298DCB4D660}" srcOrd="1" destOrd="0" parTransId="{0F835F7C-C0E1-4EA3-A6AC-833A581D5411}" sibTransId="{BCBDBBAF-65FB-4EBC-B369-1BED4DFDFEA5}"/>
    <dgm:cxn modelId="{0DEC1BE9-C099-43A9-BD90-45E61133627A}" type="presOf" srcId="{01004DBA-96C4-49D4-ABC7-AE18EEAEFD88}" destId="{8E733FAC-E24A-4DF8-9BB9-862F4FD0A711}" srcOrd="0" destOrd="0" presId="urn:microsoft.com/office/officeart/2005/8/layout/vList2"/>
    <dgm:cxn modelId="{8CEC15EA-2A6B-4D34-9553-FDBAE4FC3201}" type="presOf" srcId="{519722E7-B25E-4AE7-8C77-4F5E8ED9442A}" destId="{DB95D02C-0B75-4757-804F-2486895801FA}" srcOrd="0" destOrd="1" presId="urn:microsoft.com/office/officeart/2005/8/layout/vList2"/>
    <dgm:cxn modelId="{51F8E7F2-CF13-4886-9FA7-44B747F42F5A}" srcId="{E750C14C-314B-4B94-9D59-BCC1F286F72D}" destId="{B90F6B63-05A6-41EA-AB28-D4C1C274BC74}" srcOrd="2" destOrd="0" parTransId="{2DFFE2BA-2F12-4969-B0A6-864CC54F67DA}" sibTransId="{055E1133-0BD0-491F-8EA6-9DBD61FA1418}"/>
    <dgm:cxn modelId="{455DD7FF-18EE-41EE-993E-1487F70F838F}" srcId="{57AD98C9-DAD4-43F9-9C59-0BA2A780652B}" destId="{AA8B2ED1-2348-498F-8382-D0E44385A6B1}" srcOrd="1" destOrd="0" parTransId="{8D19A4B7-1FD3-48D0-AB80-05E70B7AC4F9}" sibTransId="{8D14AB4A-8A95-4049-8B7C-ACFD9B20BE9D}"/>
    <dgm:cxn modelId="{ABC4AE84-A82C-40BB-B0A5-AD88DBCF09E1}" type="presParOf" srcId="{E9E0891D-69B5-4315-895F-8684D61FC4F9}" destId="{AEC62253-02D6-41BA-BDFA-87B7011E16A3}" srcOrd="0" destOrd="0" presId="urn:microsoft.com/office/officeart/2005/8/layout/vList2"/>
    <dgm:cxn modelId="{B48972A3-CF3A-4D9F-B445-EF505FFC9A9E}" type="presParOf" srcId="{E9E0891D-69B5-4315-895F-8684D61FC4F9}" destId="{8E733FAC-E24A-4DF8-9BB9-862F4FD0A711}" srcOrd="1" destOrd="0" presId="urn:microsoft.com/office/officeart/2005/8/layout/vList2"/>
    <dgm:cxn modelId="{9D586701-5BCF-45C7-B16F-634035C7AB03}" type="presParOf" srcId="{E9E0891D-69B5-4315-895F-8684D61FC4F9}" destId="{FD123AF8-832B-463D-9A48-EA0F6004285B}" srcOrd="2" destOrd="0" presId="urn:microsoft.com/office/officeart/2005/8/layout/vList2"/>
    <dgm:cxn modelId="{BE97BC04-2FD5-4D2A-A039-C29BDB75F8B5}" type="presParOf" srcId="{E9E0891D-69B5-4315-895F-8684D61FC4F9}" destId="{DB95D02C-0B75-4757-804F-2486895801FA}"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AE4C6A8-3F90-4D07-9801-5C92A36774EC}" type="doc">
      <dgm:prSet loTypeId="urn:microsoft.com/office/officeart/2005/8/layout/lProcess3" loCatId="process" qsTypeId="urn:microsoft.com/office/officeart/2005/8/quickstyle/simple4" qsCatId="simple" csTypeId="urn:microsoft.com/office/officeart/2005/8/colors/accent0_3" csCatId="mainScheme" phldr="1"/>
      <dgm:spPr/>
      <dgm:t>
        <a:bodyPr/>
        <a:lstStyle/>
        <a:p>
          <a:endParaRPr lang="en-US"/>
        </a:p>
      </dgm:t>
    </dgm:pt>
    <dgm:pt modelId="{51758E5C-751B-4A57-9FE0-395C30450753}">
      <dgm:prSet custT="1"/>
      <dgm:spPr/>
      <dgm:t>
        <a:bodyPr/>
        <a:lstStyle/>
        <a:p>
          <a:r>
            <a:rPr lang="en-US" sz="2800" baseline="0" dirty="0"/>
            <a:t>DTU based </a:t>
          </a:r>
          <a:endParaRPr lang="en-US" sz="2800" dirty="0"/>
        </a:p>
      </dgm:t>
    </dgm:pt>
    <dgm:pt modelId="{D33D65B3-A818-4E34-9DE8-6C21E28F9B9B}" type="parTrans" cxnId="{9C2E7681-28FD-439C-8F80-CFEB8ACE6AC4}">
      <dgm:prSet/>
      <dgm:spPr/>
      <dgm:t>
        <a:bodyPr/>
        <a:lstStyle/>
        <a:p>
          <a:endParaRPr lang="en-US"/>
        </a:p>
      </dgm:t>
    </dgm:pt>
    <dgm:pt modelId="{45B3366C-4E07-4172-9880-1E00C256126C}" type="sibTrans" cxnId="{9C2E7681-28FD-439C-8F80-CFEB8ACE6AC4}">
      <dgm:prSet/>
      <dgm:spPr/>
      <dgm:t>
        <a:bodyPr/>
        <a:lstStyle/>
        <a:p>
          <a:endParaRPr lang="en-US"/>
        </a:p>
      </dgm:t>
    </dgm:pt>
    <dgm:pt modelId="{823F805F-FC65-42A0-B7BC-9DCE0AF69AA6}">
      <dgm:prSet custT="1"/>
      <dgm:spPr/>
      <dgm:t>
        <a:bodyPr/>
        <a:lstStyle/>
        <a:p>
          <a:r>
            <a:rPr lang="en-US" sz="2000" b="1" baseline="0" dirty="0"/>
            <a:t>Basic</a:t>
          </a:r>
          <a:endParaRPr lang="en-US" sz="2000" dirty="0"/>
        </a:p>
      </dgm:t>
    </dgm:pt>
    <dgm:pt modelId="{BC1AEAB2-5CCB-452B-819F-594545ED1B35}" type="parTrans" cxnId="{9F8E82D1-420A-451E-ACD5-C275640AE161}">
      <dgm:prSet/>
      <dgm:spPr/>
      <dgm:t>
        <a:bodyPr/>
        <a:lstStyle/>
        <a:p>
          <a:endParaRPr lang="en-US"/>
        </a:p>
      </dgm:t>
    </dgm:pt>
    <dgm:pt modelId="{097F88CC-8A42-4326-8203-386A1E6A30D2}" type="sibTrans" cxnId="{9F8E82D1-420A-451E-ACD5-C275640AE161}">
      <dgm:prSet/>
      <dgm:spPr/>
      <dgm:t>
        <a:bodyPr/>
        <a:lstStyle/>
        <a:p>
          <a:endParaRPr lang="en-US"/>
        </a:p>
      </dgm:t>
    </dgm:pt>
    <dgm:pt modelId="{15E010B6-1A3C-4C25-917C-C0B6D50A38F4}">
      <dgm:prSet custT="1"/>
      <dgm:spPr/>
      <dgm:t>
        <a:bodyPr/>
        <a:lstStyle/>
        <a:p>
          <a:r>
            <a:rPr lang="en-US" sz="2000" b="1" baseline="0" dirty="0"/>
            <a:t>Standard</a:t>
          </a:r>
          <a:endParaRPr lang="en-US" sz="2000" dirty="0"/>
        </a:p>
      </dgm:t>
    </dgm:pt>
    <dgm:pt modelId="{B123135C-3D1A-4EAB-B7CA-196C738454F6}" type="parTrans" cxnId="{C39A5C37-26CE-4EEC-9E45-732ED006824E}">
      <dgm:prSet/>
      <dgm:spPr/>
      <dgm:t>
        <a:bodyPr/>
        <a:lstStyle/>
        <a:p>
          <a:endParaRPr lang="en-US"/>
        </a:p>
      </dgm:t>
    </dgm:pt>
    <dgm:pt modelId="{AE8E94A1-C489-4993-BE8B-FCA2C555AA7F}" type="sibTrans" cxnId="{C39A5C37-26CE-4EEC-9E45-732ED006824E}">
      <dgm:prSet/>
      <dgm:spPr/>
      <dgm:t>
        <a:bodyPr/>
        <a:lstStyle/>
        <a:p>
          <a:endParaRPr lang="en-US"/>
        </a:p>
      </dgm:t>
    </dgm:pt>
    <dgm:pt modelId="{19D5A510-FDEE-41C2-A585-C5DD16760B8B}">
      <dgm:prSet custT="1"/>
      <dgm:spPr/>
      <dgm:t>
        <a:bodyPr/>
        <a:lstStyle/>
        <a:p>
          <a:r>
            <a:rPr lang="en-US" sz="2000" b="1" baseline="0" dirty="0"/>
            <a:t>Premium</a:t>
          </a:r>
          <a:endParaRPr lang="en-US" sz="2000" dirty="0"/>
        </a:p>
      </dgm:t>
    </dgm:pt>
    <dgm:pt modelId="{3C553C65-4D04-4F09-9DA3-A3C44AFCD7B6}" type="parTrans" cxnId="{18086F78-F235-487A-A443-C08F6956C0F7}">
      <dgm:prSet/>
      <dgm:spPr/>
      <dgm:t>
        <a:bodyPr/>
        <a:lstStyle/>
        <a:p>
          <a:endParaRPr lang="en-US"/>
        </a:p>
      </dgm:t>
    </dgm:pt>
    <dgm:pt modelId="{095FE177-4FBB-48E2-99B5-99ED2F57ABB6}" type="sibTrans" cxnId="{18086F78-F235-487A-A443-C08F6956C0F7}">
      <dgm:prSet/>
      <dgm:spPr/>
      <dgm:t>
        <a:bodyPr/>
        <a:lstStyle/>
        <a:p>
          <a:endParaRPr lang="en-US"/>
        </a:p>
      </dgm:t>
    </dgm:pt>
    <dgm:pt modelId="{C71269B8-1D69-472D-8C16-2C35A3138555}">
      <dgm:prSet custT="1"/>
      <dgm:spPr/>
      <dgm:t>
        <a:bodyPr/>
        <a:lstStyle/>
        <a:p>
          <a:r>
            <a:rPr lang="en-US" sz="2800" baseline="0" dirty="0"/>
            <a:t>vCore based</a:t>
          </a:r>
          <a:endParaRPr lang="en-US" sz="2800" dirty="0"/>
        </a:p>
      </dgm:t>
    </dgm:pt>
    <dgm:pt modelId="{8671F9A2-6218-499B-AF8E-5DCC05C21E4F}" type="parTrans" cxnId="{EE200D7F-B278-4599-A918-B2A0B9AC8C50}">
      <dgm:prSet/>
      <dgm:spPr/>
      <dgm:t>
        <a:bodyPr/>
        <a:lstStyle/>
        <a:p>
          <a:endParaRPr lang="en-US"/>
        </a:p>
      </dgm:t>
    </dgm:pt>
    <dgm:pt modelId="{2AC182E8-AD2F-451C-B1DA-BC0B56BE93F5}" type="sibTrans" cxnId="{EE200D7F-B278-4599-A918-B2A0B9AC8C50}">
      <dgm:prSet/>
      <dgm:spPr/>
      <dgm:t>
        <a:bodyPr/>
        <a:lstStyle/>
        <a:p>
          <a:endParaRPr lang="en-US"/>
        </a:p>
      </dgm:t>
    </dgm:pt>
    <dgm:pt modelId="{811E6214-DE5B-4312-98BF-EC268B52DED0}">
      <dgm:prSet custT="1"/>
      <dgm:spPr/>
      <dgm:t>
        <a:bodyPr/>
        <a:lstStyle/>
        <a:p>
          <a:r>
            <a:rPr lang="en-US" sz="2000" b="1" baseline="0" dirty="0"/>
            <a:t>General purpose</a:t>
          </a:r>
          <a:r>
            <a:rPr lang="en-US" sz="2000" baseline="0" dirty="0"/>
            <a:t>.</a:t>
          </a:r>
          <a:endParaRPr lang="en-US" sz="2000" dirty="0"/>
        </a:p>
      </dgm:t>
    </dgm:pt>
    <dgm:pt modelId="{1B13A972-36BF-4475-AD3C-9C1679C23B3A}" type="parTrans" cxnId="{647B49E8-3D40-42F3-B886-E37251F0D43F}">
      <dgm:prSet/>
      <dgm:spPr/>
      <dgm:t>
        <a:bodyPr/>
        <a:lstStyle/>
        <a:p>
          <a:endParaRPr lang="en-US"/>
        </a:p>
      </dgm:t>
    </dgm:pt>
    <dgm:pt modelId="{E48311DA-A7ED-4038-95C8-4A7A7629DFCC}" type="sibTrans" cxnId="{647B49E8-3D40-42F3-B886-E37251F0D43F}">
      <dgm:prSet/>
      <dgm:spPr/>
      <dgm:t>
        <a:bodyPr/>
        <a:lstStyle/>
        <a:p>
          <a:endParaRPr lang="en-US"/>
        </a:p>
      </dgm:t>
    </dgm:pt>
    <dgm:pt modelId="{0DB6AC95-AC52-4E09-A224-B031781BD25B}">
      <dgm:prSet custT="1"/>
      <dgm:spPr/>
      <dgm:t>
        <a:bodyPr/>
        <a:lstStyle/>
        <a:p>
          <a:r>
            <a:rPr lang="en-US" sz="2000" b="1" baseline="0" dirty="0"/>
            <a:t>Business critical	</a:t>
          </a:r>
          <a:endParaRPr lang="en-US" sz="2000" dirty="0"/>
        </a:p>
      </dgm:t>
    </dgm:pt>
    <dgm:pt modelId="{18FD2BAA-4652-4833-9272-CA1FE6DDB458}" type="parTrans" cxnId="{694D9D15-8C7C-4DCE-AD1C-1B759DCF2CB3}">
      <dgm:prSet/>
      <dgm:spPr/>
      <dgm:t>
        <a:bodyPr/>
        <a:lstStyle/>
        <a:p>
          <a:endParaRPr lang="en-US"/>
        </a:p>
      </dgm:t>
    </dgm:pt>
    <dgm:pt modelId="{9913F241-C722-4341-8A45-3BA9942DA6C6}" type="sibTrans" cxnId="{694D9D15-8C7C-4DCE-AD1C-1B759DCF2CB3}">
      <dgm:prSet/>
      <dgm:spPr/>
      <dgm:t>
        <a:bodyPr/>
        <a:lstStyle/>
        <a:p>
          <a:endParaRPr lang="en-US"/>
        </a:p>
      </dgm:t>
    </dgm:pt>
    <dgm:pt modelId="{06A5C58F-9D32-4460-83F5-EA906350993C}">
      <dgm:prSet custT="1"/>
      <dgm:spPr/>
      <dgm:t>
        <a:bodyPr/>
        <a:lstStyle/>
        <a:p>
          <a:r>
            <a:rPr lang="en-US" sz="2000" b="1" baseline="0" dirty="0"/>
            <a:t>Hyperscale</a:t>
          </a:r>
          <a:endParaRPr lang="en-US" sz="2000" dirty="0"/>
        </a:p>
      </dgm:t>
    </dgm:pt>
    <dgm:pt modelId="{E7C1488E-0E05-4DC2-9BA4-D05119280962}" type="parTrans" cxnId="{7BEB8C44-27E3-424E-AC00-1E4A35F61CC8}">
      <dgm:prSet/>
      <dgm:spPr/>
      <dgm:t>
        <a:bodyPr/>
        <a:lstStyle/>
        <a:p>
          <a:endParaRPr lang="en-US"/>
        </a:p>
      </dgm:t>
    </dgm:pt>
    <dgm:pt modelId="{8B0645AC-F9C0-42E9-A8CC-2F6723306375}" type="sibTrans" cxnId="{7BEB8C44-27E3-424E-AC00-1E4A35F61CC8}">
      <dgm:prSet/>
      <dgm:spPr/>
      <dgm:t>
        <a:bodyPr/>
        <a:lstStyle/>
        <a:p>
          <a:endParaRPr lang="en-US"/>
        </a:p>
      </dgm:t>
    </dgm:pt>
    <dgm:pt modelId="{BAC24337-23BE-4368-905C-3B72BEC5C5F5}" type="pres">
      <dgm:prSet presAssocID="{8AE4C6A8-3F90-4D07-9801-5C92A36774EC}" presName="Name0" presStyleCnt="0">
        <dgm:presLayoutVars>
          <dgm:chPref val="3"/>
          <dgm:dir/>
          <dgm:animLvl val="lvl"/>
          <dgm:resizeHandles/>
        </dgm:presLayoutVars>
      </dgm:prSet>
      <dgm:spPr/>
    </dgm:pt>
    <dgm:pt modelId="{4E2015D7-98D7-435C-B459-6396BB6FF08B}" type="pres">
      <dgm:prSet presAssocID="{51758E5C-751B-4A57-9FE0-395C30450753}" presName="horFlow" presStyleCnt="0"/>
      <dgm:spPr/>
    </dgm:pt>
    <dgm:pt modelId="{8E3546D4-27AC-4908-AA2C-9C4CAFE6CB68}" type="pres">
      <dgm:prSet presAssocID="{51758E5C-751B-4A57-9FE0-395C30450753}" presName="bigChev" presStyleLbl="node1" presStyleIdx="0" presStyleCnt="2"/>
      <dgm:spPr/>
    </dgm:pt>
    <dgm:pt modelId="{854D3D42-B596-4515-8317-D2026D3B9E66}" type="pres">
      <dgm:prSet presAssocID="{BC1AEAB2-5CCB-452B-819F-594545ED1B35}" presName="parTrans" presStyleCnt="0"/>
      <dgm:spPr/>
    </dgm:pt>
    <dgm:pt modelId="{D828D2B7-B7E9-4A37-B1AE-C80A7E6C30B0}" type="pres">
      <dgm:prSet presAssocID="{823F805F-FC65-42A0-B7BC-9DCE0AF69AA6}" presName="node" presStyleLbl="alignAccFollowNode1" presStyleIdx="0" presStyleCnt="6">
        <dgm:presLayoutVars>
          <dgm:bulletEnabled val="1"/>
        </dgm:presLayoutVars>
      </dgm:prSet>
      <dgm:spPr/>
    </dgm:pt>
    <dgm:pt modelId="{B2E905D6-C4FD-4C1E-9C76-4776C91E2658}" type="pres">
      <dgm:prSet presAssocID="{097F88CC-8A42-4326-8203-386A1E6A30D2}" presName="sibTrans" presStyleCnt="0"/>
      <dgm:spPr/>
    </dgm:pt>
    <dgm:pt modelId="{6679B128-AD39-4BAB-8CF9-168F57776BA2}" type="pres">
      <dgm:prSet presAssocID="{15E010B6-1A3C-4C25-917C-C0B6D50A38F4}" presName="node" presStyleLbl="alignAccFollowNode1" presStyleIdx="1" presStyleCnt="6">
        <dgm:presLayoutVars>
          <dgm:bulletEnabled val="1"/>
        </dgm:presLayoutVars>
      </dgm:prSet>
      <dgm:spPr/>
    </dgm:pt>
    <dgm:pt modelId="{D63C4EF9-E161-46B6-8C5F-4AC72307500E}" type="pres">
      <dgm:prSet presAssocID="{AE8E94A1-C489-4993-BE8B-FCA2C555AA7F}" presName="sibTrans" presStyleCnt="0"/>
      <dgm:spPr/>
    </dgm:pt>
    <dgm:pt modelId="{F68BEEB1-9633-43E9-8BE2-8EAF9E0B2A3E}" type="pres">
      <dgm:prSet presAssocID="{19D5A510-FDEE-41C2-A585-C5DD16760B8B}" presName="node" presStyleLbl="alignAccFollowNode1" presStyleIdx="2" presStyleCnt="6">
        <dgm:presLayoutVars>
          <dgm:bulletEnabled val="1"/>
        </dgm:presLayoutVars>
      </dgm:prSet>
      <dgm:spPr/>
    </dgm:pt>
    <dgm:pt modelId="{D9564BC1-3CAF-4165-9A2C-9D8A06C53CB4}" type="pres">
      <dgm:prSet presAssocID="{51758E5C-751B-4A57-9FE0-395C30450753}" presName="vSp" presStyleCnt="0"/>
      <dgm:spPr/>
    </dgm:pt>
    <dgm:pt modelId="{FE3E8159-4572-42EA-BA0F-0CC3E6C4B1DC}" type="pres">
      <dgm:prSet presAssocID="{C71269B8-1D69-472D-8C16-2C35A3138555}" presName="horFlow" presStyleCnt="0"/>
      <dgm:spPr/>
    </dgm:pt>
    <dgm:pt modelId="{4C260DCB-F5FD-4739-B27A-C3C202058DAC}" type="pres">
      <dgm:prSet presAssocID="{C71269B8-1D69-472D-8C16-2C35A3138555}" presName="bigChev" presStyleLbl="node1" presStyleIdx="1" presStyleCnt="2"/>
      <dgm:spPr/>
    </dgm:pt>
    <dgm:pt modelId="{6532D4FC-60E0-4A7D-A4CD-6B20DE7D3E0C}" type="pres">
      <dgm:prSet presAssocID="{1B13A972-36BF-4475-AD3C-9C1679C23B3A}" presName="parTrans" presStyleCnt="0"/>
      <dgm:spPr/>
    </dgm:pt>
    <dgm:pt modelId="{206D7FF8-F6B9-4500-9E02-2062541EEAD4}" type="pres">
      <dgm:prSet presAssocID="{811E6214-DE5B-4312-98BF-EC268B52DED0}" presName="node" presStyleLbl="alignAccFollowNode1" presStyleIdx="3" presStyleCnt="6">
        <dgm:presLayoutVars>
          <dgm:bulletEnabled val="1"/>
        </dgm:presLayoutVars>
      </dgm:prSet>
      <dgm:spPr/>
    </dgm:pt>
    <dgm:pt modelId="{3A5E6353-F5A5-4890-A19B-86961F5BAAD5}" type="pres">
      <dgm:prSet presAssocID="{E48311DA-A7ED-4038-95C8-4A7A7629DFCC}" presName="sibTrans" presStyleCnt="0"/>
      <dgm:spPr/>
    </dgm:pt>
    <dgm:pt modelId="{3B623178-8E9D-4A3D-ADEB-54F2F088518A}" type="pres">
      <dgm:prSet presAssocID="{0DB6AC95-AC52-4E09-A224-B031781BD25B}" presName="node" presStyleLbl="alignAccFollowNode1" presStyleIdx="4" presStyleCnt="6">
        <dgm:presLayoutVars>
          <dgm:bulletEnabled val="1"/>
        </dgm:presLayoutVars>
      </dgm:prSet>
      <dgm:spPr/>
    </dgm:pt>
    <dgm:pt modelId="{DFBC9158-D8E0-4A1F-8ABA-ADF328AF0B5A}" type="pres">
      <dgm:prSet presAssocID="{9913F241-C722-4341-8A45-3BA9942DA6C6}" presName="sibTrans" presStyleCnt="0"/>
      <dgm:spPr/>
    </dgm:pt>
    <dgm:pt modelId="{D64817FE-A4A1-48B6-9EAA-67AC8D3DE931}" type="pres">
      <dgm:prSet presAssocID="{06A5C58F-9D32-4460-83F5-EA906350993C}" presName="node" presStyleLbl="alignAccFollowNode1" presStyleIdx="5" presStyleCnt="6">
        <dgm:presLayoutVars>
          <dgm:bulletEnabled val="1"/>
        </dgm:presLayoutVars>
      </dgm:prSet>
      <dgm:spPr/>
    </dgm:pt>
  </dgm:ptLst>
  <dgm:cxnLst>
    <dgm:cxn modelId="{89E2E712-50B9-4F3F-A224-1DAA9F863A52}" type="presOf" srcId="{823F805F-FC65-42A0-B7BC-9DCE0AF69AA6}" destId="{D828D2B7-B7E9-4A37-B1AE-C80A7E6C30B0}" srcOrd="0" destOrd="0" presId="urn:microsoft.com/office/officeart/2005/8/layout/lProcess3"/>
    <dgm:cxn modelId="{694D9D15-8C7C-4DCE-AD1C-1B759DCF2CB3}" srcId="{C71269B8-1D69-472D-8C16-2C35A3138555}" destId="{0DB6AC95-AC52-4E09-A224-B031781BD25B}" srcOrd="1" destOrd="0" parTransId="{18FD2BAA-4652-4833-9272-CA1FE6DDB458}" sibTransId="{9913F241-C722-4341-8A45-3BA9942DA6C6}"/>
    <dgm:cxn modelId="{C39A5C37-26CE-4EEC-9E45-732ED006824E}" srcId="{51758E5C-751B-4A57-9FE0-395C30450753}" destId="{15E010B6-1A3C-4C25-917C-C0B6D50A38F4}" srcOrd="1" destOrd="0" parTransId="{B123135C-3D1A-4EAB-B7CA-196C738454F6}" sibTransId="{AE8E94A1-C489-4993-BE8B-FCA2C555AA7F}"/>
    <dgm:cxn modelId="{7BEB8C44-27E3-424E-AC00-1E4A35F61CC8}" srcId="{C71269B8-1D69-472D-8C16-2C35A3138555}" destId="{06A5C58F-9D32-4460-83F5-EA906350993C}" srcOrd="2" destOrd="0" parTransId="{E7C1488E-0E05-4DC2-9BA4-D05119280962}" sibTransId="{8B0645AC-F9C0-42E9-A8CC-2F6723306375}"/>
    <dgm:cxn modelId="{18086F78-F235-487A-A443-C08F6956C0F7}" srcId="{51758E5C-751B-4A57-9FE0-395C30450753}" destId="{19D5A510-FDEE-41C2-A585-C5DD16760B8B}" srcOrd="2" destOrd="0" parTransId="{3C553C65-4D04-4F09-9DA3-A3C44AFCD7B6}" sibTransId="{095FE177-4FBB-48E2-99B5-99ED2F57ABB6}"/>
    <dgm:cxn modelId="{EE200D7F-B278-4599-A918-B2A0B9AC8C50}" srcId="{8AE4C6A8-3F90-4D07-9801-5C92A36774EC}" destId="{C71269B8-1D69-472D-8C16-2C35A3138555}" srcOrd="1" destOrd="0" parTransId="{8671F9A2-6218-499B-AF8E-5DCC05C21E4F}" sibTransId="{2AC182E8-AD2F-451C-B1DA-BC0B56BE93F5}"/>
    <dgm:cxn modelId="{9C2E7681-28FD-439C-8F80-CFEB8ACE6AC4}" srcId="{8AE4C6A8-3F90-4D07-9801-5C92A36774EC}" destId="{51758E5C-751B-4A57-9FE0-395C30450753}" srcOrd="0" destOrd="0" parTransId="{D33D65B3-A818-4E34-9DE8-6C21E28F9B9B}" sibTransId="{45B3366C-4E07-4172-9880-1E00C256126C}"/>
    <dgm:cxn modelId="{D666A585-0991-475B-85CF-3637F082D034}" type="presOf" srcId="{06A5C58F-9D32-4460-83F5-EA906350993C}" destId="{D64817FE-A4A1-48B6-9EAA-67AC8D3DE931}" srcOrd="0" destOrd="0" presId="urn:microsoft.com/office/officeart/2005/8/layout/lProcess3"/>
    <dgm:cxn modelId="{7B22FD92-35BC-4426-BB51-19336DEB4C91}" type="presOf" srcId="{811E6214-DE5B-4312-98BF-EC268B52DED0}" destId="{206D7FF8-F6B9-4500-9E02-2062541EEAD4}" srcOrd="0" destOrd="0" presId="urn:microsoft.com/office/officeart/2005/8/layout/lProcess3"/>
    <dgm:cxn modelId="{E1B952AC-154E-403C-B3FF-8B109F751CCE}" type="presOf" srcId="{0DB6AC95-AC52-4E09-A224-B031781BD25B}" destId="{3B623178-8E9D-4A3D-ADEB-54F2F088518A}" srcOrd="0" destOrd="0" presId="urn:microsoft.com/office/officeart/2005/8/layout/lProcess3"/>
    <dgm:cxn modelId="{4E5C63B2-D81A-4C1E-AE3E-29513F4194A3}" type="presOf" srcId="{15E010B6-1A3C-4C25-917C-C0B6D50A38F4}" destId="{6679B128-AD39-4BAB-8CF9-168F57776BA2}" srcOrd="0" destOrd="0" presId="urn:microsoft.com/office/officeart/2005/8/layout/lProcess3"/>
    <dgm:cxn modelId="{69AED1C3-4C6B-4F6C-8660-398436FACA38}" type="presOf" srcId="{51758E5C-751B-4A57-9FE0-395C30450753}" destId="{8E3546D4-27AC-4908-AA2C-9C4CAFE6CB68}" srcOrd="0" destOrd="0" presId="urn:microsoft.com/office/officeart/2005/8/layout/lProcess3"/>
    <dgm:cxn modelId="{2E703BCD-8039-4DB6-8D00-707D4F07FA33}" type="presOf" srcId="{C71269B8-1D69-472D-8C16-2C35A3138555}" destId="{4C260DCB-F5FD-4739-B27A-C3C202058DAC}" srcOrd="0" destOrd="0" presId="urn:microsoft.com/office/officeart/2005/8/layout/lProcess3"/>
    <dgm:cxn modelId="{9F8E82D1-420A-451E-ACD5-C275640AE161}" srcId="{51758E5C-751B-4A57-9FE0-395C30450753}" destId="{823F805F-FC65-42A0-B7BC-9DCE0AF69AA6}" srcOrd="0" destOrd="0" parTransId="{BC1AEAB2-5CCB-452B-819F-594545ED1B35}" sibTransId="{097F88CC-8A42-4326-8203-386A1E6A30D2}"/>
    <dgm:cxn modelId="{2566CBD7-2DED-4B3A-9CD0-6736F83E16E0}" type="presOf" srcId="{19D5A510-FDEE-41C2-A585-C5DD16760B8B}" destId="{F68BEEB1-9633-43E9-8BE2-8EAF9E0B2A3E}" srcOrd="0" destOrd="0" presId="urn:microsoft.com/office/officeart/2005/8/layout/lProcess3"/>
    <dgm:cxn modelId="{647B49E8-3D40-42F3-B886-E37251F0D43F}" srcId="{C71269B8-1D69-472D-8C16-2C35A3138555}" destId="{811E6214-DE5B-4312-98BF-EC268B52DED0}" srcOrd="0" destOrd="0" parTransId="{1B13A972-36BF-4475-AD3C-9C1679C23B3A}" sibTransId="{E48311DA-A7ED-4038-95C8-4A7A7629DFCC}"/>
    <dgm:cxn modelId="{0AF2CAF1-DE70-4347-9B32-113D8D9B5D45}" type="presOf" srcId="{8AE4C6A8-3F90-4D07-9801-5C92A36774EC}" destId="{BAC24337-23BE-4368-905C-3B72BEC5C5F5}" srcOrd="0" destOrd="0" presId="urn:microsoft.com/office/officeart/2005/8/layout/lProcess3"/>
    <dgm:cxn modelId="{F8F5DDB1-9C71-4790-B7FA-46F02A7077EB}" type="presParOf" srcId="{BAC24337-23BE-4368-905C-3B72BEC5C5F5}" destId="{4E2015D7-98D7-435C-B459-6396BB6FF08B}" srcOrd="0" destOrd="0" presId="urn:microsoft.com/office/officeart/2005/8/layout/lProcess3"/>
    <dgm:cxn modelId="{6CEDB7B1-FEEE-4328-834C-764DE754006A}" type="presParOf" srcId="{4E2015D7-98D7-435C-B459-6396BB6FF08B}" destId="{8E3546D4-27AC-4908-AA2C-9C4CAFE6CB68}" srcOrd="0" destOrd="0" presId="urn:microsoft.com/office/officeart/2005/8/layout/lProcess3"/>
    <dgm:cxn modelId="{F4770907-2CC2-4E6F-A54C-0A2E504FB14A}" type="presParOf" srcId="{4E2015D7-98D7-435C-B459-6396BB6FF08B}" destId="{854D3D42-B596-4515-8317-D2026D3B9E66}" srcOrd="1" destOrd="0" presId="urn:microsoft.com/office/officeart/2005/8/layout/lProcess3"/>
    <dgm:cxn modelId="{A16FCC4A-8985-4B4E-85B5-2DA73C807F21}" type="presParOf" srcId="{4E2015D7-98D7-435C-B459-6396BB6FF08B}" destId="{D828D2B7-B7E9-4A37-B1AE-C80A7E6C30B0}" srcOrd="2" destOrd="0" presId="urn:microsoft.com/office/officeart/2005/8/layout/lProcess3"/>
    <dgm:cxn modelId="{DA6CE710-A822-4B49-9AB8-2C2F832A52FA}" type="presParOf" srcId="{4E2015D7-98D7-435C-B459-6396BB6FF08B}" destId="{B2E905D6-C4FD-4C1E-9C76-4776C91E2658}" srcOrd="3" destOrd="0" presId="urn:microsoft.com/office/officeart/2005/8/layout/lProcess3"/>
    <dgm:cxn modelId="{E254B9BB-F5B3-4F69-9181-4A3DAEE0AABE}" type="presParOf" srcId="{4E2015D7-98D7-435C-B459-6396BB6FF08B}" destId="{6679B128-AD39-4BAB-8CF9-168F57776BA2}" srcOrd="4" destOrd="0" presId="urn:microsoft.com/office/officeart/2005/8/layout/lProcess3"/>
    <dgm:cxn modelId="{C1A5E8DE-BB77-4F3A-A1BD-97FFCAC08DB0}" type="presParOf" srcId="{4E2015D7-98D7-435C-B459-6396BB6FF08B}" destId="{D63C4EF9-E161-46B6-8C5F-4AC72307500E}" srcOrd="5" destOrd="0" presId="urn:microsoft.com/office/officeart/2005/8/layout/lProcess3"/>
    <dgm:cxn modelId="{E9266258-C198-46FB-9335-F6A4915E4546}" type="presParOf" srcId="{4E2015D7-98D7-435C-B459-6396BB6FF08B}" destId="{F68BEEB1-9633-43E9-8BE2-8EAF9E0B2A3E}" srcOrd="6" destOrd="0" presId="urn:microsoft.com/office/officeart/2005/8/layout/lProcess3"/>
    <dgm:cxn modelId="{FD08142E-8018-4736-9AC0-219CA36B31BB}" type="presParOf" srcId="{BAC24337-23BE-4368-905C-3B72BEC5C5F5}" destId="{D9564BC1-3CAF-4165-9A2C-9D8A06C53CB4}" srcOrd="1" destOrd="0" presId="urn:microsoft.com/office/officeart/2005/8/layout/lProcess3"/>
    <dgm:cxn modelId="{E7960C35-2754-46CD-B1DF-27F1B40D23EE}" type="presParOf" srcId="{BAC24337-23BE-4368-905C-3B72BEC5C5F5}" destId="{FE3E8159-4572-42EA-BA0F-0CC3E6C4B1DC}" srcOrd="2" destOrd="0" presId="urn:microsoft.com/office/officeart/2005/8/layout/lProcess3"/>
    <dgm:cxn modelId="{F9DF24D2-6B43-4B9B-B96D-CE5106795458}" type="presParOf" srcId="{FE3E8159-4572-42EA-BA0F-0CC3E6C4B1DC}" destId="{4C260DCB-F5FD-4739-B27A-C3C202058DAC}" srcOrd="0" destOrd="0" presId="urn:microsoft.com/office/officeart/2005/8/layout/lProcess3"/>
    <dgm:cxn modelId="{F8EFB029-5EB3-481D-BD82-2190F70EEFA1}" type="presParOf" srcId="{FE3E8159-4572-42EA-BA0F-0CC3E6C4B1DC}" destId="{6532D4FC-60E0-4A7D-A4CD-6B20DE7D3E0C}" srcOrd="1" destOrd="0" presId="urn:microsoft.com/office/officeart/2005/8/layout/lProcess3"/>
    <dgm:cxn modelId="{C7817B2A-CD8D-4C22-9985-657E4F838028}" type="presParOf" srcId="{FE3E8159-4572-42EA-BA0F-0CC3E6C4B1DC}" destId="{206D7FF8-F6B9-4500-9E02-2062541EEAD4}" srcOrd="2" destOrd="0" presId="urn:microsoft.com/office/officeart/2005/8/layout/lProcess3"/>
    <dgm:cxn modelId="{3C00DDA3-9A0B-485B-BB87-70538BF1F0A7}" type="presParOf" srcId="{FE3E8159-4572-42EA-BA0F-0CC3E6C4B1DC}" destId="{3A5E6353-F5A5-4890-A19B-86961F5BAAD5}" srcOrd="3" destOrd="0" presId="urn:microsoft.com/office/officeart/2005/8/layout/lProcess3"/>
    <dgm:cxn modelId="{E0D2486A-B1E0-4693-9F18-A48DD631F484}" type="presParOf" srcId="{FE3E8159-4572-42EA-BA0F-0CC3E6C4B1DC}" destId="{3B623178-8E9D-4A3D-ADEB-54F2F088518A}" srcOrd="4" destOrd="0" presId="urn:microsoft.com/office/officeart/2005/8/layout/lProcess3"/>
    <dgm:cxn modelId="{6FE31D32-6952-4E8E-8541-BE18A025BB79}" type="presParOf" srcId="{FE3E8159-4572-42EA-BA0F-0CC3E6C4B1DC}" destId="{DFBC9158-D8E0-4A1F-8ABA-ADF328AF0B5A}" srcOrd="5" destOrd="0" presId="urn:microsoft.com/office/officeart/2005/8/layout/lProcess3"/>
    <dgm:cxn modelId="{6FFFB044-BBBA-41A2-8762-03D35B8DA2CD}" type="presParOf" srcId="{FE3E8159-4572-42EA-BA0F-0CC3E6C4B1DC}" destId="{D64817FE-A4A1-48B6-9EAA-67AC8D3DE931}" srcOrd="6"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5F8CDD7-1288-445A-BE8E-F94F5188A52D}"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5218B0A4-4F04-4F57-87EA-4BDA1E49E0B0}">
      <dgm:prSet custT="1"/>
      <dgm:spPr/>
      <dgm:t>
        <a:bodyPr/>
        <a:lstStyle/>
        <a:p>
          <a:r>
            <a:rPr lang="en-US" sz="2400" b="1"/>
            <a:t>Simplicity:</a:t>
          </a:r>
          <a:endParaRPr lang="en-US" sz="2400"/>
        </a:p>
      </dgm:t>
    </dgm:pt>
    <dgm:pt modelId="{9D2532C4-B326-494D-B29D-A8ADD4508BAC}" type="parTrans" cxnId="{851B9918-4AE7-40EF-B9EA-E636224B8384}">
      <dgm:prSet/>
      <dgm:spPr/>
      <dgm:t>
        <a:bodyPr/>
        <a:lstStyle/>
        <a:p>
          <a:endParaRPr lang="en-US"/>
        </a:p>
      </dgm:t>
    </dgm:pt>
    <dgm:pt modelId="{27253AB6-CFBB-4A09-B7B7-A3E73EA2F5B0}" type="sibTrans" cxnId="{851B9918-4AE7-40EF-B9EA-E636224B8384}">
      <dgm:prSet/>
      <dgm:spPr/>
      <dgm:t>
        <a:bodyPr/>
        <a:lstStyle/>
        <a:p>
          <a:endParaRPr lang="en-US"/>
        </a:p>
      </dgm:t>
    </dgm:pt>
    <dgm:pt modelId="{76A1851E-B399-455C-925D-E85DB4AB6B4A}">
      <dgm:prSet custT="1"/>
      <dgm:spPr/>
      <dgm:t>
        <a:bodyPr/>
        <a:lstStyle/>
        <a:p>
          <a:r>
            <a:rPr lang="en-US" sz="2000"/>
            <a:t>We remain committed to the DTU-based model and the simplicity it offers customers who want a pre-configured solution.</a:t>
          </a:r>
        </a:p>
      </dgm:t>
    </dgm:pt>
    <dgm:pt modelId="{05435464-1C0D-4A19-AD3F-729165DF1854}" type="parTrans" cxnId="{4D12968C-D213-49D4-A0A4-57C3F05A24E3}">
      <dgm:prSet/>
      <dgm:spPr/>
      <dgm:t>
        <a:bodyPr/>
        <a:lstStyle/>
        <a:p>
          <a:endParaRPr lang="en-US"/>
        </a:p>
      </dgm:t>
    </dgm:pt>
    <dgm:pt modelId="{FD620128-09E8-459B-AFE5-CE7EC1957421}" type="sibTrans" cxnId="{4D12968C-D213-49D4-A0A4-57C3F05A24E3}">
      <dgm:prSet/>
      <dgm:spPr/>
      <dgm:t>
        <a:bodyPr/>
        <a:lstStyle/>
        <a:p>
          <a:endParaRPr lang="en-US"/>
        </a:p>
      </dgm:t>
    </dgm:pt>
    <dgm:pt modelId="{8D6E7D06-480C-4096-BF4C-31C0DA2578D9}">
      <dgm:prSet custT="1"/>
      <dgm:spPr/>
      <dgm:t>
        <a:bodyPr/>
        <a:lstStyle/>
        <a:p>
          <a:r>
            <a:rPr lang="en-US" sz="2400" b="1"/>
            <a:t>Flexibility</a:t>
          </a:r>
          <a:r>
            <a:rPr lang="en-US" sz="2400"/>
            <a:t>: </a:t>
          </a:r>
        </a:p>
      </dgm:t>
    </dgm:pt>
    <dgm:pt modelId="{38F9FEE7-040A-444F-A510-312752134F3E}" type="parTrans" cxnId="{A86D836B-4DF1-4724-95C3-193052CEC524}">
      <dgm:prSet/>
      <dgm:spPr/>
      <dgm:t>
        <a:bodyPr/>
        <a:lstStyle/>
        <a:p>
          <a:endParaRPr lang="en-US"/>
        </a:p>
      </dgm:t>
    </dgm:pt>
    <dgm:pt modelId="{536D790E-9053-44DC-AEB8-013451F4E94C}" type="sibTrans" cxnId="{A86D836B-4DF1-4724-95C3-193052CEC524}">
      <dgm:prSet/>
      <dgm:spPr/>
      <dgm:t>
        <a:bodyPr/>
        <a:lstStyle/>
        <a:p>
          <a:endParaRPr lang="en-US"/>
        </a:p>
      </dgm:t>
    </dgm:pt>
    <dgm:pt modelId="{F2CE8101-B941-4BC4-A55C-21514DF3A441}">
      <dgm:prSet custT="1"/>
      <dgm:spPr/>
      <dgm:t>
        <a:bodyPr/>
        <a:lstStyle/>
        <a:p>
          <a:r>
            <a:rPr lang="en-US" sz="2000"/>
            <a:t>The </a:t>
          </a:r>
          <a:r>
            <a:rPr lang="en-US" sz="2000" err="1"/>
            <a:t>vCore</a:t>
          </a:r>
          <a:r>
            <a:rPr lang="en-US" sz="2000"/>
            <a:t>-based model reflects our commitment to customer choice and to simplify the hybrid benefit for customers migrating from on-premises.</a:t>
          </a:r>
        </a:p>
      </dgm:t>
    </dgm:pt>
    <dgm:pt modelId="{2701381E-162B-427A-A1EB-0D9723AA6B3A}" type="parTrans" cxnId="{9BF4D9E3-069C-413C-85BD-ED1FB545BB71}">
      <dgm:prSet/>
      <dgm:spPr/>
      <dgm:t>
        <a:bodyPr/>
        <a:lstStyle/>
        <a:p>
          <a:endParaRPr lang="en-US"/>
        </a:p>
      </dgm:t>
    </dgm:pt>
    <dgm:pt modelId="{9640394F-3C77-4086-998D-ADD8EEB9371D}" type="sibTrans" cxnId="{9BF4D9E3-069C-413C-85BD-ED1FB545BB71}">
      <dgm:prSet/>
      <dgm:spPr/>
      <dgm:t>
        <a:bodyPr/>
        <a:lstStyle/>
        <a:p>
          <a:endParaRPr lang="en-US"/>
        </a:p>
      </dgm:t>
    </dgm:pt>
    <dgm:pt modelId="{1E1C66C1-66E7-4515-AF48-FFC4AB3AEEF8}">
      <dgm:prSet custT="1"/>
      <dgm:spPr/>
      <dgm:t>
        <a:bodyPr/>
        <a:lstStyle/>
        <a:p>
          <a:r>
            <a:rPr lang="en-US" sz="2400" b="1"/>
            <a:t>Customers pay for:</a:t>
          </a:r>
        </a:p>
      </dgm:t>
    </dgm:pt>
    <dgm:pt modelId="{28E2FE78-80FB-43FD-9BCE-F43E360FD2D9}" type="parTrans" cxnId="{AF58A1C3-5778-4B84-ADAB-F0E005AC7C34}">
      <dgm:prSet/>
      <dgm:spPr/>
      <dgm:t>
        <a:bodyPr/>
        <a:lstStyle/>
        <a:p>
          <a:endParaRPr lang="en-US"/>
        </a:p>
      </dgm:t>
    </dgm:pt>
    <dgm:pt modelId="{F2297966-64AE-4D58-BC97-F1C70902F667}" type="sibTrans" cxnId="{AF58A1C3-5778-4B84-ADAB-F0E005AC7C34}">
      <dgm:prSet/>
      <dgm:spPr/>
      <dgm:t>
        <a:bodyPr/>
        <a:lstStyle/>
        <a:p>
          <a:endParaRPr lang="en-US"/>
        </a:p>
      </dgm:t>
    </dgm:pt>
    <dgm:pt modelId="{2C4206CD-0E97-4984-B371-670416FEDC40}">
      <dgm:prSet custT="1"/>
      <dgm:spPr/>
      <dgm:t>
        <a:bodyPr/>
        <a:lstStyle/>
        <a:p>
          <a:r>
            <a:rPr lang="en-US" sz="2000"/>
            <a:t>Service tier + number of </a:t>
          </a:r>
          <a:r>
            <a:rPr lang="en-US" sz="2000" err="1"/>
            <a:t>vCores</a:t>
          </a:r>
          <a:r>
            <a:rPr lang="en-US" sz="2000"/>
            <a:t>.</a:t>
          </a:r>
        </a:p>
      </dgm:t>
    </dgm:pt>
    <dgm:pt modelId="{D81E21D2-4BE3-4688-8551-02D57847707E}" type="parTrans" cxnId="{261B4AE0-7EE8-4953-A9F1-2ED6950A3787}">
      <dgm:prSet/>
      <dgm:spPr/>
      <dgm:t>
        <a:bodyPr/>
        <a:lstStyle/>
        <a:p>
          <a:endParaRPr lang="en-US"/>
        </a:p>
      </dgm:t>
    </dgm:pt>
    <dgm:pt modelId="{A0E49BF5-307C-4982-8D33-BADB2C146786}" type="sibTrans" cxnId="{261B4AE0-7EE8-4953-A9F1-2ED6950A3787}">
      <dgm:prSet/>
      <dgm:spPr/>
      <dgm:t>
        <a:bodyPr/>
        <a:lstStyle/>
        <a:p>
          <a:endParaRPr lang="en-US"/>
        </a:p>
      </dgm:t>
    </dgm:pt>
    <dgm:pt modelId="{50A9319E-38CF-45A2-87B7-8CB01FA80127}">
      <dgm:prSet custT="1"/>
      <dgm:spPr/>
      <dgm:t>
        <a:bodyPr/>
        <a:lstStyle/>
        <a:p>
          <a:r>
            <a:rPr lang="en-US" sz="2000"/>
            <a:t>Type and amount of data storage. </a:t>
          </a:r>
        </a:p>
      </dgm:t>
    </dgm:pt>
    <dgm:pt modelId="{8EB87A88-4B1D-410E-8840-4D997A06AD63}" type="parTrans" cxnId="{7C3C7C85-5838-40FF-883B-2053F3FC9F40}">
      <dgm:prSet/>
      <dgm:spPr/>
      <dgm:t>
        <a:bodyPr/>
        <a:lstStyle/>
        <a:p>
          <a:endParaRPr lang="en-US"/>
        </a:p>
      </dgm:t>
    </dgm:pt>
    <dgm:pt modelId="{2C81686C-2B8A-433D-B763-D558582E390C}" type="sibTrans" cxnId="{7C3C7C85-5838-40FF-883B-2053F3FC9F40}">
      <dgm:prSet/>
      <dgm:spPr/>
      <dgm:t>
        <a:bodyPr/>
        <a:lstStyle/>
        <a:p>
          <a:endParaRPr lang="en-US"/>
        </a:p>
      </dgm:t>
    </dgm:pt>
    <dgm:pt modelId="{90507AE3-6C09-4F9E-B9E7-7DD3AF660E48}">
      <dgm:prSet custT="1"/>
      <dgm:spPr/>
      <dgm:t>
        <a:bodyPr/>
        <a:lstStyle/>
        <a:p>
          <a:r>
            <a:rPr lang="en-US" sz="2000"/>
            <a:t>Number of IO.</a:t>
          </a:r>
        </a:p>
      </dgm:t>
    </dgm:pt>
    <dgm:pt modelId="{67459725-EF56-40C5-B660-3522E9198E2C}" type="parTrans" cxnId="{143DF3A6-B8E1-496B-BFB0-241F277F1189}">
      <dgm:prSet/>
      <dgm:spPr/>
      <dgm:t>
        <a:bodyPr/>
        <a:lstStyle/>
        <a:p>
          <a:endParaRPr lang="en-US"/>
        </a:p>
      </dgm:t>
    </dgm:pt>
    <dgm:pt modelId="{21B284D2-9A3B-4B42-8E29-51519402BC64}" type="sibTrans" cxnId="{143DF3A6-B8E1-496B-BFB0-241F277F1189}">
      <dgm:prSet/>
      <dgm:spPr/>
      <dgm:t>
        <a:bodyPr/>
        <a:lstStyle/>
        <a:p>
          <a:endParaRPr lang="en-US"/>
        </a:p>
      </dgm:t>
    </dgm:pt>
    <dgm:pt modelId="{9A5203B1-7A0D-4266-BD48-8CB85058E2EE}">
      <dgm:prSet custT="1"/>
      <dgm:spPr/>
      <dgm:t>
        <a:bodyPr/>
        <a:lstStyle/>
        <a:p>
          <a:r>
            <a:rPr lang="en-US" sz="2000"/>
            <a:t>Backup storage (RA-GRS).</a:t>
          </a:r>
        </a:p>
      </dgm:t>
    </dgm:pt>
    <dgm:pt modelId="{EBE2E040-9925-4359-B074-BAD0A91C7371}" type="parTrans" cxnId="{161E6F48-9ABF-4790-845C-9949ACDAD574}">
      <dgm:prSet/>
      <dgm:spPr/>
      <dgm:t>
        <a:bodyPr/>
        <a:lstStyle/>
        <a:p>
          <a:endParaRPr lang="en-US"/>
        </a:p>
      </dgm:t>
    </dgm:pt>
    <dgm:pt modelId="{C0FDC546-2582-48E8-AAD3-2C4611644652}" type="sibTrans" cxnId="{161E6F48-9ABF-4790-845C-9949ACDAD574}">
      <dgm:prSet/>
      <dgm:spPr/>
      <dgm:t>
        <a:bodyPr/>
        <a:lstStyle/>
        <a:p>
          <a:endParaRPr lang="en-US"/>
        </a:p>
      </dgm:t>
    </dgm:pt>
    <dgm:pt modelId="{45FCD315-DA48-4AE4-B5B2-78DB0836A5ED}" type="pres">
      <dgm:prSet presAssocID="{D5F8CDD7-1288-445A-BE8E-F94F5188A52D}" presName="Name0" presStyleCnt="0">
        <dgm:presLayoutVars>
          <dgm:dir/>
          <dgm:animLvl val="lvl"/>
          <dgm:resizeHandles val="exact"/>
        </dgm:presLayoutVars>
      </dgm:prSet>
      <dgm:spPr/>
    </dgm:pt>
    <dgm:pt modelId="{7A9555C2-D59F-478C-AF39-C0F4A5CEF7C5}" type="pres">
      <dgm:prSet presAssocID="{5218B0A4-4F04-4F57-87EA-4BDA1E49E0B0}" presName="composite" presStyleCnt="0"/>
      <dgm:spPr/>
    </dgm:pt>
    <dgm:pt modelId="{C5396F59-7F72-4853-927A-23A9C9806795}" type="pres">
      <dgm:prSet presAssocID="{5218B0A4-4F04-4F57-87EA-4BDA1E49E0B0}" presName="parTx" presStyleLbl="alignNode1" presStyleIdx="0" presStyleCnt="3">
        <dgm:presLayoutVars>
          <dgm:chMax val="0"/>
          <dgm:chPref val="0"/>
          <dgm:bulletEnabled val="1"/>
        </dgm:presLayoutVars>
      </dgm:prSet>
      <dgm:spPr/>
    </dgm:pt>
    <dgm:pt modelId="{9E082DBC-96FC-4ABC-9C9B-7DDEC7C799C3}" type="pres">
      <dgm:prSet presAssocID="{5218B0A4-4F04-4F57-87EA-4BDA1E49E0B0}" presName="desTx" presStyleLbl="alignAccFollowNode1" presStyleIdx="0" presStyleCnt="3">
        <dgm:presLayoutVars>
          <dgm:bulletEnabled val="1"/>
        </dgm:presLayoutVars>
      </dgm:prSet>
      <dgm:spPr/>
    </dgm:pt>
    <dgm:pt modelId="{199B9D9E-8559-4D4C-98B6-E3DFDFD4E10A}" type="pres">
      <dgm:prSet presAssocID="{27253AB6-CFBB-4A09-B7B7-A3E73EA2F5B0}" presName="space" presStyleCnt="0"/>
      <dgm:spPr/>
    </dgm:pt>
    <dgm:pt modelId="{BDD32D2A-E4F5-4611-8E42-8C1FFA73DEBA}" type="pres">
      <dgm:prSet presAssocID="{8D6E7D06-480C-4096-BF4C-31C0DA2578D9}" presName="composite" presStyleCnt="0"/>
      <dgm:spPr/>
    </dgm:pt>
    <dgm:pt modelId="{50087DEB-93EE-4B7D-9B8D-61C9CB2202E5}" type="pres">
      <dgm:prSet presAssocID="{8D6E7D06-480C-4096-BF4C-31C0DA2578D9}" presName="parTx" presStyleLbl="alignNode1" presStyleIdx="1" presStyleCnt="3">
        <dgm:presLayoutVars>
          <dgm:chMax val="0"/>
          <dgm:chPref val="0"/>
          <dgm:bulletEnabled val="1"/>
        </dgm:presLayoutVars>
      </dgm:prSet>
      <dgm:spPr/>
    </dgm:pt>
    <dgm:pt modelId="{B4085005-FDE4-4878-83DD-D0E2AE820294}" type="pres">
      <dgm:prSet presAssocID="{8D6E7D06-480C-4096-BF4C-31C0DA2578D9}" presName="desTx" presStyleLbl="alignAccFollowNode1" presStyleIdx="1" presStyleCnt="3">
        <dgm:presLayoutVars>
          <dgm:bulletEnabled val="1"/>
        </dgm:presLayoutVars>
      </dgm:prSet>
      <dgm:spPr/>
    </dgm:pt>
    <dgm:pt modelId="{6926331F-CBC5-4E58-8054-F2C52D9FBC7F}" type="pres">
      <dgm:prSet presAssocID="{536D790E-9053-44DC-AEB8-013451F4E94C}" presName="space" presStyleCnt="0"/>
      <dgm:spPr/>
    </dgm:pt>
    <dgm:pt modelId="{56EA50CC-647D-472D-BA1E-4D0F8A8B5BDE}" type="pres">
      <dgm:prSet presAssocID="{1E1C66C1-66E7-4515-AF48-FFC4AB3AEEF8}" presName="composite" presStyleCnt="0"/>
      <dgm:spPr/>
    </dgm:pt>
    <dgm:pt modelId="{43BD2813-D392-4ED8-BC27-00BF39F6E164}" type="pres">
      <dgm:prSet presAssocID="{1E1C66C1-66E7-4515-AF48-FFC4AB3AEEF8}" presName="parTx" presStyleLbl="alignNode1" presStyleIdx="2" presStyleCnt="3">
        <dgm:presLayoutVars>
          <dgm:chMax val="0"/>
          <dgm:chPref val="0"/>
          <dgm:bulletEnabled val="1"/>
        </dgm:presLayoutVars>
      </dgm:prSet>
      <dgm:spPr/>
    </dgm:pt>
    <dgm:pt modelId="{D5CCE417-C5D2-4373-9711-96520A5E8DF1}" type="pres">
      <dgm:prSet presAssocID="{1E1C66C1-66E7-4515-AF48-FFC4AB3AEEF8}" presName="desTx" presStyleLbl="alignAccFollowNode1" presStyleIdx="2" presStyleCnt="3">
        <dgm:presLayoutVars>
          <dgm:bulletEnabled val="1"/>
        </dgm:presLayoutVars>
      </dgm:prSet>
      <dgm:spPr/>
    </dgm:pt>
  </dgm:ptLst>
  <dgm:cxnLst>
    <dgm:cxn modelId="{AE647001-B9EE-4AB7-AE5B-E6D6E0702297}" type="presOf" srcId="{5218B0A4-4F04-4F57-87EA-4BDA1E49E0B0}" destId="{C5396F59-7F72-4853-927A-23A9C9806795}" srcOrd="0" destOrd="0" presId="urn:microsoft.com/office/officeart/2005/8/layout/hList1"/>
    <dgm:cxn modelId="{851B9918-4AE7-40EF-B9EA-E636224B8384}" srcId="{D5F8CDD7-1288-445A-BE8E-F94F5188A52D}" destId="{5218B0A4-4F04-4F57-87EA-4BDA1E49E0B0}" srcOrd="0" destOrd="0" parTransId="{9D2532C4-B326-494D-B29D-A8ADD4508BAC}" sibTransId="{27253AB6-CFBB-4A09-B7B7-A3E73EA2F5B0}"/>
    <dgm:cxn modelId="{5C75901F-18CE-482D-8CB4-FC64E29871F4}" type="presOf" srcId="{90507AE3-6C09-4F9E-B9E7-7DD3AF660E48}" destId="{D5CCE417-C5D2-4373-9711-96520A5E8DF1}" srcOrd="0" destOrd="2" presId="urn:microsoft.com/office/officeart/2005/8/layout/hList1"/>
    <dgm:cxn modelId="{A68A9D24-0479-4F46-85FF-38AE703338AF}" type="presOf" srcId="{9A5203B1-7A0D-4266-BD48-8CB85058E2EE}" destId="{D5CCE417-C5D2-4373-9711-96520A5E8DF1}" srcOrd="0" destOrd="3" presId="urn:microsoft.com/office/officeart/2005/8/layout/hList1"/>
    <dgm:cxn modelId="{EC48E828-CA53-456B-AD4E-E821BF2DCD63}" type="presOf" srcId="{F2CE8101-B941-4BC4-A55C-21514DF3A441}" destId="{B4085005-FDE4-4878-83DD-D0E2AE820294}" srcOrd="0" destOrd="0" presId="urn:microsoft.com/office/officeart/2005/8/layout/hList1"/>
    <dgm:cxn modelId="{75145F64-25E9-40A5-A36B-D8301DCA80C8}" type="presOf" srcId="{8D6E7D06-480C-4096-BF4C-31C0DA2578D9}" destId="{50087DEB-93EE-4B7D-9B8D-61C9CB2202E5}" srcOrd="0" destOrd="0" presId="urn:microsoft.com/office/officeart/2005/8/layout/hList1"/>
    <dgm:cxn modelId="{161E6F48-9ABF-4790-845C-9949ACDAD574}" srcId="{1E1C66C1-66E7-4515-AF48-FFC4AB3AEEF8}" destId="{9A5203B1-7A0D-4266-BD48-8CB85058E2EE}" srcOrd="3" destOrd="0" parTransId="{EBE2E040-9925-4359-B074-BAD0A91C7371}" sibTransId="{C0FDC546-2582-48E8-AAD3-2C4611644652}"/>
    <dgm:cxn modelId="{A86D836B-4DF1-4724-95C3-193052CEC524}" srcId="{D5F8CDD7-1288-445A-BE8E-F94F5188A52D}" destId="{8D6E7D06-480C-4096-BF4C-31C0DA2578D9}" srcOrd="1" destOrd="0" parTransId="{38F9FEE7-040A-444F-A510-312752134F3E}" sibTransId="{536D790E-9053-44DC-AEB8-013451F4E94C}"/>
    <dgm:cxn modelId="{DA116E6E-75AA-43F6-94BA-8452472409A6}" type="presOf" srcId="{D5F8CDD7-1288-445A-BE8E-F94F5188A52D}" destId="{45FCD315-DA48-4AE4-B5B2-78DB0836A5ED}" srcOrd="0" destOrd="0" presId="urn:microsoft.com/office/officeart/2005/8/layout/hList1"/>
    <dgm:cxn modelId="{995F4D77-EF49-4F2B-BA91-BCD6C4782486}" type="presOf" srcId="{1E1C66C1-66E7-4515-AF48-FFC4AB3AEEF8}" destId="{43BD2813-D392-4ED8-BC27-00BF39F6E164}" srcOrd="0" destOrd="0" presId="urn:microsoft.com/office/officeart/2005/8/layout/hList1"/>
    <dgm:cxn modelId="{B8D27E82-7233-478D-AA67-14C65A8A2655}" type="presOf" srcId="{50A9319E-38CF-45A2-87B7-8CB01FA80127}" destId="{D5CCE417-C5D2-4373-9711-96520A5E8DF1}" srcOrd="0" destOrd="1" presId="urn:microsoft.com/office/officeart/2005/8/layout/hList1"/>
    <dgm:cxn modelId="{7C3C7C85-5838-40FF-883B-2053F3FC9F40}" srcId="{1E1C66C1-66E7-4515-AF48-FFC4AB3AEEF8}" destId="{50A9319E-38CF-45A2-87B7-8CB01FA80127}" srcOrd="1" destOrd="0" parTransId="{8EB87A88-4B1D-410E-8840-4D997A06AD63}" sibTransId="{2C81686C-2B8A-433D-B763-D558582E390C}"/>
    <dgm:cxn modelId="{4D12968C-D213-49D4-A0A4-57C3F05A24E3}" srcId="{5218B0A4-4F04-4F57-87EA-4BDA1E49E0B0}" destId="{76A1851E-B399-455C-925D-E85DB4AB6B4A}" srcOrd="0" destOrd="0" parTransId="{05435464-1C0D-4A19-AD3F-729165DF1854}" sibTransId="{FD620128-09E8-459B-AFE5-CE7EC1957421}"/>
    <dgm:cxn modelId="{937CD9A1-57DA-49B3-A763-C091C1B19131}" type="presOf" srcId="{76A1851E-B399-455C-925D-E85DB4AB6B4A}" destId="{9E082DBC-96FC-4ABC-9C9B-7DDEC7C799C3}" srcOrd="0" destOrd="0" presId="urn:microsoft.com/office/officeart/2005/8/layout/hList1"/>
    <dgm:cxn modelId="{143DF3A6-B8E1-496B-BFB0-241F277F1189}" srcId="{1E1C66C1-66E7-4515-AF48-FFC4AB3AEEF8}" destId="{90507AE3-6C09-4F9E-B9E7-7DD3AF660E48}" srcOrd="2" destOrd="0" parTransId="{67459725-EF56-40C5-B660-3522E9198E2C}" sibTransId="{21B284D2-9A3B-4B42-8E29-51519402BC64}"/>
    <dgm:cxn modelId="{AF58A1C3-5778-4B84-ADAB-F0E005AC7C34}" srcId="{D5F8CDD7-1288-445A-BE8E-F94F5188A52D}" destId="{1E1C66C1-66E7-4515-AF48-FFC4AB3AEEF8}" srcOrd="2" destOrd="0" parTransId="{28E2FE78-80FB-43FD-9BCE-F43E360FD2D9}" sibTransId="{F2297966-64AE-4D58-BC97-F1C70902F667}"/>
    <dgm:cxn modelId="{261B4AE0-7EE8-4953-A9F1-2ED6950A3787}" srcId="{1E1C66C1-66E7-4515-AF48-FFC4AB3AEEF8}" destId="{2C4206CD-0E97-4984-B371-670416FEDC40}" srcOrd="0" destOrd="0" parTransId="{D81E21D2-4BE3-4688-8551-02D57847707E}" sibTransId="{A0E49BF5-307C-4982-8D33-BADB2C146786}"/>
    <dgm:cxn modelId="{9BF4D9E3-069C-413C-85BD-ED1FB545BB71}" srcId="{8D6E7D06-480C-4096-BF4C-31C0DA2578D9}" destId="{F2CE8101-B941-4BC4-A55C-21514DF3A441}" srcOrd="0" destOrd="0" parTransId="{2701381E-162B-427A-A1EB-0D9723AA6B3A}" sibTransId="{9640394F-3C77-4086-998D-ADD8EEB9371D}"/>
    <dgm:cxn modelId="{F7F82BEE-61E5-4E0C-9CDB-1B8EBC45E759}" type="presOf" srcId="{2C4206CD-0E97-4984-B371-670416FEDC40}" destId="{D5CCE417-C5D2-4373-9711-96520A5E8DF1}" srcOrd="0" destOrd="0" presId="urn:microsoft.com/office/officeart/2005/8/layout/hList1"/>
    <dgm:cxn modelId="{BB4F6A37-4D73-40F3-99AE-080ADE774958}" type="presParOf" srcId="{45FCD315-DA48-4AE4-B5B2-78DB0836A5ED}" destId="{7A9555C2-D59F-478C-AF39-C0F4A5CEF7C5}" srcOrd="0" destOrd="0" presId="urn:microsoft.com/office/officeart/2005/8/layout/hList1"/>
    <dgm:cxn modelId="{E55C6F64-FC7C-4C48-BA64-A30AB794E48C}" type="presParOf" srcId="{7A9555C2-D59F-478C-AF39-C0F4A5CEF7C5}" destId="{C5396F59-7F72-4853-927A-23A9C9806795}" srcOrd="0" destOrd="0" presId="urn:microsoft.com/office/officeart/2005/8/layout/hList1"/>
    <dgm:cxn modelId="{F515B4D9-3C69-4E98-A45E-7B8D18333FB4}" type="presParOf" srcId="{7A9555C2-D59F-478C-AF39-C0F4A5CEF7C5}" destId="{9E082DBC-96FC-4ABC-9C9B-7DDEC7C799C3}" srcOrd="1" destOrd="0" presId="urn:microsoft.com/office/officeart/2005/8/layout/hList1"/>
    <dgm:cxn modelId="{A57BF91D-0332-452D-B57E-9818CB7493AF}" type="presParOf" srcId="{45FCD315-DA48-4AE4-B5B2-78DB0836A5ED}" destId="{199B9D9E-8559-4D4C-98B6-E3DFDFD4E10A}" srcOrd="1" destOrd="0" presId="urn:microsoft.com/office/officeart/2005/8/layout/hList1"/>
    <dgm:cxn modelId="{706E3CB1-5269-4268-87B6-B4A11911DD58}" type="presParOf" srcId="{45FCD315-DA48-4AE4-B5B2-78DB0836A5ED}" destId="{BDD32D2A-E4F5-4611-8E42-8C1FFA73DEBA}" srcOrd="2" destOrd="0" presId="urn:microsoft.com/office/officeart/2005/8/layout/hList1"/>
    <dgm:cxn modelId="{95C5C2D5-8637-44BB-B273-303C66F20F38}" type="presParOf" srcId="{BDD32D2A-E4F5-4611-8E42-8C1FFA73DEBA}" destId="{50087DEB-93EE-4B7D-9B8D-61C9CB2202E5}" srcOrd="0" destOrd="0" presId="urn:microsoft.com/office/officeart/2005/8/layout/hList1"/>
    <dgm:cxn modelId="{7667DFF2-60D4-4A6F-BB3C-3B12D0E4BE03}" type="presParOf" srcId="{BDD32D2A-E4F5-4611-8E42-8C1FFA73DEBA}" destId="{B4085005-FDE4-4878-83DD-D0E2AE820294}" srcOrd="1" destOrd="0" presId="urn:microsoft.com/office/officeart/2005/8/layout/hList1"/>
    <dgm:cxn modelId="{42C204C1-1CB6-4B38-852B-4351129C739E}" type="presParOf" srcId="{45FCD315-DA48-4AE4-B5B2-78DB0836A5ED}" destId="{6926331F-CBC5-4E58-8054-F2C52D9FBC7F}" srcOrd="3" destOrd="0" presId="urn:microsoft.com/office/officeart/2005/8/layout/hList1"/>
    <dgm:cxn modelId="{6AEA3A79-F22B-403A-B8F5-2435ADBECFD5}" type="presParOf" srcId="{45FCD315-DA48-4AE4-B5B2-78DB0836A5ED}" destId="{56EA50CC-647D-472D-BA1E-4D0F8A8B5BDE}" srcOrd="4" destOrd="0" presId="urn:microsoft.com/office/officeart/2005/8/layout/hList1"/>
    <dgm:cxn modelId="{DB52267F-6662-48F4-BDD1-147BDECA64B9}" type="presParOf" srcId="{56EA50CC-647D-472D-BA1E-4D0F8A8B5BDE}" destId="{43BD2813-D392-4ED8-BC27-00BF39F6E164}" srcOrd="0" destOrd="0" presId="urn:microsoft.com/office/officeart/2005/8/layout/hList1"/>
    <dgm:cxn modelId="{5811B170-DEAB-40EE-B2ED-7E3A1C697B5A}" type="presParOf" srcId="{56EA50CC-647D-472D-BA1E-4D0F8A8B5BDE}" destId="{D5CCE417-C5D2-4373-9711-96520A5E8DF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C28BBC3-3AE4-4136-ADC0-24713603072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4599D95-4760-4D02-9FA9-7A538D657EEB}">
      <dgm:prSet phldrT="[Text]" custT="1"/>
      <dgm:spPr>
        <a:xfrm>
          <a:off x="0" y="0"/>
          <a:ext cx="5192347" cy="1099038"/>
        </a:xfrm>
        <a:prstGeom prst="roundRect">
          <a:avLst/>
        </a:prstGeom>
      </dgm:spPr>
      <dgm:t>
        <a:bodyPr/>
        <a:lstStyle/>
        <a:p>
          <a:r>
            <a:rPr lang="en-US" sz="1600" dirty="0"/>
            <a:t>Compute resources scale dynamically up or down based on workload requirements.</a:t>
          </a:r>
        </a:p>
      </dgm:t>
    </dgm:pt>
    <dgm:pt modelId="{6492F31E-2C4E-4E7A-BAEF-54AA1771B9C5}" type="parTrans" cxnId="{93E1B076-0A38-4561-8AC9-C6FBDCC7A2E8}">
      <dgm:prSet/>
      <dgm:spPr/>
      <dgm:t>
        <a:bodyPr/>
        <a:lstStyle/>
        <a:p>
          <a:endParaRPr lang="en-US" sz="2000"/>
        </a:p>
      </dgm:t>
    </dgm:pt>
    <dgm:pt modelId="{9D5A6316-9C64-491C-8B9D-D5123069EC80}" type="sibTrans" cxnId="{93E1B076-0A38-4561-8AC9-C6FBDCC7A2E8}">
      <dgm:prSet/>
      <dgm:spPr/>
      <dgm:t>
        <a:bodyPr/>
        <a:lstStyle/>
        <a:p>
          <a:endParaRPr lang="en-US" sz="2000"/>
        </a:p>
      </dgm:t>
    </dgm:pt>
    <dgm:pt modelId="{2FC5143D-91FD-4593-AA41-13EDDDBD8C8F}">
      <dgm:prSet custT="1"/>
      <dgm:spPr>
        <a:xfrm>
          <a:off x="0" y="1114853"/>
          <a:ext cx="5192347" cy="1099038"/>
        </a:xfrm>
        <a:prstGeom prst="roundRect">
          <a:avLst/>
        </a:prstGeom>
      </dgm:spPr>
      <dgm:t>
        <a:bodyPr/>
        <a:lstStyle/>
        <a:p>
          <a:r>
            <a:rPr lang="en-US" sz="1600"/>
            <a:t>Configure minimum and maximum vCores to define the range of available compute capacity. </a:t>
          </a:r>
        </a:p>
      </dgm:t>
    </dgm:pt>
    <dgm:pt modelId="{9177C6F6-38D7-40DD-A5A0-B038EC00FD70}" type="parTrans" cxnId="{532BC446-4C2F-4393-9861-683F1E06AB81}">
      <dgm:prSet/>
      <dgm:spPr/>
      <dgm:t>
        <a:bodyPr/>
        <a:lstStyle/>
        <a:p>
          <a:endParaRPr lang="en-US" sz="2000"/>
        </a:p>
      </dgm:t>
    </dgm:pt>
    <dgm:pt modelId="{0017EA70-ABB0-4B91-BCF6-23266506F1E7}" type="sibTrans" cxnId="{532BC446-4C2F-4393-9861-683F1E06AB81}">
      <dgm:prSet/>
      <dgm:spPr/>
      <dgm:t>
        <a:bodyPr/>
        <a:lstStyle/>
        <a:p>
          <a:endParaRPr lang="en-US" sz="2000"/>
        </a:p>
      </dgm:t>
    </dgm:pt>
    <dgm:pt modelId="{3B901AB6-291F-41AC-BE00-39C73890028B}">
      <dgm:prSet custT="1"/>
      <dgm:spPr>
        <a:xfrm>
          <a:off x="0" y="2226759"/>
          <a:ext cx="5192347" cy="1099038"/>
        </a:xfrm>
        <a:prstGeom prst="roundRect">
          <a:avLst/>
        </a:prstGeom>
      </dgm:spPr>
      <dgm:t>
        <a:bodyPr/>
        <a:lstStyle/>
        <a:p>
          <a:r>
            <a:rPr lang="en-US" sz="1600" dirty="0"/>
            <a:t>Use auto-pause delay to define the time period the dataset must be inactive before pausing.</a:t>
          </a:r>
        </a:p>
      </dgm:t>
    </dgm:pt>
    <dgm:pt modelId="{B866DFA8-2E2F-4041-BEBF-E4A0C5ED7887}" type="parTrans" cxnId="{5BB2F963-0CAF-43DE-9895-A75ECD294B96}">
      <dgm:prSet/>
      <dgm:spPr/>
      <dgm:t>
        <a:bodyPr/>
        <a:lstStyle/>
        <a:p>
          <a:endParaRPr lang="en-US" sz="2000"/>
        </a:p>
      </dgm:t>
    </dgm:pt>
    <dgm:pt modelId="{82FC9B74-128C-4FAA-BAA7-B508B582455C}" type="sibTrans" cxnId="{5BB2F963-0CAF-43DE-9895-A75ECD294B96}">
      <dgm:prSet/>
      <dgm:spPr/>
      <dgm:t>
        <a:bodyPr/>
        <a:lstStyle/>
        <a:p>
          <a:endParaRPr lang="en-US" sz="2000"/>
        </a:p>
      </dgm:t>
    </dgm:pt>
    <dgm:pt modelId="{5BE9F3FC-A89A-46DD-82C7-815F9B6EEA9B}">
      <dgm:prSet custT="1"/>
      <dgm:spPr>
        <a:xfrm>
          <a:off x="0" y="3338665"/>
          <a:ext cx="5192347" cy="1099038"/>
        </a:xfrm>
        <a:prstGeom prst="roundRect">
          <a:avLst/>
        </a:prstGeom>
      </dgm:spPr>
      <dgm:t>
        <a:bodyPr/>
        <a:lstStyle/>
        <a:p>
          <a:r>
            <a:rPr lang="en-US" sz="1600" dirty="0"/>
            <a:t>Pay for compute based on the </a:t>
          </a:r>
          <a:r>
            <a:rPr lang="en-US" sz="1600" dirty="0" err="1"/>
            <a:t>vCores</a:t>
          </a:r>
          <a:r>
            <a:rPr lang="en-US" sz="1600" dirty="0"/>
            <a:t> and memory used per second, with lowest billing based on configured vCore minimum. </a:t>
          </a:r>
        </a:p>
      </dgm:t>
    </dgm:pt>
    <dgm:pt modelId="{4CA90819-650B-4445-BB4E-62FAE8903A08}" type="parTrans" cxnId="{59608E51-E2D7-44CD-AAAA-66274EA2E09D}">
      <dgm:prSet/>
      <dgm:spPr/>
      <dgm:t>
        <a:bodyPr/>
        <a:lstStyle/>
        <a:p>
          <a:endParaRPr lang="en-US" sz="2000"/>
        </a:p>
      </dgm:t>
    </dgm:pt>
    <dgm:pt modelId="{0CBEB521-D34A-433D-8ABC-CE2EEE59467E}" type="sibTrans" cxnId="{59608E51-E2D7-44CD-AAAA-66274EA2E09D}">
      <dgm:prSet/>
      <dgm:spPr/>
      <dgm:t>
        <a:bodyPr/>
        <a:lstStyle/>
        <a:p>
          <a:endParaRPr lang="en-US" sz="2000"/>
        </a:p>
      </dgm:t>
    </dgm:pt>
    <dgm:pt modelId="{35745E29-9366-4A14-B3E2-CB74D2B209CC}">
      <dgm:prSet custT="1"/>
      <dgm:spPr>
        <a:xfrm>
          <a:off x="0" y="4450571"/>
          <a:ext cx="5192347" cy="1099038"/>
        </a:xfrm>
        <a:prstGeom prst="roundRect">
          <a:avLst/>
        </a:prstGeom>
      </dgm:spPr>
      <dgm:t>
        <a:bodyPr/>
        <a:lstStyle/>
        <a:p>
          <a:r>
            <a:rPr lang="en-US" sz="1600" dirty="0"/>
            <a:t>When the database is paused, the compute cost is zero and only storage costs are incurred.</a:t>
          </a:r>
        </a:p>
      </dgm:t>
    </dgm:pt>
    <dgm:pt modelId="{868D714B-6A95-4322-A175-B07BC53DE56E}" type="parTrans" cxnId="{4AB83D09-7308-4A3A-B353-261150B1F4EC}">
      <dgm:prSet/>
      <dgm:spPr/>
      <dgm:t>
        <a:bodyPr/>
        <a:lstStyle/>
        <a:p>
          <a:endParaRPr lang="en-US" sz="2000"/>
        </a:p>
      </dgm:t>
    </dgm:pt>
    <dgm:pt modelId="{A3373E84-05CD-4750-B2D6-9C085CCD768F}" type="sibTrans" cxnId="{4AB83D09-7308-4A3A-B353-261150B1F4EC}">
      <dgm:prSet/>
      <dgm:spPr/>
      <dgm:t>
        <a:bodyPr/>
        <a:lstStyle/>
        <a:p>
          <a:endParaRPr lang="en-US" sz="2000"/>
        </a:p>
      </dgm:t>
    </dgm:pt>
    <dgm:pt modelId="{99F1112C-8BAA-4DA6-8517-9AA76BAC3D2B}">
      <dgm:prSet custT="1"/>
      <dgm:spPr>
        <a:xfrm>
          <a:off x="0" y="2226759"/>
          <a:ext cx="5192347" cy="1099038"/>
        </a:xfrm>
      </dgm:spPr>
      <dgm:t>
        <a:bodyPr/>
        <a:lstStyle/>
        <a:p>
          <a:r>
            <a:rPr lang="en-US" sz="1600" dirty="0"/>
            <a:t> The database is automatically resumed when the next login or other activity occurs. </a:t>
          </a:r>
        </a:p>
      </dgm:t>
    </dgm:pt>
    <dgm:pt modelId="{9585E63E-1EB1-4DC2-9316-864FC2875486}" type="parTrans" cxnId="{6FAE22E7-F97D-48D0-B878-A323A4656A55}">
      <dgm:prSet/>
      <dgm:spPr/>
      <dgm:t>
        <a:bodyPr/>
        <a:lstStyle/>
        <a:p>
          <a:endParaRPr lang="en-US"/>
        </a:p>
      </dgm:t>
    </dgm:pt>
    <dgm:pt modelId="{6B2944FF-5232-4F0E-A586-5F5F557F1A79}" type="sibTrans" cxnId="{6FAE22E7-F97D-48D0-B878-A323A4656A55}">
      <dgm:prSet/>
      <dgm:spPr/>
      <dgm:t>
        <a:bodyPr/>
        <a:lstStyle/>
        <a:p>
          <a:endParaRPr lang="en-US"/>
        </a:p>
      </dgm:t>
    </dgm:pt>
    <dgm:pt modelId="{85273815-164C-4393-A1F8-BD7CEC28D08E}" type="pres">
      <dgm:prSet presAssocID="{FC28BBC3-3AE4-4136-ADC0-247136030720}" presName="linear" presStyleCnt="0">
        <dgm:presLayoutVars>
          <dgm:animLvl val="lvl"/>
          <dgm:resizeHandles val="exact"/>
        </dgm:presLayoutVars>
      </dgm:prSet>
      <dgm:spPr/>
    </dgm:pt>
    <dgm:pt modelId="{29F8D596-19F9-4238-89A9-09C64E5F8E8D}" type="pres">
      <dgm:prSet presAssocID="{F4599D95-4760-4D02-9FA9-7A538D657EEB}" presName="parentText" presStyleLbl="node1" presStyleIdx="0" presStyleCnt="6">
        <dgm:presLayoutVars>
          <dgm:chMax val="0"/>
          <dgm:bulletEnabled val="1"/>
        </dgm:presLayoutVars>
      </dgm:prSet>
      <dgm:spPr/>
    </dgm:pt>
    <dgm:pt modelId="{466C11B8-123B-4BB9-B456-2B21EB165906}" type="pres">
      <dgm:prSet presAssocID="{9D5A6316-9C64-491C-8B9D-D5123069EC80}" presName="spacer" presStyleCnt="0"/>
      <dgm:spPr/>
    </dgm:pt>
    <dgm:pt modelId="{2BD41882-F673-4240-8A7B-4406E84B2659}" type="pres">
      <dgm:prSet presAssocID="{2FC5143D-91FD-4593-AA41-13EDDDBD8C8F}" presName="parentText" presStyleLbl="node1" presStyleIdx="1" presStyleCnt="6">
        <dgm:presLayoutVars>
          <dgm:chMax val="0"/>
          <dgm:bulletEnabled val="1"/>
        </dgm:presLayoutVars>
      </dgm:prSet>
      <dgm:spPr/>
    </dgm:pt>
    <dgm:pt modelId="{BC8661D1-309F-4EB8-A7C3-D23751D5DE49}" type="pres">
      <dgm:prSet presAssocID="{0017EA70-ABB0-4B91-BCF6-23266506F1E7}" presName="spacer" presStyleCnt="0"/>
      <dgm:spPr/>
    </dgm:pt>
    <dgm:pt modelId="{9C8AC09C-F5B9-4310-99E1-D79A24432A41}" type="pres">
      <dgm:prSet presAssocID="{3B901AB6-291F-41AC-BE00-39C73890028B}" presName="parentText" presStyleLbl="node1" presStyleIdx="2" presStyleCnt="6">
        <dgm:presLayoutVars>
          <dgm:chMax val="0"/>
          <dgm:bulletEnabled val="1"/>
        </dgm:presLayoutVars>
      </dgm:prSet>
      <dgm:spPr/>
    </dgm:pt>
    <dgm:pt modelId="{CFC26399-EF09-4F5A-97C7-B1B3236880B4}" type="pres">
      <dgm:prSet presAssocID="{82FC9B74-128C-4FAA-BAA7-B508B582455C}" presName="spacer" presStyleCnt="0"/>
      <dgm:spPr/>
    </dgm:pt>
    <dgm:pt modelId="{69F45228-FC0A-4C87-83A1-A4146235C4F4}" type="pres">
      <dgm:prSet presAssocID="{99F1112C-8BAA-4DA6-8517-9AA76BAC3D2B}" presName="parentText" presStyleLbl="node1" presStyleIdx="3" presStyleCnt="6">
        <dgm:presLayoutVars>
          <dgm:chMax val="0"/>
          <dgm:bulletEnabled val="1"/>
        </dgm:presLayoutVars>
      </dgm:prSet>
      <dgm:spPr>
        <a:prstGeom prst="roundRect">
          <a:avLst/>
        </a:prstGeom>
      </dgm:spPr>
    </dgm:pt>
    <dgm:pt modelId="{4A3E507C-B384-4894-B2D4-64774A6CD108}" type="pres">
      <dgm:prSet presAssocID="{6B2944FF-5232-4F0E-A586-5F5F557F1A79}" presName="spacer" presStyleCnt="0"/>
      <dgm:spPr/>
    </dgm:pt>
    <dgm:pt modelId="{B4981705-4E16-4609-B654-ABD23932F843}" type="pres">
      <dgm:prSet presAssocID="{5BE9F3FC-A89A-46DD-82C7-815F9B6EEA9B}" presName="parentText" presStyleLbl="node1" presStyleIdx="4" presStyleCnt="6">
        <dgm:presLayoutVars>
          <dgm:chMax val="0"/>
          <dgm:bulletEnabled val="1"/>
        </dgm:presLayoutVars>
      </dgm:prSet>
      <dgm:spPr/>
    </dgm:pt>
    <dgm:pt modelId="{FABD2463-7B70-4BBE-9663-6E906991B685}" type="pres">
      <dgm:prSet presAssocID="{0CBEB521-D34A-433D-8ABC-CE2EEE59467E}" presName="spacer" presStyleCnt="0"/>
      <dgm:spPr/>
    </dgm:pt>
    <dgm:pt modelId="{61DD9455-966A-484B-9E4E-46B56B0A037F}" type="pres">
      <dgm:prSet presAssocID="{35745E29-9366-4A14-B3E2-CB74D2B209CC}" presName="parentText" presStyleLbl="node1" presStyleIdx="5" presStyleCnt="6">
        <dgm:presLayoutVars>
          <dgm:chMax val="0"/>
          <dgm:bulletEnabled val="1"/>
        </dgm:presLayoutVars>
      </dgm:prSet>
      <dgm:spPr/>
    </dgm:pt>
  </dgm:ptLst>
  <dgm:cxnLst>
    <dgm:cxn modelId="{4AB83D09-7308-4A3A-B353-261150B1F4EC}" srcId="{FC28BBC3-3AE4-4136-ADC0-247136030720}" destId="{35745E29-9366-4A14-B3E2-CB74D2B209CC}" srcOrd="5" destOrd="0" parTransId="{868D714B-6A95-4322-A175-B07BC53DE56E}" sibTransId="{A3373E84-05CD-4750-B2D6-9C085CCD768F}"/>
    <dgm:cxn modelId="{DF34D513-9A4E-460F-AFCE-35EC325755EE}" type="presOf" srcId="{FC28BBC3-3AE4-4136-ADC0-247136030720}" destId="{85273815-164C-4393-A1F8-BD7CEC28D08E}" srcOrd="0" destOrd="0" presId="urn:microsoft.com/office/officeart/2005/8/layout/vList2"/>
    <dgm:cxn modelId="{FB1FB85F-5AD0-4D9E-9B85-8F785120D562}" type="presOf" srcId="{5BE9F3FC-A89A-46DD-82C7-815F9B6EEA9B}" destId="{B4981705-4E16-4609-B654-ABD23932F843}" srcOrd="0" destOrd="0" presId="urn:microsoft.com/office/officeart/2005/8/layout/vList2"/>
    <dgm:cxn modelId="{5BB2F963-0CAF-43DE-9895-A75ECD294B96}" srcId="{FC28BBC3-3AE4-4136-ADC0-247136030720}" destId="{3B901AB6-291F-41AC-BE00-39C73890028B}" srcOrd="2" destOrd="0" parTransId="{B866DFA8-2E2F-4041-BEBF-E4A0C5ED7887}" sibTransId="{82FC9B74-128C-4FAA-BAA7-B508B582455C}"/>
    <dgm:cxn modelId="{532BC446-4C2F-4393-9861-683F1E06AB81}" srcId="{FC28BBC3-3AE4-4136-ADC0-247136030720}" destId="{2FC5143D-91FD-4593-AA41-13EDDDBD8C8F}" srcOrd="1" destOrd="0" parTransId="{9177C6F6-38D7-40DD-A5A0-B038EC00FD70}" sibTransId="{0017EA70-ABB0-4B91-BCF6-23266506F1E7}"/>
    <dgm:cxn modelId="{35D4934F-2F08-4307-9089-30FA3D92A3F0}" type="presOf" srcId="{99F1112C-8BAA-4DA6-8517-9AA76BAC3D2B}" destId="{69F45228-FC0A-4C87-83A1-A4146235C4F4}" srcOrd="0" destOrd="0" presId="urn:microsoft.com/office/officeart/2005/8/layout/vList2"/>
    <dgm:cxn modelId="{AB51E570-CDB0-4E25-B1F7-F3F14AA1C2D8}" type="presOf" srcId="{F4599D95-4760-4D02-9FA9-7A538D657EEB}" destId="{29F8D596-19F9-4238-89A9-09C64E5F8E8D}" srcOrd="0" destOrd="0" presId="urn:microsoft.com/office/officeart/2005/8/layout/vList2"/>
    <dgm:cxn modelId="{59608E51-E2D7-44CD-AAAA-66274EA2E09D}" srcId="{FC28BBC3-3AE4-4136-ADC0-247136030720}" destId="{5BE9F3FC-A89A-46DD-82C7-815F9B6EEA9B}" srcOrd="4" destOrd="0" parTransId="{4CA90819-650B-4445-BB4E-62FAE8903A08}" sibTransId="{0CBEB521-D34A-433D-8ABC-CE2EEE59467E}"/>
    <dgm:cxn modelId="{93E1B076-0A38-4561-8AC9-C6FBDCC7A2E8}" srcId="{FC28BBC3-3AE4-4136-ADC0-247136030720}" destId="{F4599D95-4760-4D02-9FA9-7A538D657EEB}" srcOrd="0" destOrd="0" parTransId="{6492F31E-2C4E-4E7A-BAEF-54AA1771B9C5}" sibTransId="{9D5A6316-9C64-491C-8B9D-D5123069EC80}"/>
    <dgm:cxn modelId="{58D57086-D1BD-43B0-AACE-1CFB90DEF62E}" type="presOf" srcId="{35745E29-9366-4A14-B3E2-CB74D2B209CC}" destId="{61DD9455-966A-484B-9E4E-46B56B0A037F}" srcOrd="0" destOrd="0" presId="urn:microsoft.com/office/officeart/2005/8/layout/vList2"/>
    <dgm:cxn modelId="{4E1CD1BE-D93A-4A51-9FB7-96CE33498A20}" type="presOf" srcId="{2FC5143D-91FD-4593-AA41-13EDDDBD8C8F}" destId="{2BD41882-F673-4240-8A7B-4406E84B2659}" srcOrd="0" destOrd="0" presId="urn:microsoft.com/office/officeart/2005/8/layout/vList2"/>
    <dgm:cxn modelId="{8A849ECC-BD8C-42F5-B001-2EADAFBA34F8}" type="presOf" srcId="{3B901AB6-291F-41AC-BE00-39C73890028B}" destId="{9C8AC09C-F5B9-4310-99E1-D79A24432A41}" srcOrd="0" destOrd="0" presId="urn:microsoft.com/office/officeart/2005/8/layout/vList2"/>
    <dgm:cxn modelId="{6FAE22E7-F97D-48D0-B878-A323A4656A55}" srcId="{FC28BBC3-3AE4-4136-ADC0-247136030720}" destId="{99F1112C-8BAA-4DA6-8517-9AA76BAC3D2B}" srcOrd="3" destOrd="0" parTransId="{9585E63E-1EB1-4DC2-9316-864FC2875486}" sibTransId="{6B2944FF-5232-4F0E-A586-5F5F557F1A79}"/>
    <dgm:cxn modelId="{88E42D96-AA7E-45FD-9CB8-1B5EC1B3C3C5}" type="presParOf" srcId="{85273815-164C-4393-A1F8-BD7CEC28D08E}" destId="{29F8D596-19F9-4238-89A9-09C64E5F8E8D}" srcOrd="0" destOrd="0" presId="urn:microsoft.com/office/officeart/2005/8/layout/vList2"/>
    <dgm:cxn modelId="{1B482CBB-CC1F-4345-967B-19C5971544F8}" type="presParOf" srcId="{85273815-164C-4393-A1F8-BD7CEC28D08E}" destId="{466C11B8-123B-4BB9-B456-2B21EB165906}" srcOrd="1" destOrd="0" presId="urn:microsoft.com/office/officeart/2005/8/layout/vList2"/>
    <dgm:cxn modelId="{F3BF764A-D8D7-4D7D-9E14-3D162A9C3DFB}" type="presParOf" srcId="{85273815-164C-4393-A1F8-BD7CEC28D08E}" destId="{2BD41882-F673-4240-8A7B-4406E84B2659}" srcOrd="2" destOrd="0" presId="urn:microsoft.com/office/officeart/2005/8/layout/vList2"/>
    <dgm:cxn modelId="{092D6A03-CB55-4AE4-86D0-45BD642D4BAD}" type="presParOf" srcId="{85273815-164C-4393-A1F8-BD7CEC28D08E}" destId="{BC8661D1-309F-4EB8-A7C3-D23751D5DE49}" srcOrd="3" destOrd="0" presId="urn:microsoft.com/office/officeart/2005/8/layout/vList2"/>
    <dgm:cxn modelId="{34610A8E-184B-4059-B96A-1518D3ABB0E7}" type="presParOf" srcId="{85273815-164C-4393-A1F8-BD7CEC28D08E}" destId="{9C8AC09C-F5B9-4310-99E1-D79A24432A41}" srcOrd="4" destOrd="0" presId="urn:microsoft.com/office/officeart/2005/8/layout/vList2"/>
    <dgm:cxn modelId="{CD5812D2-1381-44EF-B6D8-68AAE3D5D020}" type="presParOf" srcId="{85273815-164C-4393-A1F8-BD7CEC28D08E}" destId="{CFC26399-EF09-4F5A-97C7-B1B3236880B4}" srcOrd="5" destOrd="0" presId="urn:microsoft.com/office/officeart/2005/8/layout/vList2"/>
    <dgm:cxn modelId="{45EFDA41-790C-4922-8C1F-17B3D62CA97A}" type="presParOf" srcId="{85273815-164C-4393-A1F8-BD7CEC28D08E}" destId="{69F45228-FC0A-4C87-83A1-A4146235C4F4}" srcOrd="6" destOrd="0" presId="urn:microsoft.com/office/officeart/2005/8/layout/vList2"/>
    <dgm:cxn modelId="{E75E135D-FED6-4590-9AA1-DE6E9529DC52}" type="presParOf" srcId="{85273815-164C-4393-A1F8-BD7CEC28D08E}" destId="{4A3E507C-B384-4894-B2D4-64774A6CD108}" srcOrd="7" destOrd="0" presId="urn:microsoft.com/office/officeart/2005/8/layout/vList2"/>
    <dgm:cxn modelId="{63E6FF9F-6755-44CE-9B53-95771C05DEFF}" type="presParOf" srcId="{85273815-164C-4393-A1F8-BD7CEC28D08E}" destId="{B4981705-4E16-4609-B654-ABD23932F843}" srcOrd="8" destOrd="0" presId="urn:microsoft.com/office/officeart/2005/8/layout/vList2"/>
    <dgm:cxn modelId="{DD86636A-06C9-4557-B1C2-1621E53BE499}" type="presParOf" srcId="{85273815-164C-4393-A1F8-BD7CEC28D08E}" destId="{FABD2463-7B70-4BBE-9663-6E906991B685}" srcOrd="9" destOrd="0" presId="urn:microsoft.com/office/officeart/2005/8/layout/vList2"/>
    <dgm:cxn modelId="{1D8E488C-B8D8-466E-9F47-61D28765E6D6}" type="presParOf" srcId="{85273815-164C-4393-A1F8-BD7CEC28D08E}" destId="{61DD9455-966A-484B-9E4E-46B56B0A037F}"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33C4DDE-D284-4C9B-8A77-87E675199A09}"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21C1AEF7-80E2-4CA0-9198-DB45A27A20AB}">
      <dgm:prSet/>
      <dgm:spPr/>
      <dgm:t>
        <a:bodyPr/>
        <a:lstStyle/>
        <a:p>
          <a:r>
            <a:rPr lang="en-US"/>
            <a:t>Hyperscale is a new, highly scalable service tier that adapts on-demand to your workload's needs, auto-scaling up to 100TB per database. </a:t>
          </a:r>
        </a:p>
      </dgm:t>
    </dgm:pt>
    <dgm:pt modelId="{BC134F57-2895-4D0D-AAD0-5DB9F42F525A}" type="parTrans" cxnId="{96BCA390-C2A6-42F3-967C-CEBEE6992B02}">
      <dgm:prSet/>
      <dgm:spPr/>
      <dgm:t>
        <a:bodyPr/>
        <a:lstStyle/>
        <a:p>
          <a:endParaRPr lang="en-US"/>
        </a:p>
      </dgm:t>
    </dgm:pt>
    <dgm:pt modelId="{CADE0611-5719-46C1-90BD-3B5A6783A001}" type="sibTrans" cxnId="{96BCA390-C2A6-42F3-967C-CEBEE6992B02}">
      <dgm:prSet/>
      <dgm:spPr/>
      <dgm:t>
        <a:bodyPr/>
        <a:lstStyle/>
        <a:p>
          <a:endParaRPr lang="en-US"/>
        </a:p>
      </dgm:t>
    </dgm:pt>
    <dgm:pt modelId="{FF8F792C-C0A6-47DE-8662-114299CEE74B}">
      <dgm:prSet/>
      <dgm:spPr/>
      <dgm:t>
        <a:bodyPr/>
        <a:lstStyle/>
        <a:p>
          <a:r>
            <a:rPr lang="en-US"/>
            <a:t>Storage dynamically adapts to your workloads’ needs, auto-scaling up to 100TB.</a:t>
          </a:r>
        </a:p>
      </dgm:t>
    </dgm:pt>
    <dgm:pt modelId="{2EDD4740-C96C-458E-A84F-2A33391BD20C}" type="parTrans" cxnId="{E53E2EC1-4412-4926-AD8A-DA6C440B6FD9}">
      <dgm:prSet/>
      <dgm:spPr/>
      <dgm:t>
        <a:bodyPr/>
        <a:lstStyle/>
        <a:p>
          <a:endParaRPr lang="en-US"/>
        </a:p>
      </dgm:t>
    </dgm:pt>
    <dgm:pt modelId="{1321D4DE-9E06-4E34-9B8E-9109F2EBF428}" type="sibTrans" cxnId="{E53E2EC1-4412-4926-AD8A-DA6C440B6FD9}">
      <dgm:prSet/>
      <dgm:spPr/>
      <dgm:t>
        <a:bodyPr/>
        <a:lstStyle/>
        <a:p>
          <a:endParaRPr lang="en-US"/>
        </a:p>
      </dgm:t>
    </dgm:pt>
    <dgm:pt modelId="{D296CA4D-6136-465F-B27D-13DF54B92890}">
      <dgm:prSet/>
      <dgm:spPr/>
      <dgm:t>
        <a:bodyPr/>
        <a:lstStyle/>
        <a:p>
          <a:r>
            <a:rPr lang="en-US" dirty="0"/>
            <a:t>Provision one or more additional compute nodes that can serve your read-only workload and use them as a hot-standby, in case of failover.</a:t>
          </a:r>
        </a:p>
      </dgm:t>
    </dgm:pt>
    <dgm:pt modelId="{417E1060-536A-488D-AC06-ABA8B7B8E139}" type="parTrans" cxnId="{FBD490E7-E067-4915-A9A5-4BDE26001C16}">
      <dgm:prSet/>
      <dgm:spPr/>
      <dgm:t>
        <a:bodyPr/>
        <a:lstStyle/>
        <a:p>
          <a:endParaRPr lang="en-US"/>
        </a:p>
      </dgm:t>
    </dgm:pt>
    <dgm:pt modelId="{1003E7AA-8013-4514-B439-21CD3A0364E3}" type="sibTrans" cxnId="{FBD490E7-E067-4915-A9A5-4BDE26001C16}">
      <dgm:prSet/>
      <dgm:spPr/>
      <dgm:t>
        <a:bodyPr/>
        <a:lstStyle/>
        <a:p>
          <a:endParaRPr lang="en-US"/>
        </a:p>
      </dgm:t>
    </dgm:pt>
    <dgm:pt modelId="{14C241D0-DBC3-4532-B7BA-B10F6BB31D98}">
      <dgm:prSet/>
      <dgm:spPr/>
      <dgm:t>
        <a:bodyPr/>
        <a:lstStyle/>
        <a:p>
          <a:r>
            <a:rPr lang="en-US"/>
            <a:t>Perform operations in constant time, regardless of the size of the data operation.</a:t>
          </a:r>
        </a:p>
      </dgm:t>
    </dgm:pt>
    <dgm:pt modelId="{D8F3370D-F6E4-4BB5-951E-1539D37E802D}" type="parTrans" cxnId="{0984F3F9-6793-4568-9F28-822E4C2E558C}">
      <dgm:prSet/>
      <dgm:spPr/>
      <dgm:t>
        <a:bodyPr/>
        <a:lstStyle/>
        <a:p>
          <a:endParaRPr lang="en-US"/>
        </a:p>
      </dgm:t>
    </dgm:pt>
    <dgm:pt modelId="{DF05931D-2000-4595-93C5-D5439BF46415}" type="sibTrans" cxnId="{0984F3F9-6793-4568-9F28-822E4C2E558C}">
      <dgm:prSet/>
      <dgm:spPr/>
      <dgm:t>
        <a:bodyPr/>
        <a:lstStyle/>
        <a:p>
          <a:endParaRPr lang="en-US"/>
        </a:p>
      </dgm:t>
    </dgm:pt>
    <dgm:pt modelId="{5E7C6579-9B6C-4CE5-942D-5718DD2E48FF}">
      <dgm:prSet/>
      <dgm:spPr/>
      <dgm:t>
        <a:bodyPr/>
        <a:lstStyle/>
        <a:p>
          <a:r>
            <a:rPr lang="en-US"/>
            <a:t>Compute and storage resources scale rapidly and independently without sacrificing performance. </a:t>
          </a:r>
        </a:p>
      </dgm:t>
    </dgm:pt>
    <dgm:pt modelId="{02C18A4C-95A1-47BD-A405-46BDA904AD92}" type="parTrans" cxnId="{97760397-F436-479D-843C-CB51C64E9045}">
      <dgm:prSet/>
      <dgm:spPr/>
      <dgm:t>
        <a:bodyPr/>
        <a:lstStyle/>
        <a:p>
          <a:endParaRPr lang="en-US"/>
        </a:p>
      </dgm:t>
    </dgm:pt>
    <dgm:pt modelId="{73B05204-0B53-45EE-952E-D08A78AB5461}" type="sibTrans" cxnId="{97760397-F436-479D-843C-CB51C64E9045}">
      <dgm:prSet/>
      <dgm:spPr/>
      <dgm:t>
        <a:bodyPr/>
        <a:lstStyle/>
        <a:p>
          <a:endParaRPr lang="en-US"/>
        </a:p>
      </dgm:t>
    </dgm:pt>
    <dgm:pt modelId="{C740FD69-B7A8-41FD-AF23-CB13EEAD3F80}" type="pres">
      <dgm:prSet presAssocID="{533C4DDE-D284-4C9B-8A77-87E675199A09}" presName="Name0" presStyleCnt="0">
        <dgm:presLayoutVars>
          <dgm:dir/>
          <dgm:animLvl val="lvl"/>
          <dgm:resizeHandles val="exact"/>
        </dgm:presLayoutVars>
      </dgm:prSet>
      <dgm:spPr/>
    </dgm:pt>
    <dgm:pt modelId="{D8FEF58D-53F4-4547-A63A-BAB96062FC25}" type="pres">
      <dgm:prSet presAssocID="{21C1AEF7-80E2-4CA0-9198-DB45A27A20AB}" presName="composite" presStyleCnt="0"/>
      <dgm:spPr/>
    </dgm:pt>
    <dgm:pt modelId="{AE048E07-DD90-43C4-B768-A62B66A1BB27}" type="pres">
      <dgm:prSet presAssocID="{21C1AEF7-80E2-4CA0-9198-DB45A27A20AB}" presName="parTx" presStyleLbl="alignNode1" presStyleIdx="0" presStyleCnt="1">
        <dgm:presLayoutVars>
          <dgm:chMax val="0"/>
          <dgm:chPref val="0"/>
          <dgm:bulletEnabled val="1"/>
        </dgm:presLayoutVars>
      </dgm:prSet>
      <dgm:spPr/>
    </dgm:pt>
    <dgm:pt modelId="{D7CF4BA5-E94F-4314-A654-50D25208B26B}" type="pres">
      <dgm:prSet presAssocID="{21C1AEF7-80E2-4CA0-9198-DB45A27A20AB}" presName="desTx" presStyleLbl="alignAccFollowNode1" presStyleIdx="0" presStyleCnt="1">
        <dgm:presLayoutVars>
          <dgm:bulletEnabled val="1"/>
        </dgm:presLayoutVars>
      </dgm:prSet>
      <dgm:spPr/>
    </dgm:pt>
  </dgm:ptLst>
  <dgm:cxnLst>
    <dgm:cxn modelId="{5FC8B215-0869-4B82-A193-B617DD223336}" type="presOf" srcId="{21C1AEF7-80E2-4CA0-9198-DB45A27A20AB}" destId="{AE048E07-DD90-43C4-B768-A62B66A1BB27}" srcOrd="0" destOrd="0" presId="urn:microsoft.com/office/officeart/2005/8/layout/hList1"/>
    <dgm:cxn modelId="{326CE02E-F6C5-4831-8469-8E095A40EC66}" type="presOf" srcId="{D296CA4D-6136-465F-B27D-13DF54B92890}" destId="{D7CF4BA5-E94F-4314-A654-50D25208B26B}" srcOrd="0" destOrd="1" presId="urn:microsoft.com/office/officeart/2005/8/layout/hList1"/>
    <dgm:cxn modelId="{D0A3FD7B-5489-4473-8024-1D57362CD13F}" type="presOf" srcId="{FF8F792C-C0A6-47DE-8662-114299CEE74B}" destId="{D7CF4BA5-E94F-4314-A654-50D25208B26B}" srcOrd="0" destOrd="0" presId="urn:microsoft.com/office/officeart/2005/8/layout/hList1"/>
    <dgm:cxn modelId="{96BCA390-C2A6-42F3-967C-CEBEE6992B02}" srcId="{533C4DDE-D284-4C9B-8A77-87E675199A09}" destId="{21C1AEF7-80E2-4CA0-9198-DB45A27A20AB}" srcOrd="0" destOrd="0" parTransId="{BC134F57-2895-4D0D-AAD0-5DB9F42F525A}" sibTransId="{CADE0611-5719-46C1-90BD-3B5A6783A001}"/>
    <dgm:cxn modelId="{13A5E192-D3A0-48A7-9912-1BA1ADCFBB26}" type="presOf" srcId="{5E7C6579-9B6C-4CE5-942D-5718DD2E48FF}" destId="{D7CF4BA5-E94F-4314-A654-50D25208B26B}" srcOrd="0" destOrd="3" presId="urn:microsoft.com/office/officeart/2005/8/layout/hList1"/>
    <dgm:cxn modelId="{97760397-F436-479D-843C-CB51C64E9045}" srcId="{21C1AEF7-80E2-4CA0-9198-DB45A27A20AB}" destId="{5E7C6579-9B6C-4CE5-942D-5718DD2E48FF}" srcOrd="3" destOrd="0" parTransId="{02C18A4C-95A1-47BD-A405-46BDA904AD92}" sibTransId="{73B05204-0B53-45EE-952E-D08A78AB5461}"/>
    <dgm:cxn modelId="{0A1C5FB3-B37D-42A4-B488-1B399139E2C9}" type="presOf" srcId="{533C4DDE-D284-4C9B-8A77-87E675199A09}" destId="{C740FD69-B7A8-41FD-AF23-CB13EEAD3F80}" srcOrd="0" destOrd="0" presId="urn:microsoft.com/office/officeart/2005/8/layout/hList1"/>
    <dgm:cxn modelId="{E53E2EC1-4412-4926-AD8A-DA6C440B6FD9}" srcId="{21C1AEF7-80E2-4CA0-9198-DB45A27A20AB}" destId="{FF8F792C-C0A6-47DE-8662-114299CEE74B}" srcOrd="0" destOrd="0" parTransId="{2EDD4740-C96C-458E-A84F-2A33391BD20C}" sibTransId="{1321D4DE-9E06-4E34-9B8E-9109F2EBF428}"/>
    <dgm:cxn modelId="{585E7EC3-AE1D-47F5-B8A4-D19417374485}" type="presOf" srcId="{14C241D0-DBC3-4532-B7BA-B10F6BB31D98}" destId="{D7CF4BA5-E94F-4314-A654-50D25208B26B}" srcOrd="0" destOrd="2" presId="urn:microsoft.com/office/officeart/2005/8/layout/hList1"/>
    <dgm:cxn modelId="{FBD490E7-E067-4915-A9A5-4BDE26001C16}" srcId="{21C1AEF7-80E2-4CA0-9198-DB45A27A20AB}" destId="{D296CA4D-6136-465F-B27D-13DF54B92890}" srcOrd="1" destOrd="0" parTransId="{417E1060-536A-488D-AC06-ABA8B7B8E139}" sibTransId="{1003E7AA-8013-4514-B439-21CD3A0364E3}"/>
    <dgm:cxn modelId="{0984F3F9-6793-4568-9F28-822E4C2E558C}" srcId="{21C1AEF7-80E2-4CA0-9198-DB45A27A20AB}" destId="{14C241D0-DBC3-4532-B7BA-B10F6BB31D98}" srcOrd="2" destOrd="0" parTransId="{D8F3370D-F6E4-4BB5-951E-1539D37E802D}" sibTransId="{DF05931D-2000-4595-93C5-D5439BF46415}"/>
    <dgm:cxn modelId="{077F0AE7-64C6-4998-A98B-578A783EE70C}" type="presParOf" srcId="{C740FD69-B7A8-41FD-AF23-CB13EEAD3F80}" destId="{D8FEF58D-53F4-4547-A63A-BAB96062FC25}" srcOrd="0" destOrd="0" presId="urn:microsoft.com/office/officeart/2005/8/layout/hList1"/>
    <dgm:cxn modelId="{B89A72E6-2EFB-4F21-9294-CF86549CA07D}" type="presParOf" srcId="{D8FEF58D-53F4-4547-A63A-BAB96062FC25}" destId="{AE048E07-DD90-43C4-B768-A62B66A1BB27}" srcOrd="0" destOrd="0" presId="urn:microsoft.com/office/officeart/2005/8/layout/hList1"/>
    <dgm:cxn modelId="{0251ED88-3B24-4852-82DD-0C8D50D2187F}" type="presParOf" srcId="{D8FEF58D-53F4-4547-A63A-BAB96062FC25}" destId="{D7CF4BA5-E94F-4314-A654-50D25208B26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023E7-76F8-4240-A90B-C66466FA1790}">
      <dsp:nvSpPr>
        <dsp:cNvPr id="0" name=""/>
        <dsp:cNvSpPr/>
      </dsp:nvSpPr>
      <dsp:spPr>
        <a:xfrm>
          <a:off x="0" y="199807"/>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Microsoft Azure is Microsoft’s public cloud computing platform</a:t>
          </a:r>
          <a:endParaRPr lang="en-US" sz="2400" kern="1200"/>
        </a:p>
      </dsp:txBody>
      <dsp:txXfrm>
        <a:off x="30157" y="229964"/>
        <a:ext cx="10820412" cy="557445"/>
      </dsp:txXfrm>
    </dsp:sp>
    <dsp:sp modelId="{EA724777-5A37-4639-8598-C8C8CA24F856}">
      <dsp:nvSpPr>
        <dsp:cNvPr id="0" name=""/>
        <dsp:cNvSpPr/>
      </dsp:nvSpPr>
      <dsp:spPr>
        <a:xfrm>
          <a:off x="0" y="886687"/>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Over 140 countries across 56 regions worldwide</a:t>
          </a:r>
          <a:endParaRPr lang="en-US" sz="2400" kern="1200" dirty="0"/>
        </a:p>
      </dsp:txBody>
      <dsp:txXfrm>
        <a:off x="30157" y="916844"/>
        <a:ext cx="10820412" cy="557445"/>
      </dsp:txXfrm>
    </dsp:sp>
    <dsp:sp modelId="{4C706E1B-708A-4D18-8BC1-C05516EE6FAB}">
      <dsp:nvSpPr>
        <dsp:cNvPr id="0" name=""/>
        <dsp:cNvSpPr/>
      </dsp:nvSpPr>
      <dsp:spPr>
        <a:xfrm>
          <a:off x="0" y="1573567"/>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Windows and Linux</a:t>
          </a:r>
          <a:endParaRPr lang="en-US" sz="2400" kern="1200"/>
        </a:p>
      </dsp:txBody>
      <dsp:txXfrm>
        <a:off x="30157" y="1603724"/>
        <a:ext cx="10820412" cy="557445"/>
      </dsp:txXfrm>
    </dsp:sp>
    <dsp:sp modelId="{4E42B728-6D1B-43E0-A034-1C3F40ABF6C2}">
      <dsp:nvSpPr>
        <dsp:cNvPr id="0" name=""/>
        <dsp:cNvSpPr/>
      </dsp:nvSpPr>
      <dsp:spPr>
        <a:xfrm>
          <a:off x="0" y="2260447"/>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cale globally</a:t>
          </a:r>
          <a:endParaRPr lang="en-US" sz="2400" kern="1200"/>
        </a:p>
      </dsp:txBody>
      <dsp:txXfrm>
        <a:off x="30157" y="2290604"/>
        <a:ext cx="10820412" cy="557445"/>
      </dsp:txXfrm>
    </dsp:sp>
    <dsp:sp modelId="{9C007B62-96B9-4ACA-A04D-4F8E84DB4007}">
      <dsp:nvSpPr>
        <dsp:cNvPr id="0" name=""/>
        <dsp:cNvSpPr/>
      </dsp:nvSpPr>
      <dsp:spPr>
        <a:xfrm>
          <a:off x="0" y="2878207"/>
          <a:ext cx="10880726"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a:t>Reach more locations, faster, with the performance and reliability of a vast global infrastructure.</a:t>
          </a:r>
          <a:endParaRPr lang="en-US" sz="1900" kern="1200"/>
        </a:p>
      </dsp:txBody>
      <dsp:txXfrm>
        <a:off x="0" y="2878207"/>
        <a:ext cx="10880726" cy="397440"/>
      </dsp:txXfrm>
    </dsp:sp>
    <dsp:sp modelId="{2E4966F4-E8F5-4388-8567-199CAD14B693}">
      <dsp:nvSpPr>
        <dsp:cNvPr id="0" name=""/>
        <dsp:cNvSpPr/>
      </dsp:nvSpPr>
      <dsp:spPr>
        <a:xfrm>
          <a:off x="0" y="3275647"/>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afeguard data</a:t>
          </a:r>
          <a:endParaRPr lang="en-US" sz="2400" kern="1200"/>
        </a:p>
      </dsp:txBody>
      <dsp:txXfrm>
        <a:off x="30157" y="3305804"/>
        <a:ext cx="10820412" cy="557445"/>
      </dsp:txXfrm>
    </dsp:sp>
    <dsp:sp modelId="{A88D8434-7005-4AEE-8560-4AC04FB1432E}">
      <dsp:nvSpPr>
        <dsp:cNvPr id="0" name=""/>
        <dsp:cNvSpPr/>
      </dsp:nvSpPr>
      <dsp:spPr>
        <a:xfrm>
          <a:off x="0" y="3893407"/>
          <a:ext cx="10880726"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Rely on industry-leading data security in the region and across our network.</a:t>
          </a:r>
          <a:endParaRPr lang="en-US" sz="1900" kern="1200" dirty="0"/>
        </a:p>
      </dsp:txBody>
      <dsp:txXfrm>
        <a:off x="0" y="3893407"/>
        <a:ext cx="10880726" cy="397440"/>
      </dsp:txXfrm>
    </dsp:sp>
    <dsp:sp modelId="{1CE32638-51B2-4B23-98BD-07246D9CD311}">
      <dsp:nvSpPr>
        <dsp:cNvPr id="0" name=""/>
        <dsp:cNvSpPr/>
      </dsp:nvSpPr>
      <dsp:spPr>
        <a:xfrm>
          <a:off x="0" y="4290848"/>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Promote sustainability</a:t>
          </a:r>
          <a:endParaRPr lang="en-US" sz="2400" kern="1200"/>
        </a:p>
      </dsp:txBody>
      <dsp:txXfrm>
        <a:off x="30157" y="4321005"/>
        <a:ext cx="10820412" cy="557445"/>
      </dsp:txXfrm>
    </dsp:sp>
    <dsp:sp modelId="{A594F59E-3D64-4506-9C87-BF49311AEA3C}">
      <dsp:nvSpPr>
        <dsp:cNvPr id="0" name=""/>
        <dsp:cNvSpPr/>
      </dsp:nvSpPr>
      <dsp:spPr>
        <a:xfrm>
          <a:off x="0" y="4908608"/>
          <a:ext cx="10880726"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a:t>Help build a clean-energy future and accelerate progress toward your sustainability goals.</a:t>
          </a:r>
          <a:endParaRPr lang="en-US" sz="1900" kern="1200"/>
        </a:p>
      </dsp:txBody>
      <dsp:txXfrm>
        <a:off x="0" y="4908608"/>
        <a:ext cx="10880726" cy="39744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872B13-BFAC-48EC-A3D0-7A73F0B9A7D1}">
      <dsp:nvSpPr>
        <dsp:cNvPr id="0" name=""/>
        <dsp:cNvSpPr/>
      </dsp:nvSpPr>
      <dsp:spPr>
        <a:xfrm>
          <a:off x="0" y="46424"/>
          <a:ext cx="4754562" cy="18720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baseline="0"/>
            <a:t>Database Migration Assistant (DMA)</a:t>
          </a:r>
          <a:endParaRPr lang="en-US" sz="2400" kern="1200"/>
        </a:p>
      </dsp:txBody>
      <dsp:txXfrm>
        <a:off x="0" y="46424"/>
        <a:ext cx="4754562" cy="1872000"/>
      </dsp:txXfrm>
    </dsp:sp>
    <dsp:sp modelId="{E654671C-8573-4D09-9D62-9A452774085C}">
      <dsp:nvSpPr>
        <dsp:cNvPr id="0" name=""/>
        <dsp:cNvSpPr/>
      </dsp:nvSpPr>
      <dsp:spPr>
        <a:xfrm>
          <a:off x="0" y="1918424"/>
          <a:ext cx="4754562" cy="28548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Single database</a:t>
          </a:r>
          <a:endParaRPr lang="en-US" kern="1200"/>
        </a:p>
        <a:p>
          <a:pPr marL="228600" lvl="1" indent="-228600" algn="l" defTabSz="889000">
            <a:lnSpc>
              <a:spcPct val="90000"/>
            </a:lnSpc>
            <a:spcBef>
              <a:spcPct val="0"/>
            </a:spcBef>
            <a:spcAft>
              <a:spcPct val="15000"/>
            </a:spcAft>
            <a:buChar char="•"/>
          </a:pPr>
          <a:r>
            <a:rPr lang="en-US" sz="2000" kern="1200" baseline="0"/>
            <a:t>Elastic pools</a:t>
          </a:r>
          <a:endParaRPr lang="en-US" sz="2000" kern="1200"/>
        </a:p>
        <a:p>
          <a:pPr marL="228600" lvl="1" indent="-228600" algn="l" defTabSz="889000">
            <a:lnSpc>
              <a:spcPct val="90000"/>
            </a:lnSpc>
            <a:spcBef>
              <a:spcPct val="0"/>
            </a:spcBef>
            <a:spcAft>
              <a:spcPct val="15000"/>
            </a:spcAft>
            <a:buChar char="•"/>
          </a:pPr>
          <a:r>
            <a:rPr lang="en-US" sz="2000" kern="1200" baseline="0"/>
            <a:t>Managed instance</a:t>
          </a:r>
          <a:endParaRPr lang="en-US" sz="2000" kern="1200"/>
        </a:p>
      </dsp:txBody>
      <dsp:txXfrm>
        <a:off x="0" y="1918424"/>
        <a:ext cx="4754562" cy="28548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EBCA70-8B93-43C0-861D-3A30E21B5CE6}">
      <dsp:nvSpPr>
        <dsp:cNvPr id="0" name=""/>
        <dsp:cNvSpPr/>
      </dsp:nvSpPr>
      <dsp:spPr>
        <a:xfrm>
          <a:off x="390882" y="0"/>
          <a:ext cx="4429997" cy="4819650"/>
        </a:xfrm>
        <a:prstGeom prst="rightArrow">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87C9AA5-5DB6-41BC-B425-76F78E0C11D0}">
      <dsp:nvSpPr>
        <dsp:cNvPr id="0" name=""/>
        <dsp:cNvSpPr/>
      </dsp:nvSpPr>
      <dsp:spPr>
        <a:xfrm>
          <a:off x="202121" y="1445894"/>
          <a:ext cx="2340203" cy="19278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baseline="0"/>
            <a:t>The feature provides recommendations related to:</a:t>
          </a:r>
          <a:endParaRPr lang="en-US" sz="1500" kern="1200"/>
        </a:p>
        <a:p>
          <a:pPr marL="114300" lvl="1" indent="-114300" algn="l" defTabSz="533400">
            <a:lnSpc>
              <a:spcPct val="90000"/>
            </a:lnSpc>
            <a:spcBef>
              <a:spcPct val="0"/>
            </a:spcBef>
            <a:spcAft>
              <a:spcPct val="15000"/>
            </a:spcAft>
            <a:buChar char="•"/>
          </a:pPr>
          <a:r>
            <a:rPr lang="en-US" sz="1200" kern="1200" baseline="0"/>
            <a:t>pricing tier</a:t>
          </a:r>
          <a:endParaRPr lang="en-US" sz="1200" kern="1200"/>
        </a:p>
        <a:p>
          <a:pPr marL="114300" lvl="1" indent="-114300" algn="l" defTabSz="533400">
            <a:lnSpc>
              <a:spcPct val="90000"/>
            </a:lnSpc>
            <a:spcBef>
              <a:spcPct val="0"/>
            </a:spcBef>
            <a:spcAft>
              <a:spcPct val="15000"/>
            </a:spcAft>
            <a:buChar char="•"/>
          </a:pPr>
          <a:r>
            <a:rPr lang="en-US" sz="1200" kern="1200" baseline="0"/>
            <a:t>compute level</a:t>
          </a:r>
          <a:endParaRPr lang="en-US" sz="1200" kern="1200"/>
        </a:p>
        <a:p>
          <a:pPr marL="114300" lvl="1" indent="-114300" algn="l" defTabSz="533400">
            <a:lnSpc>
              <a:spcPct val="90000"/>
            </a:lnSpc>
            <a:spcBef>
              <a:spcPct val="0"/>
            </a:spcBef>
            <a:spcAft>
              <a:spcPct val="15000"/>
            </a:spcAft>
            <a:buChar char="•"/>
          </a:pPr>
          <a:r>
            <a:rPr lang="en-US" sz="1200" kern="1200" baseline="0"/>
            <a:t>max data size</a:t>
          </a:r>
          <a:endParaRPr lang="en-US" sz="1200" kern="1200"/>
        </a:p>
        <a:p>
          <a:pPr marL="114300" lvl="1" indent="-114300" algn="l" defTabSz="533400">
            <a:lnSpc>
              <a:spcPct val="90000"/>
            </a:lnSpc>
            <a:spcBef>
              <a:spcPct val="0"/>
            </a:spcBef>
            <a:spcAft>
              <a:spcPct val="15000"/>
            </a:spcAft>
            <a:buChar char="•"/>
          </a:pPr>
          <a:r>
            <a:rPr lang="en-US" sz="1200" kern="1200" baseline="0"/>
            <a:t>estimated cost per month.</a:t>
          </a:r>
          <a:endParaRPr lang="en-US" sz="1200" kern="1200"/>
        </a:p>
      </dsp:txBody>
      <dsp:txXfrm>
        <a:off x="296231" y="1540004"/>
        <a:ext cx="2151983" cy="1739640"/>
      </dsp:txXfrm>
    </dsp:sp>
    <dsp:sp modelId="{3E78E43C-E3AF-4C71-8D44-1533CCC4D0A7}">
      <dsp:nvSpPr>
        <dsp:cNvPr id="0" name=""/>
        <dsp:cNvSpPr/>
      </dsp:nvSpPr>
      <dsp:spPr>
        <a:xfrm>
          <a:off x="2669437" y="1445894"/>
          <a:ext cx="2340203" cy="19278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baseline="0"/>
            <a:t>Furthermore offers the ability to bulk provision single databases and managed instances in Azure for all recommended databases.</a:t>
          </a:r>
          <a:endParaRPr lang="en-US" sz="1500" kern="1200"/>
        </a:p>
      </dsp:txBody>
      <dsp:txXfrm>
        <a:off x="2763547" y="1540004"/>
        <a:ext cx="2151983" cy="173964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6140"/>
          <a:ext cx="10880725" cy="90908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kumimoji="0" lang="en-US" sz="2100" b="0" i="0" u="none" strike="noStrike" kern="1200" cap="none" spc="0" normalizeH="0" baseline="0" noProof="0">
              <a:ln/>
              <a:effectLst/>
              <a:uLnTx/>
              <a:uFillTx/>
              <a:latin typeface="Segoe UI"/>
              <a:ea typeface="+mn-ea"/>
              <a:cs typeface="+mn-cs"/>
            </a:rPr>
            <a:t>What are the differences between IaaS, PaaS, SaaS and where should you position Azure SQL Database?</a:t>
          </a:r>
          <a:endParaRPr lang="en-US" sz="2100" kern="1200"/>
        </a:p>
      </dsp:txBody>
      <dsp:txXfrm>
        <a:off x="44378" y="60518"/>
        <a:ext cx="10791969" cy="820333"/>
      </dsp:txXfrm>
    </dsp:sp>
    <dsp:sp modelId="{94B26D45-85D6-45AE-8D97-F12609B80896}">
      <dsp:nvSpPr>
        <dsp:cNvPr id="0" name=""/>
        <dsp:cNvSpPr/>
      </dsp:nvSpPr>
      <dsp:spPr>
        <a:xfrm>
          <a:off x="0" y="985710"/>
          <a:ext cx="10880725" cy="90908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ClrTx/>
            <a:buSzTx/>
            <a:buFont typeface="Arial" panose="020B0604020202020204" pitchFamily="34" charset="0"/>
            <a:buNone/>
          </a:pPr>
          <a:r>
            <a:rPr kumimoji="0" lang="en-US" sz="2100" b="0" i="0" u="none" strike="noStrike" kern="1200" cap="none" spc="0" normalizeH="0" baseline="0" noProof="0">
              <a:ln/>
              <a:effectLst/>
              <a:uLnTx/>
              <a:uFillTx/>
              <a:latin typeface="Segoe UI"/>
              <a:ea typeface="+mn-ea"/>
              <a:cs typeface="+mn-cs"/>
            </a:rPr>
            <a:t>What are the two</a:t>
          </a:r>
          <a:r>
            <a:rPr kumimoji="0" lang="en-US" sz="2100" b="0" i="0" u="none" strike="noStrike" kern="1200" cap="none" spc="0" normalizeH="0" noProof="0">
              <a:ln/>
              <a:effectLst/>
              <a:uLnTx/>
              <a:uFillTx/>
              <a:latin typeface="Segoe UI"/>
              <a:ea typeface="+mn-ea"/>
              <a:cs typeface="+mn-cs"/>
            </a:rPr>
            <a:t> purchasing models available?</a:t>
          </a:r>
          <a:endParaRPr lang="en-US" sz="2100" kern="1200"/>
        </a:p>
      </dsp:txBody>
      <dsp:txXfrm>
        <a:off x="44378" y="1030088"/>
        <a:ext cx="10791969" cy="820333"/>
      </dsp:txXfrm>
    </dsp:sp>
    <dsp:sp modelId="{25AE72C8-9DFF-4C10-8FA5-A578B7FE33C7}">
      <dsp:nvSpPr>
        <dsp:cNvPr id="0" name=""/>
        <dsp:cNvSpPr/>
      </dsp:nvSpPr>
      <dsp:spPr>
        <a:xfrm>
          <a:off x="0" y="1955279"/>
          <a:ext cx="10880725" cy="90908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Font typeface="Arial" panose="020B0604020202020204" pitchFamily="34" charset="0"/>
            <a:buNone/>
          </a:pPr>
          <a:r>
            <a:rPr lang="en-US" sz="2100" kern="1200">
              <a:latin typeface="Segoe UI"/>
            </a:rPr>
            <a:t>What are the three vCore-based purchasing models that Azure SQL Database offers?</a:t>
          </a:r>
          <a:endParaRPr lang="en-US" sz="2100" kern="1200"/>
        </a:p>
      </dsp:txBody>
      <dsp:txXfrm>
        <a:off x="44378" y="1999657"/>
        <a:ext cx="10791969" cy="820333"/>
      </dsp:txXfrm>
    </dsp:sp>
    <dsp:sp modelId="{7B0B3BC0-92E1-4BB5-AA30-BC2973F04D6F}">
      <dsp:nvSpPr>
        <dsp:cNvPr id="0" name=""/>
        <dsp:cNvSpPr/>
      </dsp:nvSpPr>
      <dsp:spPr>
        <a:xfrm>
          <a:off x="0" y="2924849"/>
          <a:ext cx="10880725" cy="90908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Font typeface="Arial" panose="020B0604020202020204" pitchFamily="34" charset="0"/>
            <a:buNone/>
          </a:pPr>
          <a:r>
            <a:rPr lang="en-US" sz="2100" kern="1200">
              <a:latin typeface="Segoe UI"/>
            </a:rPr>
            <a:t>What are the differences between a provisioned compute tier and a serverless compute tier?</a:t>
          </a:r>
          <a:endParaRPr lang="en-US" sz="2100" kern="1200"/>
        </a:p>
      </dsp:txBody>
      <dsp:txXfrm>
        <a:off x="44378" y="2969227"/>
        <a:ext cx="10791969" cy="820333"/>
      </dsp:txXfrm>
    </dsp:sp>
    <dsp:sp modelId="{C0ECF561-1570-426D-9ED1-AD7F8DDCE81F}">
      <dsp:nvSpPr>
        <dsp:cNvPr id="0" name=""/>
        <dsp:cNvSpPr/>
      </dsp:nvSpPr>
      <dsp:spPr>
        <a:xfrm>
          <a:off x="0" y="3894420"/>
          <a:ext cx="10880725" cy="909089"/>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Font typeface="Arial" panose="020B0604020202020204" pitchFamily="34" charset="0"/>
            <a:buNone/>
          </a:pPr>
          <a:r>
            <a:rPr lang="en-US" sz="2100" kern="1200">
              <a:latin typeface="Segoe UI"/>
            </a:rPr>
            <a:t>Which are the </a:t>
          </a:r>
          <a:r>
            <a:rPr lang="en-US" sz="2100" kern="1200"/>
            <a:t>two deployment options that can use DTU-based or the vCore-based purchasing model?</a:t>
          </a:r>
        </a:p>
      </dsp:txBody>
      <dsp:txXfrm>
        <a:off x="44378" y="3938798"/>
        <a:ext cx="10791969" cy="82033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56C630-D737-4663-A3E5-ABD804E8263D}">
      <dsp:nvSpPr>
        <dsp:cNvPr id="0" name=""/>
        <dsp:cNvSpPr/>
      </dsp:nvSpPr>
      <dsp:spPr>
        <a:xfrm>
          <a:off x="0" y="397424"/>
          <a:ext cx="6012180"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ervice head that contains databases</a:t>
          </a:r>
          <a:endParaRPr lang="en-US" sz="2400" kern="1200"/>
        </a:p>
      </dsp:txBody>
      <dsp:txXfrm>
        <a:off x="59399" y="456823"/>
        <a:ext cx="5893382" cy="1098002"/>
      </dsp:txXfrm>
    </dsp:sp>
    <dsp:sp modelId="{E25B73EA-849E-4DC2-AF7C-DC058386430E}">
      <dsp:nvSpPr>
        <dsp:cNvPr id="0" name=""/>
        <dsp:cNvSpPr/>
      </dsp:nvSpPr>
      <dsp:spPr>
        <a:xfrm>
          <a:off x="0" y="1801425"/>
          <a:ext cx="6012180"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Connect via Fully Qualified Domain Name</a:t>
          </a:r>
          <a:endParaRPr lang="en-US" sz="2400" kern="1200" dirty="0"/>
        </a:p>
      </dsp:txBody>
      <dsp:txXfrm>
        <a:off x="59399" y="1860824"/>
        <a:ext cx="5893382" cy="1098002"/>
      </dsp:txXfrm>
    </dsp:sp>
    <dsp:sp modelId="{203E7617-EF69-425C-A430-A56C71E9D147}">
      <dsp:nvSpPr>
        <dsp:cNvPr id="0" name=""/>
        <dsp:cNvSpPr/>
      </dsp:nvSpPr>
      <dsp:spPr>
        <a:xfrm>
          <a:off x="0" y="3205425"/>
          <a:ext cx="6012180"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Initially contains only a </a:t>
          </a:r>
          <a:r>
            <a:rPr lang="en-US" sz="2400" b="1" kern="1200" baseline="0"/>
            <a:t>master</a:t>
          </a:r>
          <a:r>
            <a:rPr lang="en-US" sz="2400" kern="1200" baseline="0"/>
            <a:t> database</a:t>
          </a:r>
          <a:endParaRPr lang="en-US" sz="2400" kern="1200"/>
        </a:p>
      </dsp:txBody>
      <dsp:txXfrm>
        <a:off x="59399" y="3264824"/>
        <a:ext cx="5893382" cy="109800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3AC387-A656-4258-AEA6-85A9F2922434}">
      <dsp:nvSpPr>
        <dsp:cNvPr id="0" name=""/>
        <dsp:cNvSpPr/>
      </dsp:nvSpPr>
      <dsp:spPr>
        <a:xfrm>
          <a:off x="0" y="70121"/>
          <a:ext cx="2059533" cy="823813"/>
        </a:xfrm>
        <a:prstGeom prst="rightArrow">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B5F059-30BE-4E1A-9FFC-39796A4DB10B}">
      <dsp:nvSpPr>
        <dsp:cNvPr id="0" name=""/>
        <dsp:cNvSpPr/>
      </dsp:nvSpPr>
      <dsp:spPr>
        <a:xfrm>
          <a:off x="166130" y="276075"/>
          <a:ext cx="1687449" cy="411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43840" rIns="0" bIns="24384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bg1"/>
              </a:solidFill>
              <a:latin typeface="Arial"/>
              <a:cs typeface="Arial"/>
            </a:rPr>
            <a:t>Portal</a:t>
          </a:r>
          <a:endParaRPr lang="en-US" sz="2400" kern="1200" dirty="0">
            <a:solidFill>
              <a:schemeClr val="bg1"/>
            </a:solidFill>
            <a:latin typeface="Segoe UI Light"/>
            <a:cs typeface="Segoe UI Light"/>
          </a:endParaRPr>
        </a:p>
      </dsp:txBody>
      <dsp:txXfrm>
        <a:off x="166130" y="276075"/>
        <a:ext cx="1687449" cy="41190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2198"/>
          <a:ext cx="10880725" cy="99567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kumimoji="0" lang="en-US" sz="2300" b="0" i="0" u="none" strike="noStrike" kern="1200" cap="none" spc="0" normalizeH="0" baseline="0" noProof="0">
              <a:ln>
                <a:noFill/>
              </a:ln>
              <a:solidFill>
                <a:srgbClr val="FFFFFF"/>
              </a:solidFill>
              <a:effectLst/>
              <a:uLnTx/>
              <a:uFillTx/>
              <a:latin typeface="Segoe UI"/>
              <a:ea typeface="+mn-ea"/>
              <a:cs typeface="+mn-cs"/>
            </a:rPr>
            <a:t>Why do you need to configure the Azure SQL Database Firewall and why is it important?</a:t>
          </a:r>
          <a:endParaRPr lang="en-US" sz="2300" kern="1200"/>
        </a:p>
      </dsp:txBody>
      <dsp:txXfrm>
        <a:off x="48605" y="70803"/>
        <a:ext cx="10783515" cy="898460"/>
      </dsp:txXfrm>
    </dsp:sp>
    <dsp:sp modelId="{E26549F3-2774-47AF-8B16-C2F8D86F7ED8}">
      <dsp:nvSpPr>
        <dsp:cNvPr id="0" name=""/>
        <dsp:cNvSpPr/>
      </dsp:nvSpPr>
      <dsp:spPr>
        <a:xfrm>
          <a:off x="0" y="1084108"/>
          <a:ext cx="10880725" cy="99567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ClrTx/>
            <a:buSzTx/>
            <a:buFont typeface="Arial" panose="020B0604020202020204" pitchFamily="34" charset="0"/>
            <a:buNone/>
          </a:pPr>
          <a:r>
            <a:rPr kumimoji="0" lang="en-US" sz="2300" b="0" i="0" u="none" strike="noStrike" kern="1200" cap="none" spc="0" normalizeH="0" baseline="0" noProof="0">
              <a:ln>
                <a:noFill/>
              </a:ln>
              <a:solidFill>
                <a:srgbClr val="FFFFFF"/>
              </a:solidFill>
              <a:effectLst/>
              <a:uLnTx/>
              <a:uFillTx/>
              <a:latin typeface="Segoe UI"/>
              <a:ea typeface="+mn-ea"/>
              <a:cs typeface="+mn-cs"/>
            </a:rPr>
            <a:t>What options do you need to specify to create an Azure SQL Database?</a:t>
          </a:r>
          <a:endParaRPr lang="en-US" sz="2300" kern="1200"/>
        </a:p>
      </dsp:txBody>
      <dsp:txXfrm>
        <a:off x="48605" y="1132713"/>
        <a:ext cx="10783515" cy="898460"/>
      </dsp:txXfrm>
    </dsp:sp>
    <dsp:sp modelId="{4D7EAB57-E79C-46D0-82FD-CA383850D152}">
      <dsp:nvSpPr>
        <dsp:cNvPr id="0" name=""/>
        <dsp:cNvSpPr/>
      </dsp:nvSpPr>
      <dsp:spPr>
        <a:xfrm>
          <a:off x="0" y="2146018"/>
          <a:ext cx="10880725" cy="99567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Font typeface="Arial" panose="020B0604020202020204" pitchFamily="34" charset="0"/>
            <a:buNone/>
          </a:pPr>
          <a:r>
            <a:rPr lang="en-US" sz="2300" kern="1200">
              <a:solidFill>
                <a:srgbClr val="FFFFFF"/>
              </a:solidFill>
              <a:latin typeface="Segoe UI"/>
            </a:rPr>
            <a:t>What is a SQL server (logical server)?</a:t>
          </a:r>
          <a:endParaRPr lang="en-US" sz="2300" kern="1200"/>
        </a:p>
      </dsp:txBody>
      <dsp:txXfrm>
        <a:off x="48605" y="2194623"/>
        <a:ext cx="10783515" cy="89846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752EC0-869B-4511-B8A8-A87C4418E48B}">
      <dsp:nvSpPr>
        <dsp:cNvPr id="0" name=""/>
        <dsp:cNvSpPr/>
      </dsp:nvSpPr>
      <dsp:spPr>
        <a:xfrm>
          <a:off x="237135" y="747699"/>
          <a:ext cx="1348715" cy="1348715"/>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CC7A351-9BD0-47F2-8FDD-ECCB7485F09D}">
      <dsp:nvSpPr>
        <dsp:cNvPr id="0" name=""/>
        <dsp:cNvSpPr/>
      </dsp:nvSpPr>
      <dsp:spPr>
        <a:xfrm>
          <a:off x="520365" y="1030929"/>
          <a:ext cx="782254" cy="7822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D5A582D-34AF-4655-82C5-F3E4F7440448}">
      <dsp:nvSpPr>
        <dsp:cNvPr id="0" name=""/>
        <dsp:cNvSpPr/>
      </dsp:nvSpPr>
      <dsp:spPr>
        <a:xfrm>
          <a:off x="1874861" y="747699"/>
          <a:ext cx="3179114" cy="13487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latin typeface="Segoe UI  "/>
              <a:ea typeface="+mn-ea"/>
              <a:cs typeface="+mn-cs"/>
            </a:rPr>
            <a:t>Managing and scaling multiple databases that have varying and unpredictable usage demands.</a:t>
          </a:r>
        </a:p>
      </dsp:txBody>
      <dsp:txXfrm>
        <a:off x="1874861" y="747699"/>
        <a:ext cx="3179114" cy="1348715"/>
      </dsp:txXfrm>
    </dsp:sp>
    <dsp:sp modelId="{C58E5284-C690-4DA0-B2CC-0C038F45289A}">
      <dsp:nvSpPr>
        <dsp:cNvPr id="0" name=""/>
        <dsp:cNvSpPr/>
      </dsp:nvSpPr>
      <dsp:spPr>
        <a:xfrm>
          <a:off x="5607912" y="747699"/>
          <a:ext cx="1348715" cy="1348715"/>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253D46D-5FB6-4C0F-BBFC-955AD166ED18}">
      <dsp:nvSpPr>
        <dsp:cNvPr id="0" name=""/>
        <dsp:cNvSpPr/>
      </dsp:nvSpPr>
      <dsp:spPr>
        <a:xfrm>
          <a:off x="5891142" y="1030929"/>
          <a:ext cx="782254" cy="78225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389228F-876C-429C-B418-752481504F32}">
      <dsp:nvSpPr>
        <dsp:cNvPr id="0" name=""/>
        <dsp:cNvSpPr/>
      </dsp:nvSpPr>
      <dsp:spPr>
        <a:xfrm>
          <a:off x="7245637" y="747699"/>
          <a:ext cx="3179114" cy="13487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latin typeface="Segoe UI  "/>
              <a:ea typeface="+mn-ea"/>
              <a:cs typeface="+mn-cs"/>
            </a:rPr>
            <a:t>A pool is shared by multiple databases to accommodate unpredictable periods of usage by individual databases.</a:t>
          </a:r>
        </a:p>
      </dsp:txBody>
      <dsp:txXfrm>
        <a:off x="7245637" y="747699"/>
        <a:ext cx="3179114" cy="1348715"/>
      </dsp:txXfrm>
    </dsp:sp>
    <dsp:sp modelId="{E0E8212D-A52D-48AD-BCA2-47A608292DA9}">
      <dsp:nvSpPr>
        <dsp:cNvPr id="0" name=""/>
        <dsp:cNvSpPr/>
      </dsp:nvSpPr>
      <dsp:spPr>
        <a:xfrm>
          <a:off x="237135" y="2955186"/>
          <a:ext cx="1348715" cy="1348715"/>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925B9E-937B-452D-8BB8-43CFBC01DFEA}">
      <dsp:nvSpPr>
        <dsp:cNvPr id="0" name=""/>
        <dsp:cNvSpPr/>
      </dsp:nvSpPr>
      <dsp:spPr>
        <a:xfrm>
          <a:off x="520365" y="3238416"/>
          <a:ext cx="782254" cy="7822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E72845C-8262-434D-8A0B-E3FEF613E607}">
      <dsp:nvSpPr>
        <dsp:cNvPr id="0" name=""/>
        <dsp:cNvSpPr/>
      </dsp:nvSpPr>
      <dsp:spPr>
        <a:xfrm>
          <a:off x="1874861" y="2955186"/>
          <a:ext cx="3179114" cy="13487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latin typeface="Segoe UI  "/>
              <a:ea typeface="+mn-ea"/>
              <a:cs typeface="+mn-cs"/>
            </a:rPr>
            <a:t>Provisioning resources for the entire pool. It is a c</a:t>
          </a:r>
          <a:r>
            <a:rPr lang="es-ES" sz="1800" kern="1200">
              <a:latin typeface="Segoe UI  "/>
              <a:ea typeface="+mn-ea"/>
              <a:cs typeface="+mn-cs"/>
            </a:rPr>
            <a:t>ost-effective solution for running multiple data bases with a fixed Budget.</a:t>
          </a:r>
          <a:endParaRPr lang="en-US" sz="1800" kern="1200">
            <a:latin typeface="Segoe UI  "/>
            <a:ea typeface="+mn-ea"/>
            <a:cs typeface="+mn-cs"/>
          </a:endParaRPr>
        </a:p>
      </dsp:txBody>
      <dsp:txXfrm>
        <a:off x="1874861" y="2955186"/>
        <a:ext cx="3179114" cy="1348715"/>
      </dsp:txXfrm>
    </dsp:sp>
    <dsp:sp modelId="{7342989F-3DEA-4EA8-9F00-C71C7B8B6F4B}">
      <dsp:nvSpPr>
        <dsp:cNvPr id="0" name=""/>
        <dsp:cNvSpPr/>
      </dsp:nvSpPr>
      <dsp:spPr>
        <a:xfrm>
          <a:off x="5607912" y="2955186"/>
          <a:ext cx="1348715" cy="1348715"/>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53AE2D2-F3B4-4D61-BD27-9C36FC6CC663}">
      <dsp:nvSpPr>
        <dsp:cNvPr id="0" name=""/>
        <dsp:cNvSpPr/>
      </dsp:nvSpPr>
      <dsp:spPr>
        <a:xfrm>
          <a:off x="5891142" y="3238416"/>
          <a:ext cx="782254" cy="78225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C3E4965-08B7-40FB-85F5-CBDF47EC714F}">
      <dsp:nvSpPr>
        <dsp:cNvPr id="0" name=""/>
        <dsp:cNvSpPr/>
      </dsp:nvSpPr>
      <dsp:spPr>
        <a:xfrm>
          <a:off x="7245637" y="2955186"/>
          <a:ext cx="3179114" cy="13487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latin typeface="Segoe UI  "/>
              <a:ea typeface="+mn-ea"/>
              <a:cs typeface="+mn-cs"/>
            </a:rPr>
            <a:t>Simply add and remove databases with downtime.</a:t>
          </a:r>
        </a:p>
      </dsp:txBody>
      <dsp:txXfrm>
        <a:off x="7245637" y="2955186"/>
        <a:ext cx="3179114" cy="134871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F183C5-AC65-49CB-82E6-B20C75F9ABEA}">
      <dsp:nvSpPr>
        <dsp:cNvPr id="0" name=""/>
        <dsp:cNvSpPr/>
      </dsp:nvSpPr>
      <dsp:spPr>
        <a:xfrm>
          <a:off x="119856" y="0"/>
          <a:ext cx="4819650" cy="4819650"/>
        </a:xfrm>
        <a:prstGeom prst="diamond">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60F02D-F5B1-4B97-A6CB-E1006EAB7BD5}">
      <dsp:nvSpPr>
        <dsp:cNvPr id="0" name=""/>
        <dsp:cNvSpPr/>
      </dsp:nvSpPr>
      <dsp:spPr>
        <a:xfrm>
          <a:off x="577722" y="457866"/>
          <a:ext cx="1879663" cy="187966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baseline="0"/>
            <a:t>Assessing database utilization patterns.</a:t>
          </a:r>
          <a:endParaRPr lang="en-US" sz="1500" kern="1200"/>
        </a:p>
      </dsp:txBody>
      <dsp:txXfrm>
        <a:off x="669480" y="549624"/>
        <a:ext cx="1696147" cy="1696147"/>
      </dsp:txXfrm>
    </dsp:sp>
    <dsp:sp modelId="{3CE36045-BCCD-4C02-B79C-9DCD5F96BFBE}">
      <dsp:nvSpPr>
        <dsp:cNvPr id="0" name=""/>
        <dsp:cNvSpPr/>
      </dsp:nvSpPr>
      <dsp:spPr>
        <a:xfrm>
          <a:off x="2601975" y="457866"/>
          <a:ext cx="1879663" cy="187966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baseline="0"/>
            <a:t>There are large differences between peak utilization and average utilization per database. </a:t>
          </a:r>
          <a:endParaRPr lang="en-US" sz="1500" kern="1200"/>
        </a:p>
      </dsp:txBody>
      <dsp:txXfrm>
        <a:off x="2693733" y="549624"/>
        <a:ext cx="1696147" cy="1696147"/>
      </dsp:txXfrm>
    </dsp:sp>
    <dsp:sp modelId="{969146FB-B190-4F41-93AF-77E4CD6951AD}">
      <dsp:nvSpPr>
        <dsp:cNvPr id="0" name=""/>
        <dsp:cNvSpPr/>
      </dsp:nvSpPr>
      <dsp:spPr>
        <a:xfrm>
          <a:off x="577722" y="2482119"/>
          <a:ext cx="1879663" cy="187966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baseline="0"/>
            <a:t>The peak utilization for each database occurs at different points in time.</a:t>
          </a:r>
          <a:endParaRPr lang="en-US" sz="1500" kern="1200"/>
        </a:p>
      </dsp:txBody>
      <dsp:txXfrm>
        <a:off x="669480" y="2573877"/>
        <a:ext cx="1696147" cy="1696147"/>
      </dsp:txXfrm>
    </dsp:sp>
    <dsp:sp modelId="{50F8C368-45B1-4DFA-9A9C-7E22E2F79484}">
      <dsp:nvSpPr>
        <dsp:cNvPr id="0" name=""/>
        <dsp:cNvSpPr/>
      </dsp:nvSpPr>
      <dsp:spPr>
        <a:xfrm>
          <a:off x="2601975" y="2482119"/>
          <a:ext cx="1879663" cy="187966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baseline="0"/>
            <a:t>eDTUs are shared between many databases.</a:t>
          </a:r>
          <a:endParaRPr lang="en-US" sz="1500" kern="1200"/>
        </a:p>
      </dsp:txBody>
      <dsp:txXfrm>
        <a:off x="2693733" y="2573877"/>
        <a:ext cx="1696147" cy="1696147"/>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8157BA-BB03-4204-8930-1EF8900026E8}">
      <dsp:nvSpPr>
        <dsp:cNvPr id="0" name=""/>
        <dsp:cNvSpPr/>
      </dsp:nvSpPr>
      <dsp:spPr>
        <a:xfrm>
          <a:off x="321661" y="91703"/>
          <a:ext cx="552629" cy="53117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2B50A89-EFF0-42FA-A913-3977A82D5139}">
      <dsp:nvSpPr>
        <dsp:cNvPr id="0" name=""/>
        <dsp:cNvSpPr/>
      </dsp:nvSpPr>
      <dsp:spPr>
        <a:xfrm>
          <a:off x="12746" y="813290"/>
          <a:ext cx="1578942" cy="6836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kern="1200" dirty="0">
              <a:solidFill>
                <a:srgbClr val="0078D7"/>
              </a:solidFill>
              <a:latin typeface="+mj-lt"/>
            </a:rPr>
            <a:t>Minimum number of databases</a:t>
          </a:r>
        </a:p>
      </dsp:txBody>
      <dsp:txXfrm>
        <a:off x="12746" y="813290"/>
        <a:ext cx="1578942" cy="683601"/>
      </dsp:txXfrm>
    </dsp:sp>
    <dsp:sp modelId="{9B32CE45-B84E-4A1E-9DDD-09FF7F631778}">
      <dsp:nvSpPr>
        <dsp:cNvPr id="0" name=""/>
        <dsp:cNvSpPr/>
      </dsp:nvSpPr>
      <dsp:spPr>
        <a:xfrm>
          <a:off x="12746" y="1585457"/>
          <a:ext cx="1578942" cy="29345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US" sz="1400" kern="1200">
              <a:latin typeface="+mj-lt"/>
            </a:rPr>
            <a:t>The sum of the DTUs of performance levels for single databases is more than 1.5x the </a:t>
          </a:r>
          <a:r>
            <a:rPr lang="en-US" sz="1400" kern="1200" err="1">
              <a:latin typeface="+mj-lt"/>
            </a:rPr>
            <a:t>eDTUs</a:t>
          </a:r>
          <a:r>
            <a:rPr lang="en-US" sz="1400" kern="1200">
              <a:latin typeface="+mj-lt"/>
            </a:rPr>
            <a:t> needed for the pool.</a:t>
          </a:r>
        </a:p>
      </dsp:txBody>
      <dsp:txXfrm>
        <a:off x="12746" y="1585457"/>
        <a:ext cx="1578942" cy="2934525"/>
      </dsp:txXfrm>
    </dsp:sp>
    <dsp:sp modelId="{F0B1679A-D843-4CF6-B00C-32D7E48B79FB}">
      <dsp:nvSpPr>
        <dsp:cNvPr id="0" name=""/>
        <dsp:cNvSpPr/>
      </dsp:nvSpPr>
      <dsp:spPr>
        <a:xfrm>
          <a:off x="2166706" y="91703"/>
          <a:ext cx="552629" cy="53117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04EDCD5-F6F4-4D29-BFBB-9CA95E4273DF}">
      <dsp:nvSpPr>
        <dsp:cNvPr id="0" name=""/>
        <dsp:cNvSpPr/>
      </dsp:nvSpPr>
      <dsp:spPr>
        <a:xfrm>
          <a:off x="1868004" y="813290"/>
          <a:ext cx="1578942" cy="6836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kern="1200" dirty="0">
              <a:solidFill>
                <a:srgbClr val="0078D7"/>
              </a:solidFill>
              <a:latin typeface="+mj-lt"/>
            </a:rPr>
            <a:t>Maximum number of concurrently peaking databases</a:t>
          </a:r>
        </a:p>
      </dsp:txBody>
      <dsp:txXfrm>
        <a:off x="1868004" y="813290"/>
        <a:ext cx="1578942" cy="683601"/>
      </dsp:txXfrm>
    </dsp:sp>
    <dsp:sp modelId="{A64B8581-55F8-44BD-B27F-C104B2A008CD}">
      <dsp:nvSpPr>
        <dsp:cNvPr id="0" name=""/>
        <dsp:cNvSpPr/>
      </dsp:nvSpPr>
      <dsp:spPr>
        <a:xfrm>
          <a:off x="1868004" y="1585457"/>
          <a:ext cx="1578942" cy="29345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US" sz="1400" kern="1200" dirty="0">
              <a:latin typeface="+mj-lt"/>
            </a:rPr>
            <a:t>Not more than 2/3 (or 67%) of the databases in the pool should simultaneously peak to their </a:t>
          </a:r>
          <a:r>
            <a:rPr lang="en-US" sz="1400" kern="1200" dirty="0" err="1">
              <a:latin typeface="+mj-lt"/>
            </a:rPr>
            <a:t>eDTU</a:t>
          </a:r>
          <a:r>
            <a:rPr lang="en-US" sz="1400" kern="1200" dirty="0">
              <a:latin typeface="+mj-lt"/>
            </a:rPr>
            <a:t> limit.</a:t>
          </a:r>
        </a:p>
      </dsp:txBody>
      <dsp:txXfrm>
        <a:off x="1868004" y="1585457"/>
        <a:ext cx="1578942" cy="2934525"/>
      </dsp:txXfrm>
    </dsp:sp>
    <dsp:sp modelId="{B467AF67-3E2B-4303-84F5-F64CBF76E05D}">
      <dsp:nvSpPr>
        <dsp:cNvPr id="0" name=""/>
        <dsp:cNvSpPr/>
      </dsp:nvSpPr>
      <dsp:spPr>
        <a:xfrm>
          <a:off x="4124758" y="91703"/>
          <a:ext cx="552629" cy="53117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928E9B5-5BEA-483D-9645-FA542FD05D43}">
      <dsp:nvSpPr>
        <dsp:cNvPr id="0" name=""/>
        <dsp:cNvSpPr/>
      </dsp:nvSpPr>
      <dsp:spPr>
        <a:xfrm>
          <a:off x="3723262" y="813290"/>
          <a:ext cx="1578942" cy="6836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kern="1200">
              <a:solidFill>
                <a:srgbClr val="0078D7"/>
              </a:solidFill>
              <a:latin typeface="+mj-lt"/>
            </a:rPr>
            <a:t>DTU utilization per database</a:t>
          </a:r>
        </a:p>
      </dsp:txBody>
      <dsp:txXfrm>
        <a:off x="3723262" y="813290"/>
        <a:ext cx="1578942" cy="683601"/>
      </dsp:txXfrm>
    </dsp:sp>
    <dsp:sp modelId="{5CE668D1-D082-43DA-AF33-9563095CD879}">
      <dsp:nvSpPr>
        <dsp:cNvPr id="0" name=""/>
        <dsp:cNvSpPr/>
      </dsp:nvSpPr>
      <dsp:spPr>
        <a:xfrm>
          <a:off x="3723262" y="1585457"/>
          <a:ext cx="1578942" cy="29345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US" sz="1400" kern="1200">
              <a:latin typeface="+mj-lt"/>
            </a:rPr>
            <a:t>A database should be considered for a pool when its peak utilization is about 1.5 times greater than its average utilization.</a:t>
          </a:r>
        </a:p>
      </dsp:txBody>
      <dsp:txXfrm>
        <a:off x="3723262" y="1585457"/>
        <a:ext cx="1578942" cy="2934525"/>
      </dsp:txXfrm>
    </dsp:sp>
    <dsp:sp modelId="{034460A0-160A-4AB2-B461-C7E1CE2F16E7}">
      <dsp:nvSpPr>
        <dsp:cNvPr id="0" name=""/>
        <dsp:cNvSpPr/>
      </dsp:nvSpPr>
      <dsp:spPr>
        <a:xfrm>
          <a:off x="5578519" y="91703"/>
          <a:ext cx="552629" cy="53117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C5483E-9255-4A82-896F-C917AC06ECB8}">
      <dsp:nvSpPr>
        <dsp:cNvPr id="0" name=""/>
        <dsp:cNvSpPr/>
      </dsp:nvSpPr>
      <dsp:spPr>
        <a:xfrm>
          <a:off x="5578519" y="813290"/>
          <a:ext cx="1578942" cy="6836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1" kern="1200" dirty="0">
              <a:solidFill>
                <a:srgbClr val="0078D7"/>
              </a:solidFill>
              <a:latin typeface="Segoe UI Light"/>
              <a:ea typeface="+mn-ea"/>
              <a:cs typeface="+mn-cs"/>
            </a:rPr>
            <a:t>Maximum number of </a:t>
          </a:r>
          <a:r>
            <a:rPr lang="en-US" sz="1400" b="1" kern="1200" dirty="0" err="1">
              <a:solidFill>
                <a:srgbClr val="0078D7"/>
              </a:solidFill>
              <a:latin typeface="Segoe UI Light"/>
              <a:ea typeface="+mn-ea"/>
              <a:cs typeface="+mn-cs"/>
            </a:rPr>
            <a:t>vCores</a:t>
          </a:r>
          <a:endParaRPr lang="en-US" sz="1400" b="1" kern="1200" dirty="0">
            <a:solidFill>
              <a:srgbClr val="0078D7"/>
            </a:solidFill>
            <a:latin typeface="Segoe UI Light"/>
            <a:ea typeface="+mn-ea"/>
            <a:cs typeface="+mn-cs"/>
          </a:endParaRPr>
        </a:p>
      </dsp:txBody>
      <dsp:txXfrm>
        <a:off x="5578519" y="813290"/>
        <a:ext cx="1578942" cy="683601"/>
      </dsp:txXfrm>
    </dsp:sp>
    <dsp:sp modelId="{16273255-3A96-4664-ABF9-5A6F7CF652FD}">
      <dsp:nvSpPr>
        <dsp:cNvPr id="0" name=""/>
        <dsp:cNvSpPr/>
      </dsp:nvSpPr>
      <dsp:spPr>
        <a:xfrm>
          <a:off x="5578519" y="1585457"/>
          <a:ext cx="1578942" cy="29345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US" sz="1400" b="0" kern="1200">
              <a:solidFill>
                <a:schemeClr val="tx1"/>
              </a:solidFill>
              <a:latin typeface="Segoe UI Light"/>
              <a:ea typeface="+mn-ea"/>
              <a:cs typeface="+mn-cs"/>
            </a:rPr>
            <a:t>The maximum number of vCores that any database in the pool may use, if available based on utilization by other databases in the pool.</a:t>
          </a:r>
        </a:p>
        <a:p>
          <a:pPr marL="0" lvl="0" indent="0" algn="l" defTabSz="622300">
            <a:lnSpc>
              <a:spcPct val="100000"/>
            </a:lnSpc>
            <a:spcBef>
              <a:spcPct val="0"/>
            </a:spcBef>
            <a:spcAft>
              <a:spcPct val="35000"/>
            </a:spcAft>
            <a:buNone/>
          </a:pPr>
          <a:r>
            <a:rPr lang="en-US" sz="1400" kern="1200">
              <a:solidFill>
                <a:schemeClr val="tx1"/>
              </a:solidFill>
              <a:latin typeface="+mj-lt"/>
              <a:ea typeface="+mn-ea"/>
              <a:cs typeface="+mn-cs"/>
            </a:rPr>
            <a:t>Set max vCores per database high enough to handle peaks in database utilization. </a:t>
          </a:r>
        </a:p>
      </dsp:txBody>
      <dsp:txXfrm>
        <a:off x="5578519" y="1585457"/>
        <a:ext cx="1578942" cy="2934525"/>
      </dsp:txXfrm>
    </dsp:sp>
    <dsp:sp modelId="{E32AC405-30FD-4041-900D-D2D4EE03B0DA}">
      <dsp:nvSpPr>
        <dsp:cNvPr id="0" name=""/>
        <dsp:cNvSpPr/>
      </dsp:nvSpPr>
      <dsp:spPr>
        <a:xfrm>
          <a:off x="7433777" y="91703"/>
          <a:ext cx="552629" cy="53117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D30791F-C3CC-4D72-8178-FF0C405EC5C8}">
      <dsp:nvSpPr>
        <dsp:cNvPr id="0" name=""/>
        <dsp:cNvSpPr/>
      </dsp:nvSpPr>
      <dsp:spPr>
        <a:xfrm>
          <a:off x="7433777" y="813290"/>
          <a:ext cx="1578942" cy="6836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1" kern="1200">
              <a:solidFill>
                <a:srgbClr val="0078D7"/>
              </a:solidFill>
              <a:latin typeface="Segoe UI Light"/>
              <a:ea typeface="+mn-ea"/>
              <a:cs typeface="+mn-cs"/>
            </a:rPr>
            <a:t>The minimum number of vCores</a:t>
          </a:r>
        </a:p>
      </dsp:txBody>
      <dsp:txXfrm>
        <a:off x="7433777" y="813290"/>
        <a:ext cx="1578942" cy="683601"/>
      </dsp:txXfrm>
    </dsp:sp>
    <dsp:sp modelId="{FB5E316D-0872-4EB5-A970-2528CF0CC74C}">
      <dsp:nvSpPr>
        <dsp:cNvPr id="0" name=""/>
        <dsp:cNvSpPr/>
      </dsp:nvSpPr>
      <dsp:spPr>
        <a:xfrm>
          <a:off x="7433777" y="1585457"/>
          <a:ext cx="1578942" cy="29345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US" sz="1400" b="0" kern="1200">
              <a:solidFill>
                <a:schemeClr val="tx1"/>
              </a:solidFill>
              <a:latin typeface="Segoe UI Light"/>
              <a:ea typeface="+mn-ea"/>
              <a:cs typeface="+mn-cs"/>
            </a:rPr>
            <a:t>The minimum number of vCores that any database in the pool is guaranteed.</a:t>
          </a:r>
        </a:p>
        <a:p>
          <a:pPr marL="0" lvl="0" indent="0" algn="l" defTabSz="622300">
            <a:lnSpc>
              <a:spcPct val="100000"/>
            </a:lnSpc>
            <a:spcBef>
              <a:spcPct val="0"/>
            </a:spcBef>
            <a:spcAft>
              <a:spcPct val="35000"/>
            </a:spcAft>
            <a:buNone/>
          </a:pPr>
          <a:r>
            <a:rPr lang="en-US" sz="1400" kern="1200" dirty="0">
              <a:solidFill>
                <a:schemeClr val="tx1"/>
              </a:solidFill>
              <a:latin typeface="Segoe UI Light"/>
              <a:ea typeface="+mn-ea"/>
              <a:cs typeface="+mn-cs"/>
            </a:rPr>
            <a:t>The product of the number of databases in the pool and the minimum </a:t>
          </a:r>
          <a:r>
            <a:rPr lang="en-US" sz="1400" kern="1200" dirty="0" err="1">
              <a:solidFill>
                <a:schemeClr val="tx1"/>
              </a:solidFill>
              <a:latin typeface="Segoe UI Light"/>
              <a:ea typeface="+mn-ea"/>
              <a:cs typeface="+mn-cs"/>
            </a:rPr>
            <a:t>vCores</a:t>
          </a:r>
          <a:r>
            <a:rPr lang="en-US" sz="1400" kern="1200" dirty="0">
              <a:solidFill>
                <a:schemeClr val="tx1"/>
              </a:solidFill>
              <a:latin typeface="Segoe UI Light"/>
              <a:ea typeface="+mn-ea"/>
              <a:cs typeface="+mn-cs"/>
            </a:rPr>
            <a:t> per database cannot exceed the </a:t>
          </a:r>
          <a:r>
            <a:rPr lang="en-US" sz="1400" kern="1200" dirty="0" err="1">
              <a:solidFill>
                <a:schemeClr val="tx1"/>
              </a:solidFill>
              <a:latin typeface="Segoe UI Light"/>
              <a:ea typeface="+mn-ea"/>
              <a:cs typeface="+mn-cs"/>
            </a:rPr>
            <a:t>vCores</a:t>
          </a:r>
          <a:r>
            <a:rPr lang="en-US" sz="1400" kern="1200" dirty="0">
              <a:solidFill>
                <a:schemeClr val="tx1"/>
              </a:solidFill>
              <a:latin typeface="Segoe UI Light"/>
              <a:ea typeface="+mn-ea"/>
              <a:cs typeface="+mn-cs"/>
            </a:rPr>
            <a:t> per pool.</a:t>
          </a:r>
        </a:p>
      </dsp:txBody>
      <dsp:txXfrm>
        <a:off x="7433777" y="1585457"/>
        <a:ext cx="1578942" cy="2934525"/>
      </dsp:txXfrm>
    </dsp:sp>
    <dsp:sp modelId="{19B96D80-5012-460F-9D39-9C4B4E402FF0}">
      <dsp:nvSpPr>
        <dsp:cNvPr id="0" name=""/>
        <dsp:cNvSpPr/>
      </dsp:nvSpPr>
      <dsp:spPr>
        <a:xfrm>
          <a:off x="9289035" y="91703"/>
          <a:ext cx="552629" cy="531170"/>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09F2A1B-DA2E-4418-A6DE-7DE308BA316D}">
      <dsp:nvSpPr>
        <dsp:cNvPr id="0" name=""/>
        <dsp:cNvSpPr/>
      </dsp:nvSpPr>
      <dsp:spPr>
        <a:xfrm>
          <a:off x="9289035" y="813290"/>
          <a:ext cx="1578942" cy="6836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kern="1200">
              <a:solidFill>
                <a:srgbClr val="0078D7"/>
              </a:solidFill>
              <a:effectLst/>
            </a:rPr>
            <a:t>Max storage per database</a:t>
          </a:r>
          <a:endParaRPr lang="en-US" sz="1400" kern="1200">
            <a:solidFill>
              <a:srgbClr val="0078D7"/>
            </a:solidFill>
            <a:latin typeface="+mj-lt"/>
          </a:endParaRPr>
        </a:p>
      </dsp:txBody>
      <dsp:txXfrm>
        <a:off x="9289035" y="813290"/>
        <a:ext cx="1578942" cy="683601"/>
      </dsp:txXfrm>
    </dsp:sp>
    <dsp:sp modelId="{BF6326F4-8BB3-45DF-8AFD-117DCBBC36D9}">
      <dsp:nvSpPr>
        <dsp:cNvPr id="0" name=""/>
        <dsp:cNvSpPr/>
      </dsp:nvSpPr>
      <dsp:spPr>
        <a:xfrm>
          <a:off x="9289035" y="1585457"/>
          <a:ext cx="1578942" cy="29345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US" sz="1400" b="0" kern="1200">
              <a:solidFill>
                <a:schemeClr val="tx1"/>
              </a:solidFill>
              <a:latin typeface="Segoe UI Light"/>
              <a:ea typeface="+mn-ea"/>
              <a:cs typeface="+mn-cs"/>
            </a:rPr>
            <a:t>The maximum database size set by the user for a database in a pool</a:t>
          </a:r>
          <a:r>
            <a:rPr lang="en-US" sz="1400" b="0" kern="1200">
              <a:solidFill>
                <a:schemeClr val="tx1"/>
              </a:solidFill>
              <a:latin typeface="+mj-lt"/>
            </a:rPr>
            <a:t>.</a:t>
          </a:r>
        </a:p>
        <a:p>
          <a:pPr marL="0" lvl="0" indent="0" algn="l" defTabSz="622300">
            <a:lnSpc>
              <a:spcPct val="100000"/>
            </a:lnSpc>
            <a:spcBef>
              <a:spcPct val="0"/>
            </a:spcBef>
            <a:spcAft>
              <a:spcPct val="35000"/>
            </a:spcAft>
            <a:buNone/>
          </a:pPr>
          <a:r>
            <a:rPr lang="en-US" sz="1400" kern="1200">
              <a:solidFill>
                <a:schemeClr val="tx1"/>
              </a:solidFill>
              <a:latin typeface="+mj-lt"/>
            </a:rPr>
            <a:t>Max database size refers to the maximum size of the data files and does not include the space used by log files.</a:t>
          </a:r>
        </a:p>
      </dsp:txBody>
      <dsp:txXfrm>
        <a:off x="9289035" y="1585457"/>
        <a:ext cx="1578942" cy="2934525"/>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C05C2B-2BFB-43D8-B4D7-0BE1C029A7DB}">
      <dsp:nvSpPr>
        <dsp:cNvPr id="0" name=""/>
        <dsp:cNvSpPr/>
      </dsp:nvSpPr>
      <dsp:spPr>
        <a:xfrm>
          <a:off x="0" y="33554"/>
          <a:ext cx="10880725" cy="669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Create new compute instance for the elastic pool</a:t>
          </a:r>
          <a:endParaRPr lang="en-US" sz="2600" kern="1200"/>
        </a:p>
      </dsp:txBody>
      <dsp:txXfrm>
        <a:off x="32670" y="66224"/>
        <a:ext cx="10815385" cy="603900"/>
      </dsp:txXfrm>
    </dsp:sp>
    <dsp:sp modelId="{F879075C-2938-4224-B163-955871829DC6}">
      <dsp:nvSpPr>
        <dsp:cNvPr id="0" name=""/>
        <dsp:cNvSpPr/>
      </dsp:nvSpPr>
      <dsp:spPr>
        <a:xfrm>
          <a:off x="0" y="702794"/>
          <a:ext cx="10880725" cy="13724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t>A new compute instance for the elastic pool is created with the requested service tier and compute size. </a:t>
          </a:r>
          <a:endParaRPr lang="en-US" sz="2000" kern="1200"/>
        </a:p>
        <a:p>
          <a:pPr marL="228600" lvl="1" indent="-228600" algn="l" defTabSz="889000">
            <a:lnSpc>
              <a:spcPct val="90000"/>
            </a:lnSpc>
            <a:spcBef>
              <a:spcPct val="0"/>
            </a:spcBef>
            <a:spcAft>
              <a:spcPct val="20000"/>
            </a:spcAft>
            <a:buChar char="•"/>
          </a:pPr>
          <a:r>
            <a:rPr lang="en-US" sz="2000" kern="1200" baseline="0"/>
            <a:t>Regardless, the databases remain online during this step, and connections continue to be directed to the databases in the original compute instance.</a:t>
          </a:r>
          <a:endParaRPr lang="en-US" sz="2000" kern="1200"/>
        </a:p>
      </dsp:txBody>
      <dsp:txXfrm>
        <a:off x="0" y="702794"/>
        <a:ext cx="10880725" cy="1372410"/>
      </dsp:txXfrm>
    </dsp:sp>
    <dsp:sp modelId="{296A6A5A-BA3E-4AFA-8A30-B017625F740E}">
      <dsp:nvSpPr>
        <dsp:cNvPr id="0" name=""/>
        <dsp:cNvSpPr/>
      </dsp:nvSpPr>
      <dsp:spPr>
        <a:xfrm>
          <a:off x="0" y="2075205"/>
          <a:ext cx="10880725" cy="669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dirty="0"/>
            <a:t>Switch routing of connections to new compute instance</a:t>
          </a:r>
          <a:endParaRPr lang="en-US" sz="2600" kern="1200" dirty="0"/>
        </a:p>
      </dsp:txBody>
      <dsp:txXfrm>
        <a:off x="32670" y="2107875"/>
        <a:ext cx="10815385" cy="603900"/>
      </dsp:txXfrm>
    </dsp:sp>
    <dsp:sp modelId="{DD755A61-51C2-4D39-86C6-49749FC88524}">
      <dsp:nvSpPr>
        <dsp:cNvPr id="0" name=""/>
        <dsp:cNvSpPr/>
      </dsp:nvSpPr>
      <dsp:spPr>
        <a:xfrm>
          <a:off x="0" y="2744445"/>
          <a:ext cx="10880725" cy="13724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t>Existing connections to the databases in the original compute instance are dropped. </a:t>
          </a:r>
          <a:endParaRPr lang="en-US" sz="2000" kern="1200"/>
        </a:p>
        <a:p>
          <a:pPr marL="228600" lvl="1" indent="-228600" algn="l" defTabSz="889000">
            <a:lnSpc>
              <a:spcPct val="90000"/>
            </a:lnSpc>
            <a:spcBef>
              <a:spcPct val="0"/>
            </a:spcBef>
            <a:spcAft>
              <a:spcPct val="20000"/>
            </a:spcAft>
            <a:buChar char="•"/>
          </a:pPr>
          <a:r>
            <a:rPr lang="en-US" sz="2000" kern="1200" baseline="0"/>
            <a:t>Any new connections are established with the databases in the new compute instance. </a:t>
          </a:r>
          <a:r>
            <a:rPr lang="en-US" sz="2000" kern="1200" baseline="0">
              <a:hlinkClick xmlns:r="http://schemas.openxmlformats.org/officeDocument/2006/relationships" r:id="rId1"/>
            </a:rPr>
            <a:t>Accelerated Database Recovery</a:t>
          </a:r>
          <a:r>
            <a:rPr lang="en-US" sz="2000" kern="1200" baseline="0"/>
            <a:t> can reduce the impact from aborting long running transactions.</a:t>
          </a:r>
          <a:endParaRPr lang="en-US" sz="2000" kern="1200"/>
        </a:p>
      </dsp:txBody>
      <dsp:txXfrm>
        <a:off x="0" y="2744445"/>
        <a:ext cx="10880725" cy="1372410"/>
      </dsp:txXfrm>
    </dsp:sp>
    <dsp:sp modelId="{9B1A8706-B627-4A17-9DDD-784AB8F2BF66}">
      <dsp:nvSpPr>
        <dsp:cNvPr id="0" name=""/>
        <dsp:cNvSpPr/>
      </dsp:nvSpPr>
      <dsp:spPr>
        <a:xfrm>
          <a:off x="0" y="4116855"/>
          <a:ext cx="10880725" cy="669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No data is lost during any step in the workflow</a:t>
          </a:r>
          <a:endParaRPr lang="en-US" sz="2600" kern="1200"/>
        </a:p>
      </dsp:txBody>
      <dsp:txXfrm>
        <a:off x="32670" y="4149525"/>
        <a:ext cx="10815385" cy="6039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46A4A1-3B13-41F3-8516-C9DA3512B242}">
      <dsp:nvSpPr>
        <dsp:cNvPr id="0" name=""/>
        <dsp:cNvSpPr/>
      </dsp:nvSpPr>
      <dsp:spPr>
        <a:xfrm>
          <a:off x="0" y="0"/>
          <a:ext cx="4819650" cy="4819650"/>
        </a:xfrm>
        <a:prstGeom prst="triangl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1C5B6FD-71B4-4A80-B03B-FAC9CB197E54}">
      <dsp:nvSpPr>
        <dsp:cNvPr id="0" name=""/>
        <dsp:cNvSpPr/>
      </dsp:nvSpPr>
      <dsp:spPr>
        <a:xfrm>
          <a:off x="2364153" y="482435"/>
          <a:ext cx="3132772" cy="856617"/>
        </a:xfrm>
        <a:prstGeom prst="round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b="1" kern="1200" baseline="0"/>
            <a:t>Client Layer</a:t>
          </a:r>
          <a:endParaRPr lang="en-US" sz="1400" kern="1200"/>
        </a:p>
        <a:p>
          <a:pPr marL="57150" lvl="1" indent="-57150" algn="l" defTabSz="488950">
            <a:lnSpc>
              <a:spcPct val="90000"/>
            </a:lnSpc>
            <a:spcBef>
              <a:spcPct val="0"/>
            </a:spcBef>
            <a:spcAft>
              <a:spcPct val="15000"/>
            </a:spcAft>
            <a:buChar char="•"/>
          </a:pPr>
          <a:r>
            <a:rPr lang="en-US" sz="1100" kern="1200" baseline="0"/>
            <a:t>Used by the application to communicate directly with Azure SQL Database.</a:t>
          </a:r>
          <a:endParaRPr lang="en-US" sz="1100" kern="1200"/>
        </a:p>
      </dsp:txBody>
      <dsp:txXfrm>
        <a:off x="2405970" y="524252"/>
        <a:ext cx="3049138" cy="772983"/>
      </dsp:txXfrm>
    </dsp:sp>
    <dsp:sp modelId="{9EB0ECC3-CD0D-4D5C-8C64-28DE2A49B07A}">
      <dsp:nvSpPr>
        <dsp:cNvPr id="0" name=""/>
        <dsp:cNvSpPr/>
      </dsp:nvSpPr>
      <dsp:spPr>
        <a:xfrm>
          <a:off x="2364153" y="1446130"/>
          <a:ext cx="3132772" cy="856617"/>
        </a:xfrm>
        <a:prstGeom prst="round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b="1" kern="1200" baseline="0"/>
            <a:t>Services Layer</a:t>
          </a:r>
          <a:endParaRPr lang="en-US" sz="1400" kern="1200"/>
        </a:p>
        <a:p>
          <a:pPr marL="57150" lvl="1" indent="-57150" algn="l" defTabSz="488950">
            <a:lnSpc>
              <a:spcPct val="90000"/>
            </a:lnSpc>
            <a:spcBef>
              <a:spcPct val="0"/>
            </a:spcBef>
            <a:spcAft>
              <a:spcPct val="15000"/>
            </a:spcAft>
            <a:buChar char="•"/>
          </a:pPr>
          <a:r>
            <a:rPr lang="en-US" sz="1100" kern="1200" baseline="0"/>
            <a:t>Gateway between Client Layer and Platform Layer.</a:t>
          </a:r>
          <a:endParaRPr lang="en-US" sz="1100" kern="1200"/>
        </a:p>
      </dsp:txBody>
      <dsp:txXfrm>
        <a:off x="2405970" y="1487947"/>
        <a:ext cx="3049138" cy="772983"/>
      </dsp:txXfrm>
    </dsp:sp>
    <dsp:sp modelId="{EF86107E-7318-42B6-B785-8341D12F42B4}">
      <dsp:nvSpPr>
        <dsp:cNvPr id="0" name=""/>
        <dsp:cNvSpPr/>
      </dsp:nvSpPr>
      <dsp:spPr>
        <a:xfrm>
          <a:off x="2364153" y="2409825"/>
          <a:ext cx="3132772" cy="856617"/>
        </a:xfrm>
        <a:prstGeom prst="round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b="1" kern="1200" baseline="0"/>
            <a:t>Platform Layer</a:t>
          </a:r>
          <a:endParaRPr lang="en-US" sz="1400" kern="1200"/>
        </a:p>
        <a:p>
          <a:pPr marL="57150" lvl="1" indent="-57150" algn="l" defTabSz="488950">
            <a:lnSpc>
              <a:spcPct val="90000"/>
            </a:lnSpc>
            <a:spcBef>
              <a:spcPct val="0"/>
            </a:spcBef>
            <a:spcAft>
              <a:spcPct val="15000"/>
            </a:spcAft>
            <a:buChar char="•"/>
          </a:pPr>
          <a:r>
            <a:rPr lang="en-US" sz="1100" kern="1200" baseline="0"/>
            <a:t>Includes physical servers and services that support the Services Layer.</a:t>
          </a:r>
          <a:endParaRPr lang="en-US" sz="1100" kern="1200"/>
        </a:p>
      </dsp:txBody>
      <dsp:txXfrm>
        <a:off x="2405970" y="2451642"/>
        <a:ext cx="3049138" cy="772983"/>
      </dsp:txXfrm>
    </dsp:sp>
    <dsp:sp modelId="{C0B629A5-D9D1-4DC3-B030-20D0BC4B4328}">
      <dsp:nvSpPr>
        <dsp:cNvPr id="0" name=""/>
        <dsp:cNvSpPr/>
      </dsp:nvSpPr>
      <dsp:spPr>
        <a:xfrm>
          <a:off x="2364153" y="3373519"/>
          <a:ext cx="3132772" cy="856617"/>
        </a:xfrm>
        <a:prstGeom prst="round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b="1" kern="1200" baseline="0"/>
            <a:t>Infrastructure Layer</a:t>
          </a:r>
          <a:endParaRPr lang="en-US" sz="1400" kern="1200"/>
        </a:p>
        <a:p>
          <a:pPr marL="57150" lvl="1" indent="-57150" algn="l" defTabSz="488950">
            <a:lnSpc>
              <a:spcPct val="90000"/>
            </a:lnSpc>
            <a:spcBef>
              <a:spcPct val="0"/>
            </a:spcBef>
            <a:spcAft>
              <a:spcPct val="15000"/>
            </a:spcAft>
            <a:buChar char="•"/>
          </a:pPr>
          <a:r>
            <a:rPr lang="en-US" sz="1100" kern="1200" baseline="0"/>
            <a:t>IT administration of the physical hardware and operating system.</a:t>
          </a:r>
          <a:endParaRPr lang="en-US" sz="1100" kern="1200"/>
        </a:p>
      </dsp:txBody>
      <dsp:txXfrm>
        <a:off x="2405970" y="3415336"/>
        <a:ext cx="3049138" cy="772983"/>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84274E-40BA-41B2-BA8B-1FB6649C5E6D}">
      <dsp:nvSpPr>
        <dsp:cNvPr id="0" name=""/>
        <dsp:cNvSpPr/>
      </dsp:nvSpPr>
      <dsp:spPr>
        <a:xfrm>
          <a:off x="1277226" y="265960"/>
          <a:ext cx="1078110" cy="107811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B1F1C5-990D-4B11-8F2C-FF671DBFF2D0}">
      <dsp:nvSpPr>
        <dsp:cNvPr id="0" name=""/>
        <dsp:cNvSpPr/>
      </dsp:nvSpPr>
      <dsp:spPr>
        <a:xfrm>
          <a:off x="618381" y="1379254"/>
          <a:ext cx="2395800" cy="31744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r>
            <a:rPr lang="en-US" sz="1400" b="1" i="0" kern="1200"/>
            <a:t>Cost of under utilization: </a:t>
          </a:r>
          <a:r>
            <a:rPr lang="en-US" sz="1400" b="0" i="0" kern="1200"/>
            <a:t>When rescaling </a:t>
          </a:r>
          <a:r>
            <a:rPr lang="en-US" sz="1400" b="0" i="0" kern="1200" err="1"/>
            <a:t>vCores</a:t>
          </a:r>
          <a:r>
            <a:rPr lang="en-US" sz="1400" b="0" i="0" kern="1200"/>
            <a:t> or </a:t>
          </a:r>
          <a:r>
            <a:rPr lang="en-US" sz="1400" b="0" i="0" kern="1200" err="1"/>
            <a:t>eDTUs</a:t>
          </a:r>
          <a:r>
            <a:rPr lang="en-US" sz="1400" b="0" i="0" kern="1200"/>
            <a:t> for an elastic pool, an extra storage cost applies if (1) the storage max size of the pool is supported by the target pool, and (2) the storage max size exceeds the included storage amount of the target pool. </a:t>
          </a:r>
          <a:endParaRPr lang="en-US" sz="1400" kern="1200"/>
        </a:p>
      </dsp:txBody>
      <dsp:txXfrm>
        <a:off x="618381" y="1379254"/>
        <a:ext cx="2395800" cy="3174434"/>
      </dsp:txXfrm>
    </dsp:sp>
    <dsp:sp modelId="{95DE08DA-D117-4C16-8516-19E291E2CA12}">
      <dsp:nvSpPr>
        <dsp:cNvPr id="0" name=""/>
        <dsp:cNvSpPr/>
      </dsp:nvSpPr>
      <dsp:spPr>
        <a:xfrm>
          <a:off x="3988026" y="265960"/>
          <a:ext cx="1078110" cy="107811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497A23-723F-4E1F-99A5-C6C95BE88CE5}">
      <dsp:nvSpPr>
        <dsp:cNvPr id="0" name=""/>
        <dsp:cNvSpPr/>
      </dsp:nvSpPr>
      <dsp:spPr>
        <a:xfrm>
          <a:off x="3329181" y="1379254"/>
          <a:ext cx="2395800" cy="31744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100000"/>
            </a:lnSpc>
            <a:spcBef>
              <a:spcPct val="0"/>
            </a:spcBef>
            <a:spcAft>
              <a:spcPct val="35000"/>
            </a:spcAft>
            <a:buNone/>
          </a:pPr>
          <a:r>
            <a:rPr lang="en-US" sz="1500" b="1" kern="1200"/>
            <a:t>Usage History</a:t>
          </a:r>
          <a:r>
            <a:rPr lang="en-US" sz="1500" kern="1200"/>
            <a:t>: Azure DB evaluates historical resource usage.</a:t>
          </a:r>
        </a:p>
      </dsp:txBody>
      <dsp:txXfrm>
        <a:off x="3329181" y="1379254"/>
        <a:ext cx="2395800" cy="3174434"/>
      </dsp:txXfrm>
    </dsp:sp>
    <dsp:sp modelId="{AAAD062E-02D2-451E-A07E-391A81DA3730}">
      <dsp:nvSpPr>
        <dsp:cNvPr id="0" name=""/>
        <dsp:cNvSpPr/>
      </dsp:nvSpPr>
      <dsp:spPr>
        <a:xfrm>
          <a:off x="6698826" y="265960"/>
          <a:ext cx="1078110" cy="107811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6497B6-C11E-48D4-9461-8B2686C31192}">
      <dsp:nvSpPr>
        <dsp:cNvPr id="0" name=""/>
        <dsp:cNvSpPr/>
      </dsp:nvSpPr>
      <dsp:spPr>
        <a:xfrm>
          <a:off x="6039981" y="1379254"/>
          <a:ext cx="2395800" cy="31744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r>
            <a:rPr lang="en-US" sz="1400" b="1" i="0" kern="1200"/>
            <a:t>Billing Size</a:t>
          </a:r>
          <a:r>
            <a:rPr lang="en-US" sz="1400" b="0" i="0" kern="1200"/>
            <a:t>: You are billed for each hour a database exists using the highest service tier + compute size that applied during that hour, regardless of usage or whether the database was active for less than an hour.</a:t>
          </a:r>
          <a:endParaRPr lang="en-US" sz="1400" kern="1200"/>
        </a:p>
      </dsp:txBody>
      <dsp:txXfrm>
        <a:off x="6039981" y="1379254"/>
        <a:ext cx="2395800" cy="3174434"/>
      </dsp:txXfrm>
    </dsp:sp>
    <dsp:sp modelId="{397DF4D7-6917-4668-B6CA-4F8824F1E7B0}">
      <dsp:nvSpPr>
        <dsp:cNvPr id="0" name=""/>
        <dsp:cNvSpPr/>
      </dsp:nvSpPr>
      <dsp:spPr>
        <a:xfrm>
          <a:off x="9409626" y="265960"/>
          <a:ext cx="1078110" cy="107811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2429306-74A9-4FB9-B9E8-A3C842557C83}">
      <dsp:nvSpPr>
        <dsp:cNvPr id="0" name=""/>
        <dsp:cNvSpPr/>
      </dsp:nvSpPr>
      <dsp:spPr>
        <a:xfrm>
          <a:off x="8750781" y="1379254"/>
          <a:ext cx="2395800" cy="31744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r>
            <a:rPr lang="en-US" sz="1400" b="1" i="0" kern="1200"/>
            <a:t>Storage Max Size</a:t>
          </a:r>
          <a:r>
            <a:rPr lang="en-US" sz="1400" b="0" i="0" kern="1200"/>
            <a:t>: When downsizing vCores or </a:t>
          </a:r>
          <a:r>
            <a:rPr lang="en-US" sz="1400" b="0" i="0" kern="1200" err="1"/>
            <a:t>eDTUs</a:t>
          </a:r>
          <a:r>
            <a:rPr lang="en-US" sz="1400" b="0" i="0" kern="1200"/>
            <a:t> for an elastic pool, the pool used space must be smaller than the maximum allowed size of the target service tier and pool </a:t>
          </a:r>
          <a:r>
            <a:rPr lang="en-US" sz="1400" b="0" i="0" kern="1200" err="1"/>
            <a:t>eDTUs</a:t>
          </a:r>
          <a:r>
            <a:rPr lang="en-US" sz="1400" b="0" i="0" kern="1200"/>
            <a:t>.</a:t>
          </a:r>
          <a:endParaRPr lang="en-US" sz="1400" kern="1200"/>
        </a:p>
      </dsp:txBody>
      <dsp:txXfrm>
        <a:off x="8750781" y="1379254"/>
        <a:ext cx="2395800" cy="3174434"/>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601F1E-64D4-4E08-A0B5-61CC2CD91CC8}">
      <dsp:nvSpPr>
        <dsp:cNvPr id="0" name=""/>
        <dsp:cNvSpPr/>
      </dsp:nvSpPr>
      <dsp:spPr>
        <a:xfrm>
          <a:off x="0" y="67484"/>
          <a:ext cx="10880726" cy="5662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vCore-based purchasing model</a:t>
          </a:r>
          <a:endParaRPr lang="en-US" sz="2200" kern="1200"/>
        </a:p>
      </dsp:txBody>
      <dsp:txXfrm>
        <a:off x="27644" y="95128"/>
        <a:ext cx="10825438" cy="510992"/>
      </dsp:txXfrm>
    </dsp:sp>
    <dsp:sp modelId="{8308E666-D572-47FF-A7F3-AF87F26598D2}">
      <dsp:nvSpPr>
        <dsp:cNvPr id="0" name=""/>
        <dsp:cNvSpPr/>
      </dsp:nvSpPr>
      <dsp:spPr>
        <a:xfrm>
          <a:off x="0" y="633764"/>
          <a:ext cx="10880726" cy="2049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a:t>Storage can be provisioned up to the max size limit:</a:t>
          </a:r>
        </a:p>
        <a:p>
          <a:pPr marL="342900" lvl="2" indent="-171450" algn="l" defTabSz="755650">
            <a:lnSpc>
              <a:spcPct val="90000"/>
            </a:lnSpc>
            <a:spcBef>
              <a:spcPct val="0"/>
            </a:spcBef>
            <a:spcAft>
              <a:spcPct val="20000"/>
            </a:spcAft>
            <a:buChar char="•"/>
          </a:pPr>
          <a:r>
            <a:rPr lang="en-US" sz="1700" kern="1200"/>
            <a:t>For storage in the standard or general-purpose service tiers, increase or decrease size in 10GB increments.</a:t>
          </a:r>
        </a:p>
        <a:p>
          <a:pPr marL="342900" lvl="2" indent="-171450" algn="l" defTabSz="755650">
            <a:lnSpc>
              <a:spcPct val="90000"/>
            </a:lnSpc>
            <a:spcBef>
              <a:spcPct val="0"/>
            </a:spcBef>
            <a:spcAft>
              <a:spcPct val="20000"/>
            </a:spcAft>
            <a:buChar char="•"/>
          </a:pPr>
          <a:r>
            <a:rPr lang="en-US" sz="1700" kern="1200"/>
            <a:t>For storage in the premium or business critical service tiers, increase or decrease size in 250GB increments.</a:t>
          </a:r>
        </a:p>
        <a:p>
          <a:pPr marL="171450" lvl="1" indent="-171450" algn="l" defTabSz="755650">
            <a:lnSpc>
              <a:spcPct val="90000"/>
            </a:lnSpc>
            <a:spcBef>
              <a:spcPct val="0"/>
            </a:spcBef>
            <a:spcAft>
              <a:spcPct val="20000"/>
            </a:spcAft>
            <a:buChar char="•"/>
          </a:pPr>
          <a:r>
            <a:rPr lang="en-US" sz="1700" kern="1200"/>
            <a:t>The price of storage for an elastic pool is the storage amount multiplied by the storage unit price of the service tier.</a:t>
          </a:r>
        </a:p>
      </dsp:txBody>
      <dsp:txXfrm>
        <a:off x="0" y="633764"/>
        <a:ext cx="10880726" cy="2049300"/>
      </dsp:txXfrm>
    </dsp:sp>
    <dsp:sp modelId="{04A36839-F08C-4766-95B7-2EE2DAC8EEB8}">
      <dsp:nvSpPr>
        <dsp:cNvPr id="0" name=""/>
        <dsp:cNvSpPr/>
      </dsp:nvSpPr>
      <dsp:spPr>
        <a:xfrm>
          <a:off x="0" y="2683065"/>
          <a:ext cx="10880726" cy="5662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DTU-based purchasing model</a:t>
          </a:r>
          <a:endParaRPr lang="en-US" sz="2200" kern="1200"/>
        </a:p>
      </dsp:txBody>
      <dsp:txXfrm>
        <a:off x="27644" y="2710709"/>
        <a:ext cx="10825438" cy="510992"/>
      </dsp:txXfrm>
    </dsp:sp>
    <dsp:sp modelId="{EAE25A8A-9888-432B-8B75-D7C90E7DB6F3}">
      <dsp:nvSpPr>
        <dsp:cNvPr id="0" name=""/>
        <dsp:cNvSpPr/>
      </dsp:nvSpPr>
      <dsp:spPr>
        <a:xfrm>
          <a:off x="0" y="3249345"/>
          <a:ext cx="10880726" cy="1502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a:t>The eDTU price for an elastic pool includes a certain amount of storage at no additional cost. </a:t>
          </a:r>
        </a:p>
        <a:p>
          <a:pPr marL="171450" lvl="1" indent="-171450" algn="l" defTabSz="755650">
            <a:lnSpc>
              <a:spcPct val="90000"/>
            </a:lnSpc>
            <a:spcBef>
              <a:spcPct val="0"/>
            </a:spcBef>
            <a:spcAft>
              <a:spcPct val="20000"/>
            </a:spcAft>
            <a:buChar char="•"/>
          </a:pPr>
          <a:r>
            <a:rPr lang="en-US" sz="1700" kern="1200"/>
            <a:t>Extra storage beyond the included amount can be provisioned for an additional cost up to the max size limit in increments of 250 GB up to 1 TB, and then in increments of 256 GB beyond 1 TB. </a:t>
          </a:r>
        </a:p>
        <a:p>
          <a:pPr marL="171450" lvl="1" indent="-171450" algn="l" defTabSz="755650">
            <a:lnSpc>
              <a:spcPct val="90000"/>
            </a:lnSpc>
            <a:spcBef>
              <a:spcPct val="0"/>
            </a:spcBef>
            <a:spcAft>
              <a:spcPct val="20000"/>
            </a:spcAft>
            <a:buChar char="•"/>
          </a:pPr>
          <a:r>
            <a:rPr lang="en-US" sz="1700" kern="1200"/>
            <a:t>The price of extra storage for an elastic pool is the extra storage amount multiplied by the extra storage unit price of the service tier.</a:t>
          </a:r>
        </a:p>
      </dsp:txBody>
      <dsp:txXfrm>
        <a:off x="0" y="3249345"/>
        <a:ext cx="10880726" cy="1502820"/>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98403"/>
          <a:ext cx="10880725" cy="6692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What is a SQL Elastic Pool?</a:t>
          </a:r>
        </a:p>
      </dsp:txBody>
      <dsp:txXfrm>
        <a:off x="32670" y="231073"/>
        <a:ext cx="10815385" cy="603900"/>
      </dsp:txXfrm>
    </dsp:sp>
    <dsp:sp modelId="{4A71D5C7-A7D6-46CE-B888-CF65241F6B98}">
      <dsp:nvSpPr>
        <dsp:cNvPr id="0" name=""/>
        <dsp:cNvSpPr/>
      </dsp:nvSpPr>
      <dsp:spPr>
        <a:xfrm>
          <a:off x="0" y="942523"/>
          <a:ext cx="10880725" cy="6692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When should you consider an elastic pool instead of a single database?</a:t>
          </a:r>
        </a:p>
      </dsp:txBody>
      <dsp:txXfrm>
        <a:off x="32670" y="975193"/>
        <a:ext cx="10815385" cy="603900"/>
      </dsp:txXfrm>
    </dsp:sp>
    <dsp:sp modelId="{4CE6D622-6C4B-4912-A756-057BDFDF7259}">
      <dsp:nvSpPr>
        <dsp:cNvPr id="0" name=""/>
        <dsp:cNvSpPr/>
      </dsp:nvSpPr>
      <dsp:spPr>
        <a:xfrm>
          <a:off x="0" y="1686643"/>
          <a:ext cx="10880725" cy="6692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Which tools can help you to size your elastic pool?</a:t>
          </a:r>
        </a:p>
      </dsp:txBody>
      <dsp:txXfrm>
        <a:off x="32670" y="1719313"/>
        <a:ext cx="10815385" cy="603900"/>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818FE0-D172-4953-8726-750424952633}">
      <dsp:nvSpPr>
        <dsp:cNvPr id="0" name=""/>
        <dsp:cNvSpPr/>
      </dsp:nvSpPr>
      <dsp:spPr>
        <a:xfrm>
          <a:off x="3395" y="15407"/>
          <a:ext cx="3310245" cy="425590"/>
        </a:xfrm>
        <a:prstGeom prst="rect">
          <a:avLst/>
        </a:prstGeom>
        <a:solidFill>
          <a:srgbClr val="0078D7"/>
        </a:solidFill>
        <a:ln w="10795" cap="flat" cmpd="sng" algn="ctr">
          <a:solidFill>
            <a:srgbClr val="00205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Font typeface="Arial" pitchFamily="34" charset="0"/>
            <a:buNone/>
          </a:pPr>
          <a:r>
            <a:rPr lang="nl-BE" sz="1800" b="1" kern="1200">
              <a:solidFill>
                <a:srgbClr val="FFFFFF"/>
              </a:solidFill>
              <a:latin typeface="Segoe UI"/>
              <a:ea typeface="+mn-ea"/>
              <a:cs typeface="+mn-cs"/>
            </a:rPr>
            <a:t>Azure SQL Datababase</a:t>
          </a:r>
          <a:endParaRPr lang="en-US" sz="1800" kern="1200">
            <a:solidFill>
              <a:srgbClr val="FFFFFF"/>
            </a:solidFill>
            <a:latin typeface="Segoe UI"/>
            <a:ea typeface="+mn-ea"/>
            <a:cs typeface="+mn-cs"/>
          </a:endParaRPr>
        </a:p>
      </dsp:txBody>
      <dsp:txXfrm>
        <a:off x="3395" y="15407"/>
        <a:ext cx="3310245" cy="425590"/>
      </dsp:txXfrm>
    </dsp:sp>
    <dsp:sp modelId="{A511AEF9-D7A0-4C38-8ACF-8D6B5E3E39C7}">
      <dsp:nvSpPr>
        <dsp:cNvPr id="0" name=""/>
        <dsp:cNvSpPr/>
      </dsp:nvSpPr>
      <dsp:spPr>
        <a:xfrm>
          <a:off x="3395" y="413854"/>
          <a:ext cx="3310245" cy="4390388"/>
        </a:xfrm>
        <a:prstGeom prst="rect">
          <a:avLst/>
        </a:prstGeom>
        <a:solidFill>
          <a:srgbClr val="002050">
            <a:lumMod val="10000"/>
            <a:lumOff val="90000"/>
          </a:srgbClr>
        </a:solidFill>
        <a:ln w="9525" cap="flat" cmpd="sng" algn="ctr">
          <a:solidFill>
            <a:srgbClr val="0078D7"/>
          </a:solidFill>
          <a:prstDash val="solid"/>
          <a:miter lim="800000"/>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solidFill>
                <a:srgbClr val="505050"/>
              </a:solidFill>
              <a:latin typeface="Segoe UI"/>
              <a:ea typeface="+mn-ea"/>
              <a:cs typeface="+mn-cs"/>
            </a:rPr>
            <a:t>New cloud-designed applications that want to use the latest stable SQL Server features and have time constraints in development and marketing.</a:t>
          </a:r>
          <a:endParaRPr lang="nl-BE"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endParaRPr lang="nl-BE"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a:solidFill>
                <a:srgbClr val="505050"/>
              </a:solidFill>
              <a:latin typeface="Segoe UI"/>
              <a:ea typeface="+mn-ea"/>
              <a:cs typeface="+mn-cs"/>
            </a:rPr>
            <a:t>Teams that need built-in high availability, disaster recovery, and upgrade for the database.</a:t>
          </a:r>
        </a:p>
        <a:p>
          <a:pPr marL="114300" lvl="1" indent="-114300" algn="l" defTabSz="622300">
            <a:lnSpc>
              <a:spcPct val="90000"/>
            </a:lnSpc>
            <a:spcBef>
              <a:spcPct val="0"/>
            </a:spcBef>
            <a:spcAft>
              <a:spcPct val="15000"/>
            </a:spcAft>
            <a:buChar char="•"/>
          </a:pPr>
          <a:endParaRPr lang="en-US"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a:solidFill>
                <a:srgbClr val="505050"/>
              </a:solidFill>
              <a:latin typeface="Segoe UI"/>
              <a:ea typeface="+mn-ea"/>
              <a:cs typeface="+mn-cs"/>
            </a:rPr>
            <a:t>Teams that do not want to manage the underlying operating system and configuration settings.</a:t>
          </a:r>
        </a:p>
        <a:p>
          <a:pPr marL="114300" lvl="1" indent="-114300" algn="l" defTabSz="622300">
            <a:lnSpc>
              <a:spcPct val="90000"/>
            </a:lnSpc>
            <a:spcBef>
              <a:spcPct val="0"/>
            </a:spcBef>
            <a:spcAft>
              <a:spcPct val="15000"/>
            </a:spcAft>
            <a:buChar char="•"/>
          </a:pPr>
          <a:endParaRPr lang="en-US"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a:solidFill>
                <a:srgbClr val="505050"/>
              </a:solidFill>
              <a:latin typeface="Segoe UI"/>
              <a:ea typeface="+mn-ea"/>
              <a:cs typeface="+mn-cs"/>
            </a:rPr>
            <a:t>Databases of up to 4 TB, or larger databases that can be horizontally or vertically partitioned using a scale-out pattern.</a:t>
          </a:r>
        </a:p>
      </dsp:txBody>
      <dsp:txXfrm>
        <a:off x="3395" y="413854"/>
        <a:ext cx="3310245" cy="4390388"/>
      </dsp:txXfrm>
    </dsp:sp>
    <dsp:sp modelId="{AA30D338-E269-431D-A98C-C0A93B715B27}">
      <dsp:nvSpPr>
        <dsp:cNvPr id="0" name=""/>
        <dsp:cNvSpPr/>
      </dsp:nvSpPr>
      <dsp:spPr>
        <a:xfrm>
          <a:off x="3777075" y="28979"/>
          <a:ext cx="3310245" cy="425590"/>
        </a:xfrm>
        <a:prstGeom prst="rect">
          <a:avLst/>
        </a:prstGeom>
        <a:solidFill>
          <a:srgbClr val="0078D7"/>
        </a:solidFill>
        <a:ln w="10795" cap="flat" cmpd="sng" algn="ctr">
          <a:solidFill>
            <a:srgbClr val="00205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nl-BE" sz="1800" b="1" kern="1200">
              <a:solidFill>
                <a:srgbClr val="FFFFFF"/>
              </a:solidFill>
              <a:latin typeface="Segoe UI"/>
              <a:ea typeface="+mn-ea"/>
              <a:cs typeface="+mn-cs"/>
            </a:rPr>
            <a:t>Managed Instance</a:t>
          </a:r>
          <a:endParaRPr lang="en-US" sz="1800" kern="1200">
            <a:solidFill>
              <a:srgbClr val="FFFFFF"/>
            </a:solidFill>
            <a:latin typeface="Segoe UI"/>
            <a:ea typeface="+mn-ea"/>
            <a:cs typeface="+mn-cs"/>
          </a:endParaRPr>
        </a:p>
      </dsp:txBody>
      <dsp:txXfrm>
        <a:off x="3777075" y="28979"/>
        <a:ext cx="3310245" cy="425590"/>
      </dsp:txXfrm>
    </dsp:sp>
    <dsp:sp modelId="{F3A57436-5AA8-434C-BF63-BEA0FFE33A10}">
      <dsp:nvSpPr>
        <dsp:cNvPr id="0" name=""/>
        <dsp:cNvSpPr/>
      </dsp:nvSpPr>
      <dsp:spPr>
        <a:xfrm>
          <a:off x="3777075" y="454570"/>
          <a:ext cx="3310245" cy="4336100"/>
        </a:xfrm>
        <a:prstGeom prst="rect">
          <a:avLst/>
        </a:prstGeom>
        <a:solidFill>
          <a:srgbClr val="002050">
            <a:lumMod val="10000"/>
            <a:lumOff val="90000"/>
          </a:srgbClr>
        </a:solidFill>
        <a:ln w="9525" cap="flat" cmpd="sng" algn="ctr">
          <a:solidFill>
            <a:srgbClr val="0078D7"/>
          </a:solidFill>
          <a:prstDash val="solid"/>
          <a:miter lim="800000"/>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solidFill>
                <a:srgbClr val="505050"/>
              </a:solidFill>
              <a:latin typeface="Segoe UI"/>
              <a:ea typeface="+mn-ea"/>
              <a:cs typeface="+mn-cs"/>
            </a:rPr>
            <a:t>New applications or existing on-premises applications that want to use the latest stable SQL Server features and that are migrated to the cloud with minimal changes.</a:t>
          </a:r>
          <a:endParaRPr lang="nl-BE"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endParaRPr lang="nl-BE"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a:solidFill>
                <a:srgbClr val="505050"/>
              </a:solidFill>
              <a:latin typeface="Segoe UI"/>
              <a:ea typeface="+mn-ea"/>
              <a:cs typeface="+mn-cs"/>
            </a:rPr>
            <a:t>Teams that need built-in high availability, disaster recovery, and upgrade for the database.</a:t>
          </a:r>
        </a:p>
        <a:p>
          <a:pPr marL="114300" lvl="1" indent="-114300" algn="l" defTabSz="622300">
            <a:lnSpc>
              <a:spcPct val="90000"/>
            </a:lnSpc>
            <a:spcBef>
              <a:spcPct val="0"/>
            </a:spcBef>
            <a:spcAft>
              <a:spcPct val="15000"/>
            </a:spcAft>
            <a:buChar char="•"/>
          </a:pPr>
          <a:endParaRPr lang="en-US"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a:solidFill>
                <a:srgbClr val="505050"/>
              </a:solidFill>
              <a:latin typeface="Segoe UI"/>
              <a:ea typeface="+mn-ea"/>
              <a:cs typeface="+mn-cs"/>
            </a:rPr>
            <a:t>Teams that do not want to manage the underlying operating system and configuration settings.</a:t>
          </a:r>
        </a:p>
        <a:p>
          <a:pPr marL="114300" lvl="1" indent="-114300" algn="l" defTabSz="622300">
            <a:lnSpc>
              <a:spcPct val="90000"/>
            </a:lnSpc>
            <a:spcBef>
              <a:spcPct val="0"/>
            </a:spcBef>
            <a:spcAft>
              <a:spcPct val="15000"/>
            </a:spcAft>
            <a:buChar char="•"/>
          </a:pPr>
          <a:endParaRPr lang="en-US"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a:solidFill>
                <a:srgbClr val="505050"/>
              </a:solidFill>
              <a:latin typeface="Segoe UI"/>
              <a:ea typeface="+mn-ea"/>
              <a:cs typeface="+mn-cs"/>
            </a:rPr>
            <a:t>Databases of up to 8 TB, or larger databases that can be horizontally or vertically partitioned using a scale-out pattern.</a:t>
          </a:r>
        </a:p>
      </dsp:txBody>
      <dsp:txXfrm>
        <a:off x="3777075" y="454570"/>
        <a:ext cx="3310245" cy="4336100"/>
      </dsp:txXfrm>
    </dsp:sp>
    <dsp:sp modelId="{1F8F0832-1AE0-40E2-8924-9C2A95024651}">
      <dsp:nvSpPr>
        <dsp:cNvPr id="0" name=""/>
        <dsp:cNvSpPr/>
      </dsp:nvSpPr>
      <dsp:spPr>
        <a:xfrm>
          <a:off x="7550755" y="28979"/>
          <a:ext cx="3310245" cy="425590"/>
        </a:xfrm>
        <a:prstGeom prst="rect">
          <a:avLst/>
        </a:prstGeom>
        <a:solidFill>
          <a:srgbClr val="0078D7"/>
        </a:solidFill>
        <a:ln w="10795" cap="flat" cmpd="sng" algn="ctr">
          <a:solidFill>
            <a:srgbClr val="00205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Font typeface="Arial" pitchFamily="34" charset="0"/>
            <a:buNone/>
          </a:pPr>
          <a:r>
            <a:rPr lang="nl-BE" sz="1800" b="1" kern="1200">
              <a:solidFill>
                <a:srgbClr val="FFFFFF"/>
              </a:solidFill>
              <a:latin typeface="Segoe UI"/>
              <a:ea typeface="+mn-ea"/>
              <a:cs typeface="+mn-cs"/>
            </a:rPr>
            <a:t>SQL Server in Azure VM</a:t>
          </a:r>
          <a:endParaRPr lang="en-US" sz="1800" kern="1200">
            <a:solidFill>
              <a:srgbClr val="FFFFFF"/>
            </a:solidFill>
            <a:latin typeface="Segoe UI"/>
            <a:ea typeface="+mn-ea"/>
            <a:cs typeface="+mn-cs"/>
          </a:endParaRPr>
        </a:p>
      </dsp:txBody>
      <dsp:txXfrm>
        <a:off x="7550755" y="28979"/>
        <a:ext cx="3310245" cy="425590"/>
      </dsp:txXfrm>
    </dsp:sp>
    <dsp:sp modelId="{94309A4C-139D-4902-A141-1F93CFEEDB13}">
      <dsp:nvSpPr>
        <dsp:cNvPr id="0" name=""/>
        <dsp:cNvSpPr/>
      </dsp:nvSpPr>
      <dsp:spPr>
        <a:xfrm>
          <a:off x="7550755" y="454570"/>
          <a:ext cx="3310245" cy="4336100"/>
        </a:xfrm>
        <a:prstGeom prst="rect">
          <a:avLst/>
        </a:prstGeom>
        <a:solidFill>
          <a:srgbClr val="002050">
            <a:lumMod val="10000"/>
            <a:lumOff val="90000"/>
          </a:srgbClr>
        </a:solidFill>
        <a:ln w="9525" cap="flat" cmpd="sng" algn="ctr">
          <a:solidFill>
            <a:srgbClr val="0078D7"/>
          </a:solidFill>
          <a:prstDash val="solid"/>
          <a:miter lim="800000"/>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solidFill>
                <a:srgbClr val="505050"/>
              </a:solidFill>
              <a:latin typeface="Segoe UI"/>
              <a:ea typeface="+mn-ea"/>
              <a:cs typeface="+mn-cs"/>
            </a:rPr>
            <a:t>Existing applications that require fast migration to the cloud with minimal changes or no changes.</a:t>
          </a:r>
          <a:endParaRPr lang="nl-BE"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endParaRPr lang="nl-BE"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a:solidFill>
                <a:srgbClr val="505050"/>
              </a:solidFill>
              <a:latin typeface="Segoe UI"/>
              <a:ea typeface="+mn-ea"/>
              <a:cs typeface="+mn-cs"/>
            </a:rPr>
            <a:t>Teams that can configure, fine tune, customize, and manage high availability, disaster recovery, and patching for SQL Server.</a:t>
          </a:r>
        </a:p>
        <a:p>
          <a:pPr marL="114300" lvl="1" indent="-114300" algn="l" defTabSz="622300">
            <a:lnSpc>
              <a:spcPct val="90000"/>
            </a:lnSpc>
            <a:spcBef>
              <a:spcPct val="0"/>
            </a:spcBef>
            <a:spcAft>
              <a:spcPct val="15000"/>
            </a:spcAft>
            <a:buChar char="•"/>
          </a:pPr>
          <a:endParaRPr lang="en-US"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a:solidFill>
                <a:srgbClr val="505050"/>
              </a:solidFill>
              <a:latin typeface="Segoe UI"/>
              <a:ea typeface="+mn-ea"/>
              <a:cs typeface="+mn-cs"/>
            </a:rPr>
            <a:t>You need a customized environment with full administrative rights.</a:t>
          </a:r>
        </a:p>
        <a:p>
          <a:pPr marL="114300" lvl="1" indent="-114300" algn="l" defTabSz="622300">
            <a:lnSpc>
              <a:spcPct val="90000"/>
            </a:lnSpc>
            <a:spcBef>
              <a:spcPct val="0"/>
            </a:spcBef>
            <a:spcAft>
              <a:spcPct val="15000"/>
            </a:spcAft>
            <a:buChar char="•"/>
          </a:pPr>
          <a:endParaRPr lang="en-US"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a:solidFill>
                <a:srgbClr val="505050"/>
              </a:solidFill>
              <a:latin typeface="Segoe UI"/>
              <a:ea typeface="+mn-ea"/>
              <a:cs typeface="+mn-cs"/>
            </a:rPr>
            <a:t>SQL Server instances with up to 64 TB of storage. The instance can support as many databases as needed.</a:t>
          </a:r>
        </a:p>
      </dsp:txBody>
      <dsp:txXfrm>
        <a:off x="7550755" y="454570"/>
        <a:ext cx="3310245" cy="4336100"/>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9B2ECB-DA9F-4380-B6C1-C8247DDC7B83}">
      <dsp:nvSpPr>
        <dsp:cNvPr id="0" name=""/>
        <dsp:cNvSpPr/>
      </dsp:nvSpPr>
      <dsp:spPr>
        <a:xfrm>
          <a:off x="2067337" y="1267560"/>
          <a:ext cx="1305686" cy="130568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BCA3B221-BAC1-48F1-BDB3-B3279402CAF5}">
      <dsp:nvSpPr>
        <dsp:cNvPr id="0" name=""/>
        <dsp:cNvSpPr/>
      </dsp:nvSpPr>
      <dsp:spPr>
        <a:xfrm>
          <a:off x="1904126" y="292952"/>
          <a:ext cx="1632108" cy="88908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en-US" sz="1400" kern="1200" baseline="0"/>
            <a:t>Built for application developers.</a:t>
          </a:r>
          <a:endParaRPr lang="en-US" sz="1400" kern="1200"/>
        </a:p>
      </dsp:txBody>
      <dsp:txXfrm>
        <a:off x="1904126" y="292952"/>
        <a:ext cx="1632108" cy="889086"/>
      </dsp:txXfrm>
    </dsp:sp>
    <dsp:sp modelId="{0E4C8EC0-20D0-464A-9AC9-3868331D0E45}">
      <dsp:nvSpPr>
        <dsp:cNvPr id="0" name=""/>
        <dsp:cNvSpPr/>
      </dsp:nvSpPr>
      <dsp:spPr>
        <a:xfrm>
          <a:off x="2491141" y="1512271"/>
          <a:ext cx="1305686" cy="130568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6B346B73-EE2B-4B14-A562-591534C44539}">
      <dsp:nvSpPr>
        <dsp:cNvPr id="0" name=""/>
        <dsp:cNvSpPr/>
      </dsp:nvSpPr>
      <dsp:spPr>
        <a:xfrm>
          <a:off x="3893667" y="1139701"/>
          <a:ext cx="1546694" cy="97376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en-US" sz="1400" kern="1200" baseline="0"/>
            <a:t>Gives developers more time to innovate.</a:t>
          </a:r>
          <a:endParaRPr lang="en-US" sz="1400" kern="1200"/>
        </a:p>
      </dsp:txBody>
      <dsp:txXfrm>
        <a:off x="3893667" y="1139701"/>
        <a:ext cx="1546694" cy="973761"/>
      </dsp:txXfrm>
    </dsp:sp>
    <dsp:sp modelId="{A3B2AF77-B093-4F6E-8578-5AEA213FB23F}">
      <dsp:nvSpPr>
        <dsp:cNvPr id="0" name=""/>
        <dsp:cNvSpPr/>
      </dsp:nvSpPr>
      <dsp:spPr>
        <a:xfrm>
          <a:off x="2491141" y="2001692"/>
          <a:ext cx="1305686" cy="130568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9CC508BD-E84B-45DF-93EB-B4DC2DFF0826}">
      <dsp:nvSpPr>
        <dsp:cNvPr id="0" name=""/>
        <dsp:cNvSpPr/>
      </dsp:nvSpPr>
      <dsp:spPr>
        <a:xfrm>
          <a:off x="3893667" y="2591876"/>
          <a:ext cx="1546694" cy="108807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en-US" sz="1400" kern="1200" baseline="0"/>
            <a:t>Accelerates time to market.</a:t>
          </a:r>
          <a:endParaRPr lang="en-US" sz="1400" kern="1200"/>
        </a:p>
      </dsp:txBody>
      <dsp:txXfrm>
        <a:off x="3893667" y="2591876"/>
        <a:ext cx="1546694" cy="1088072"/>
      </dsp:txXfrm>
    </dsp:sp>
    <dsp:sp modelId="{4FAE0030-7471-4D1B-BBCD-B9FF66953C00}">
      <dsp:nvSpPr>
        <dsp:cNvPr id="0" name=""/>
        <dsp:cNvSpPr/>
      </dsp:nvSpPr>
      <dsp:spPr>
        <a:xfrm>
          <a:off x="2067337" y="2246825"/>
          <a:ext cx="1305686" cy="130568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F14CE8CC-A972-47B1-A8B2-17288BA76DCD}">
      <dsp:nvSpPr>
        <dsp:cNvPr id="0" name=""/>
        <dsp:cNvSpPr/>
      </dsp:nvSpPr>
      <dsp:spPr>
        <a:xfrm>
          <a:off x="1904126" y="3637610"/>
          <a:ext cx="1632108" cy="88908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en-US" sz="1400" kern="1200" baseline="0"/>
            <a:t>Maximizes performance, reliability, </a:t>
          </a:r>
          <a:br>
            <a:rPr lang="en-US" sz="1400" kern="1200" baseline="0"/>
          </a:br>
          <a:r>
            <a:rPr lang="en-US" sz="1400" kern="1200" baseline="0"/>
            <a:t>and data protection.</a:t>
          </a:r>
          <a:endParaRPr lang="en-US" sz="1400" kern="1200"/>
        </a:p>
      </dsp:txBody>
      <dsp:txXfrm>
        <a:off x="1904126" y="3637610"/>
        <a:ext cx="1632108" cy="889086"/>
      </dsp:txXfrm>
    </dsp:sp>
    <dsp:sp modelId="{E26C5603-6849-4CD6-9721-E1FF3339BABB}">
      <dsp:nvSpPr>
        <dsp:cNvPr id="0" name=""/>
        <dsp:cNvSpPr/>
      </dsp:nvSpPr>
      <dsp:spPr>
        <a:xfrm>
          <a:off x="1643533" y="2001692"/>
          <a:ext cx="1305686" cy="130568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0184C26E-DEFA-43A7-A6D3-B57852FE9DE6}">
      <dsp:nvSpPr>
        <dsp:cNvPr id="0" name=""/>
        <dsp:cNvSpPr/>
      </dsp:nvSpPr>
      <dsp:spPr>
        <a:xfrm>
          <a:off x="0" y="2591876"/>
          <a:ext cx="1546694" cy="108807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en-US" sz="1400" kern="1200" baseline="0"/>
            <a:t>Allows developers to use the languages and platforms they prefer.</a:t>
          </a:r>
          <a:endParaRPr lang="en-US" sz="1400" kern="1200"/>
        </a:p>
      </dsp:txBody>
      <dsp:txXfrm>
        <a:off x="0" y="2591876"/>
        <a:ext cx="1546694" cy="1088072"/>
      </dsp:txXfrm>
    </dsp:sp>
    <dsp:sp modelId="{A0305347-6D67-4F28-AECE-7C81457453BD}">
      <dsp:nvSpPr>
        <dsp:cNvPr id="0" name=""/>
        <dsp:cNvSpPr/>
      </dsp:nvSpPr>
      <dsp:spPr>
        <a:xfrm>
          <a:off x="1643533" y="1512271"/>
          <a:ext cx="1305686" cy="130568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EEAE3DE0-2C70-4F6E-BBB6-B02D8B182A7F}">
      <dsp:nvSpPr>
        <dsp:cNvPr id="0" name=""/>
        <dsp:cNvSpPr/>
      </dsp:nvSpPr>
      <dsp:spPr>
        <a:xfrm>
          <a:off x="0" y="1139701"/>
          <a:ext cx="1546694" cy="108807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en-US" sz="1400" kern="1200" baseline="0"/>
            <a:t>Everything built-in</a:t>
          </a:r>
          <a:endParaRPr lang="en-US" sz="1400" kern="1200"/>
        </a:p>
      </dsp:txBody>
      <dsp:txXfrm>
        <a:off x="0" y="1139701"/>
        <a:ext cx="1546694" cy="1088072"/>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558B34-56F0-4AE9-938F-6A875C9760BC}">
      <dsp:nvSpPr>
        <dsp:cNvPr id="0" name=""/>
        <dsp:cNvSpPr/>
      </dsp:nvSpPr>
      <dsp:spPr>
        <a:xfrm rot="10800000">
          <a:off x="1208674" y="1730"/>
          <a:ext cx="4026868" cy="777553"/>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880" tIns="76200" rIns="142240" bIns="76200" numCol="1" spcCol="1270" anchor="ctr" anchorCtr="0">
          <a:noAutofit/>
        </a:bodyPr>
        <a:lstStyle/>
        <a:p>
          <a:pPr marL="0" lvl="0" indent="0" algn="ctr" defTabSz="889000">
            <a:lnSpc>
              <a:spcPct val="90000"/>
            </a:lnSpc>
            <a:spcBef>
              <a:spcPct val="0"/>
            </a:spcBef>
            <a:spcAft>
              <a:spcPct val="35000"/>
            </a:spcAft>
            <a:buFont typeface="Arial" panose="020B0604020202020204" pitchFamily="34" charset="0"/>
            <a:buNone/>
          </a:pPr>
          <a:r>
            <a:rPr lang="en-US" sz="2000" kern="1200">
              <a:solidFill>
                <a:srgbClr val="0078D3"/>
              </a:solidFill>
              <a:latin typeface="Segoe UI"/>
              <a:ea typeface="+mn-ea"/>
              <a:cs typeface="+mn-cs"/>
            </a:rPr>
            <a:t>Business continuity </a:t>
          </a:r>
        </a:p>
      </dsp:txBody>
      <dsp:txXfrm rot="10800000">
        <a:off x="1403062" y="1730"/>
        <a:ext cx="3832480" cy="777553"/>
      </dsp:txXfrm>
    </dsp:sp>
    <dsp:sp modelId="{8EEAA515-DE0C-417B-8AE4-56602B493D00}">
      <dsp:nvSpPr>
        <dsp:cNvPr id="0" name=""/>
        <dsp:cNvSpPr/>
      </dsp:nvSpPr>
      <dsp:spPr>
        <a:xfrm>
          <a:off x="819897" y="1730"/>
          <a:ext cx="777553" cy="777553"/>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E738CB01-13DB-4673-BB33-5142B8BB692D}">
      <dsp:nvSpPr>
        <dsp:cNvPr id="0" name=""/>
        <dsp:cNvSpPr/>
      </dsp:nvSpPr>
      <dsp:spPr>
        <a:xfrm rot="10800000">
          <a:off x="1208674" y="1011389"/>
          <a:ext cx="4026868" cy="777553"/>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880" tIns="76200" rIns="14224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78D3"/>
              </a:solidFill>
              <a:latin typeface="Segoe UI"/>
              <a:ea typeface="+mn-ea"/>
              <a:cs typeface="+mn-cs"/>
            </a:rPr>
            <a:t>High availability </a:t>
          </a:r>
        </a:p>
      </dsp:txBody>
      <dsp:txXfrm rot="10800000">
        <a:off x="1403062" y="1011389"/>
        <a:ext cx="3832480" cy="777553"/>
      </dsp:txXfrm>
    </dsp:sp>
    <dsp:sp modelId="{4A12C7A2-7C5B-44F1-88C3-4EEA634CA834}">
      <dsp:nvSpPr>
        <dsp:cNvPr id="0" name=""/>
        <dsp:cNvSpPr/>
      </dsp:nvSpPr>
      <dsp:spPr>
        <a:xfrm>
          <a:off x="819897" y="1011389"/>
          <a:ext cx="777553" cy="777553"/>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B61A8F8F-F8EE-400D-B6FB-2BF6EA3BC225}">
      <dsp:nvSpPr>
        <dsp:cNvPr id="0" name=""/>
        <dsp:cNvSpPr/>
      </dsp:nvSpPr>
      <dsp:spPr>
        <a:xfrm rot="10800000">
          <a:off x="1208674" y="2021048"/>
          <a:ext cx="4026868" cy="777553"/>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880" tIns="76200" rIns="14224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78D3"/>
              </a:solidFill>
              <a:latin typeface="Segoe UI"/>
              <a:ea typeface="+mn-ea"/>
              <a:cs typeface="+mn-cs"/>
            </a:rPr>
            <a:t>Automated backups </a:t>
          </a:r>
        </a:p>
      </dsp:txBody>
      <dsp:txXfrm rot="10800000">
        <a:off x="1403062" y="2021048"/>
        <a:ext cx="3832480" cy="777553"/>
      </dsp:txXfrm>
    </dsp:sp>
    <dsp:sp modelId="{9CEB58F9-6F20-40EF-869C-20B55C6975EE}">
      <dsp:nvSpPr>
        <dsp:cNvPr id="0" name=""/>
        <dsp:cNvSpPr/>
      </dsp:nvSpPr>
      <dsp:spPr>
        <a:xfrm>
          <a:off x="819897" y="2021048"/>
          <a:ext cx="777553" cy="777553"/>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ED289B2B-CBE0-4D1C-8055-BD37702479D1}">
      <dsp:nvSpPr>
        <dsp:cNvPr id="0" name=""/>
        <dsp:cNvSpPr/>
      </dsp:nvSpPr>
      <dsp:spPr>
        <a:xfrm rot="10800000">
          <a:off x="1208674" y="3030707"/>
          <a:ext cx="4026868" cy="777553"/>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880" tIns="76200" rIns="14224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78D3"/>
              </a:solidFill>
              <a:latin typeface="Segoe UI"/>
              <a:ea typeface="+mn-ea"/>
              <a:cs typeface="+mn-cs"/>
            </a:rPr>
            <a:t>Long term backup retention </a:t>
          </a:r>
        </a:p>
      </dsp:txBody>
      <dsp:txXfrm rot="10800000">
        <a:off x="1403062" y="3030707"/>
        <a:ext cx="3832480" cy="777553"/>
      </dsp:txXfrm>
    </dsp:sp>
    <dsp:sp modelId="{790088CC-BB50-4647-A65A-E2F6D2F42614}">
      <dsp:nvSpPr>
        <dsp:cNvPr id="0" name=""/>
        <dsp:cNvSpPr/>
      </dsp:nvSpPr>
      <dsp:spPr>
        <a:xfrm>
          <a:off x="819897" y="3030707"/>
          <a:ext cx="777553" cy="777553"/>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8F8F3DF7-1027-47EB-A83F-EA03403DB111}">
      <dsp:nvSpPr>
        <dsp:cNvPr id="0" name=""/>
        <dsp:cNvSpPr/>
      </dsp:nvSpPr>
      <dsp:spPr>
        <a:xfrm rot="10800000">
          <a:off x="1208674" y="4040366"/>
          <a:ext cx="4026868" cy="777553"/>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880" tIns="76200" rIns="14224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78D3"/>
              </a:solidFill>
              <a:latin typeface="Segoe UI"/>
              <a:ea typeface="+mn-ea"/>
              <a:cs typeface="+mn-cs"/>
            </a:rPr>
            <a:t>Geo-replication</a:t>
          </a:r>
        </a:p>
      </dsp:txBody>
      <dsp:txXfrm rot="10800000">
        <a:off x="1403062" y="4040366"/>
        <a:ext cx="3832480" cy="777553"/>
      </dsp:txXfrm>
    </dsp:sp>
    <dsp:sp modelId="{1BC10206-5201-4D05-8BB8-F32DCCB8A736}">
      <dsp:nvSpPr>
        <dsp:cNvPr id="0" name=""/>
        <dsp:cNvSpPr/>
      </dsp:nvSpPr>
      <dsp:spPr>
        <a:xfrm>
          <a:off x="819897" y="4040366"/>
          <a:ext cx="777553" cy="777553"/>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558B34-56F0-4AE9-938F-6A875C9760BC}">
      <dsp:nvSpPr>
        <dsp:cNvPr id="0" name=""/>
        <dsp:cNvSpPr/>
      </dsp:nvSpPr>
      <dsp:spPr>
        <a:xfrm rot="10800000">
          <a:off x="1161335" y="2782"/>
          <a:ext cx="3839259" cy="777213"/>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730" tIns="83820" rIns="156464" bIns="83820" numCol="1" spcCol="1270" anchor="ctr" anchorCtr="0">
          <a:noAutofit/>
        </a:bodyPr>
        <a:lstStyle/>
        <a:p>
          <a:pPr marL="0" lvl="0" indent="0" algn="ctr" defTabSz="977900">
            <a:lnSpc>
              <a:spcPct val="90000"/>
            </a:lnSpc>
            <a:spcBef>
              <a:spcPct val="0"/>
            </a:spcBef>
            <a:spcAft>
              <a:spcPct val="35000"/>
            </a:spcAft>
            <a:buFont typeface="Arial" panose="020B0604020202020204" pitchFamily="34" charset="0"/>
            <a:buNone/>
          </a:pPr>
          <a:r>
            <a:rPr lang="en-US" sz="2200" kern="1200">
              <a:solidFill>
                <a:srgbClr val="0078D3"/>
              </a:solidFill>
              <a:latin typeface="Segoe UI"/>
              <a:ea typeface="+mn-ea"/>
              <a:cs typeface="+mn-cs"/>
            </a:rPr>
            <a:t>Scale </a:t>
          </a:r>
        </a:p>
      </dsp:txBody>
      <dsp:txXfrm rot="10800000">
        <a:off x="1355638" y="2782"/>
        <a:ext cx="3644956" cy="777213"/>
      </dsp:txXfrm>
    </dsp:sp>
    <dsp:sp modelId="{8EEAA515-DE0C-417B-8AE4-56602B493D00}">
      <dsp:nvSpPr>
        <dsp:cNvPr id="0" name=""/>
        <dsp:cNvSpPr/>
      </dsp:nvSpPr>
      <dsp:spPr>
        <a:xfrm>
          <a:off x="772728" y="2782"/>
          <a:ext cx="777213" cy="777213"/>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FB6994A9-E245-4ABF-9030-99F23660AF0D}">
      <dsp:nvSpPr>
        <dsp:cNvPr id="0" name=""/>
        <dsp:cNvSpPr/>
      </dsp:nvSpPr>
      <dsp:spPr>
        <a:xfrm rot="10800000">
          <a:off x="1161335" y="1012000"/>
          <a:ext cx="3839259" cy="777213"/>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730" tIns="83820" rIns="156464" bIns="83820" numCol="1" spcCol="1270" anchor="ctr" anchorCtr="0">
          <a:noAutofit/>
        </a:bodyPr>
        <a:lstStyle/>
        <a:p>
          <a:pPr marL="0" lvl="0" indent="0" algn="ctr" defTabSz="977900">
            <a:lnSpc>
              <a:spcPct val="90000"/>
            </a:lnSpc>
            <a:spcBef>
              <a:spcPct val="0"/>
            </a:spcBef>
            <a:spcAft>
              <a:spcPct val="35000"/>
            </a:spcAft>
            <a:buNone/>
          </a:pPr>
          <a:r>
            <a:rPr lang="en-US" sz="2200" kern="1200">
              <a:solidFill>
                <a:srgbClr val="0078D3"/>
              </a:solidFill>
              <a:latin typeface="Segoe UI"/>
              <a:ea typeface="+mn-ea"/>
              <a:cs typeface="+mn-cs"/>
            </a:rPr>
            <a:t>Advanced security </a:t>
          </a:r>
        </a:p>
      </dsp:txBody>
      <dsp:txXfrm rot="10800000">
        <a:off x="1355638" y="1012000"/>
        <a:ext cx="3644956" cy="777213"/>
      </dsp:txXfrm>
    </dsp:sp>
    <dsp:sp modelId="{57467DF1-65E3-4D4B-9DC9-5B6E7524E660}">
      <dsp:nvSpPr>
        <dsp:cNvPr id="0" name=""/>
        <dsp:cNvSpPr/>
      </dsp:nvSpPr>
      <dsp:spPr>
        <a:xfrm>
          <a:off x="772728" y="1012000"/>
          <a:ext cx="777213" cy="777213"/>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A3AC942A-802A-45B5-884A-20C804D0F3E0}">
      <dsp:nvSpPr>
        <dsp:cNvPr id="0" name=""/>
        <dsp:cNvSpPr/>
      </dsp:nvSpPr>
      <dsp:spPr>
        <a:xfrm rot="10800000">
          <a:off x="1161335" y="2021218"/>
          <a:ext cx="3839259" cy="777213"/>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730" tIns="83820" rIns="156464" bIns="83820" numCol="1" spcCol="1270" anchor="ctr" anchorCtr="0">
          <a:noAutofit/>
        </a:bodyPr>
        <a:lstStyle/>
        <a:p>
          <a:pPr marL="0" lvl="0" indent="0" algn="ctr" defTabSz="977900">
            <a:lnSpc>
              <a:spcPct val="90000"/>
            </a:lnSpc>
            <a:spcBef>
              <a:spcPct val="0"/>
            </a:spcBef>
            <a:spcAft>
              <a:spcPct val="35000"/>
            </a:spcAft>
            <a:buNone/>
          </a:pPr>
          <a:r>
            <a:rPr lang="en-US" sz="2200" kern="1200">
              <a:solidFill>
                <a:srgbClr val="0078D3"/>
              </a:solidFill>
              <a:latin typeface="Segoe UI"/>
              <a:ea typeface="+mn-ea"/>
              <a:cs typeface="+mn-cs"/>
            </a:rPr>
            <a:t>Automatic tuning </a:t>
          </a:r>
        </a:p>
      </dsp:txBody>
      <dsp:txXfrm rot="10800000">
        <a:off x="1355638" y="2021218"/>
        <a:ext cx="3644956" cy="777213"/>
      </dsp:txXfrm>
    </dsp:sp>
    <dsp:sp modelId="{601BFC33-FE3A-4BDE-88FE-493B6E1B6FB3}">
      <dsp:nvSpPr>
        <dsp:cNvPr id="0" name=""/>
        <dsp:cNvSpPr/>
      </dsp:nvSpPr>
      <dsp:spPr>
        <a:xfrm>
          <a:off x="772728" y="2021218"/>
          <a:ext cx="777213" cy="777213"/>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B401C2C9-567B-48BC-B477-898F0A169C0B}">
      <dsp:nvSpPr>
        <dsp:cNvPr id="0" name=""/>
        <dsp:cNvSpPr/>
      </dsp:nvSpPr>
      <dsp:spPr>
        <a:xfrm rot="10800000">
          <a:off x="1161335" y="3030436"/>
          <a:ext cx="3839259" cy="777213"/>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730" tIns="83820" rIns="156464" bIns="83820" numCol="1" spcCol="1270" anchor="ctr" anchorCtr="0">
          <a:noAutofit/>
        </a:bodyPr>
        <a:lstStyle/>
        <a:p>
          <a:pPr marL="0" lvl="0" indent="0" algn="ctr" defTabSz="977900">
            <a:lnSpc>
              <a:spcPct val="90000"/>
            </a:lnSpc>
            <a:spcBef>
              <a:spcPct val="0"/>
            </a:spcBef>
            <a:spcAft>
              <a:spcPct val="35000"/>
            </a:spcAft>
            <a:buNone/>
          </a:pPr>
          <a:r>
            <a:rPr lang="en-US" sz="2200" kern="1200">
              <a:solidFill>
                <a:srgbClr val="0078D3"/>
              </a:solidFill>
              <a:latin typeface="Segoe UI"/>
              <a:ea typeface="+mn-ea"/>
              <a:cs typeface="+mn-cs"/>
            </a:rPr>
            <a:t>Built-in monitoring </a:t>
          </a:r>
        </a:p>
      </dsp:txBody>
      <dsp:txXfrm rot="10800000">
        <a:off x="1355638" y="3030436"/>
        <a:ext cx="3644956" cy="777213"/>
      </dsp:txXfrm>
    </dsp:sp>
    <dsp:sp modelId="{6039329E-4295-499A-B0FF-8DFA17283B09}">
      <dsp:nvSpPr>
        <dsp:cNvPr id="0" name=""/>
        <dsp:cNvSpPr/>
      </dsp:nvSpPr>
      <dsp:spPr>
        <a:xfrm>
          <a:off x="772728" y="3030436"/>
          <a:ext cx="777213" cy="777213"/>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FD7CE52F-A999-4391-8104-68A25F268DDA}">
      <dsp:nvSpPr>
        <dsp:cNvPr id="0" name=""/>
        <dsp:cNvSpPr/>
      </dsp:nvSpPr>
      <dsp:spPr>
        <a:xfrm rot="10800000">
          <a:off x="1161335" y="4039654"/>
          <a:ext cx="3839259" cy="777213"/>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730" tIns="83820" rIns="156464" bIns="83820" numCol="1" spcCol="1270" anchor="ctr" anchorCtr="0">
          <a:noAutofit/>
        </a:bodyPr>
        <a:lstStyle/>
        <a:p>
          <a:pPr marL="0" lvl="0" indent="0" algn="ctr" defTabSz="977900">
            <a:lnSpc>
              <a:spcPct val="90000"/>
            </a:lnSpc>
            <a:spcBef>
              <a:spcPct val="0"/>
            </a:spcBef>
            <a:spcAft>
              <a:spcPct val="35000"/>
            </a:spcAft>
            <a:buNone/>
          </a:pPr>
          <a:r>
            <a:rPr lang="en-US" sz="2200" kern="1200">
              <a:solidFill>
                <a:srgbClr val="0078D3"/>
              </a:solidFill>
              <a:latin typeface="Segoe UI"/>
              <a:ea typeface="+mn-ea"/>
              <a:cs typeface="+mn-cs"/>
            </a:rPr>
            <a:t>Built-in intelligence </a:t>
          </a:r>
        </a:p>
      </dsp:txBody>
      <dsp:txXfrm rot="10800000">
        <a:off x="1355638" y="4039654"/>
        <a:ext cx="3644956" cy="777213"/>
      </dsp:txXfrm>
    </dsp:sp>
    <dsp:sp modelId="{E76C1DF1-CC82-4F91-972B-D91FC56976CE}">
      <dsp:nvSpPr>
        <dsp:cNvPr id="0" name=""/>
        <dsp:cNvSpPr/>
      </dsp:nvSpPr>
      <dsp:spPr>
        <a:xfrm>
          <a:off x="772728" y="4039654"/>
          <a:ext cx="777213" cy="777213"/>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558B34-56F0-4AE9-938F-6A875C9760BC}">
      <dsp:nvSpPr>
        <dsp:cNvPr id="0" name=""/>
        <dsp:cNvSpPr/>
      </dsp:nvSpPr>
      <dsp:spPr>
        <a:xfrm rot="10800000">
          <a:off x="1248993" y="1699"/>
          <a:ext cx="4186930" cy="777563"/>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884" tIns="80010" rIns="149352" bIns="80010" numCol="1" spcCol="1270" anchor="ctr" anchorCtr="0">
          <a:noAutofit/>
        </a:bodyPr>
        <a:lstStyle/>
        <a:p>
          <a:pPr marL="0" lvl="0" indent="0" algn="ctr" defTabSz="933450">
            <a:lnSpc>
              <a:spcPct val="90000"/>
            </a:lnSpc>
            <a:spcBef>
              <a:spcPct val="0"/>
            </a:spcBef>
            <a:spcAft>
              <a:spcPct val="35000"/>
            </a:spcAft>
            <a:buFont typeface="Arial" panose="020B0604020202020204" pitchFamily="34" charset="0"/>
            <a:buNone/>
          </a:pPr>
          <a:r>
            <a:rPr lang="en-US" sz="2100" kern="1200">
              <a:solidFill>
                <a:srgbClr val="0078D3"/>
              </a:solidFill>
              <a:latin typeface="Segoe UI"/>
              <a:ea typeface="+mn-ea"/>
              <a:cs typeface="+mn-cs"/>
            </a:rPr>
            <a:t>Business continuity </a:t>
          </a:r>
        </a:p>
      </dsp:txBody>
      <dsp:txXfrm rot="10800000">
        <a:off x="1443384" y="1699"/>
        <a:ext cx="3992539" cy="777563"/>
      </dsp:txXfrm>
    </dsp:sp>
    <dsp:sp modelId="{8EEAA515-DE0C-417B-8AE4-56602B493D00}">
      <dsp:nvSpPr>
        <dsp:cNvPr id="0" name=""/>
        <dsp:cNvSpPr/>
      </dsp:nvSpPr>
      <dsp:spPr>
        <a:xfrm>
          <a:off x="860211" y="1699"/>
          <a:ext cx="777563" cy="777563"/>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E738CB01-13DB-4673-BB33-5142B8BB692D}">
      <dsp:nvSpPr>
        <dsp:cNvPr id="0" name=""/>
        <dsp:cNvSpPr/>
      </dsp:nvSpPr>
      <dsp:spPr>
        <a:xfrm rot="10800000">
          <a:off x="1248993" y="1011371"/>
          <a:ext cx="4186930" cy="777563"/>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884" tIns="80010" rIns="149352" bIns="80010" numCol="1" spcCol="1270" anchor="ctr" anchorCtr="0">
          <a:noAutofit/>
        </a:bodyPr>
        <a:lstStyle/>
        <a:p>
          <a:pPr marL="0" lvl="0" indent="0" algn="ctr" defTabSz="933450">
            <a:lnSpc>
              <a:spcPct val="90000"/>
            </a:lnSpc>
            <a:spcBef>
              <a:spcPct val="0"/>
            </a:spcBef>
            <a:spcAft>
              <a:spcPct val="35000"/>
            </a:spcAft>
            <a:buNone/>
          </a:pPr>
          <a:r>
            <a:rPr lang="en-US" sz="2100" kern="1200">
              <a:solidFill>
                <a:srgbClr val="0078D3"/>
              </a:solidFill>
              <a:latin typeface="Segoe UI"/>
              <a:ea typeface="+mn-ea"/>
              <a:cs typeface="+mn-cs"/>
            </a:rPr>
            <a:t>High availability </a:t>
          </a:r>
        </a:p>
      </dsp:txBody>
      <dsp:txXfrm rot="10800000">
        <a:off x="1443384" y="1011371"/>
        <a:ext cx="3992539" cy="777563"/>
      </dsp:txXfrm>
    </dsp:sp>
    <dsp:sp modelId="{4A12C7A2-7C5B-44F1-88C3-4EEA634CA834}">
      <dsp:nvSpPr>
        <dsp:cNvPr id="0" name=""/>
        <dsp:cNvSpPr/>
      </dsp:nvSpPr>
      <dsp:spPr>
        <a:xfrm>
          <a:off x="860211" y="1011371"/>
          <a:ext cx="777563" cy="777563"/>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B61A8F8F-F8EE-400D-B6FB-2BF6EA3BC225}">
      <dsp:nvSpPr>
        <dsp:cNvPr id="0" name=""/>
        <dsp:cNvSpPr/>
      </dsp:nvSpPr>
      <dsp:spPr>
        <a:xfrm rot="10800000">
          <a:off x="1248993" y="2021043"/>
          <a:ext cx="4186930" cy="777563"/>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884" tIns="80010" rIns="149352" bIns="80010" numCol="1" spcCol="1270" anchor="ctr" anchorCtr="0">
          <a:noAutofit/>
        </a:bodyPr>
        <a:lstStyle/>
        <a:p>
          <a:pPr marL="0" lvl="0" indent="0" algn="ctr" defTabSz="933450">
            <a:lnSpc>
              <a:spcPct val="90000"/>
            </a:lnSpc>
            <a:spcBef>
              <a:spcPct val="0"/>
            </a:spcBef>
            <a:spcAft>
              <a:spcPct val="35000"/>
            </a:spcAft>
            <a:buNone/>
          </a:pPr>
          <a:r>
            <a:rPr lang="en-US" sz="2100" kern="1200">
              <a:solidFill>
                <a:srgbClr val="0078D3"/>
              </a:solidFill>
              <a:latin typeface="Segoe UI"/>
              <a:ea typeface="+mn-ea"/>
              <a:cs typeface="+mn-cs"/>
            </a:rPr>
            <a:t>Automated backups </a:t>
          </a:r>
        </a:p>
      </dsp:txBody>
      <dsp:txXfrm rot="10800000">
        <a:off x="1443384" y="2021043"/>
        <a:ext cx="3992539" cy="777563"/>
      </dsp:txXfrm>
    </dsp:sp>
    <dsp:sp modelId="{9CEB58F9-6F20-40EF-869C-20B55C6975EE}">
      <dsp:nvSpPr>
        <dsp:cNvPr id="0" name=""/>
        <dsp:cNvSpPr/>
      </dsp:nvSpPr>
      <dsp:spPr>
        <a:xfrm>
          <a:off x="860211" y="2021043"/>
          <a:ext cx="777563" cy="777563"/>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ED289B2B-CBE0-4D1C-8055-BD37702479D1}">
      <dsp:nvSpPr>
        <dsp:cNvPr id="0" name=""/>
        <dsp:cNvSpPr/>
      </dsp:nvSpPr>
      <dsp:spPr>
        <a:xfrm rot="10800000">
          <a:off x="1248993" y="3030715"/>
          <a:ext cx="4186930" cy="777563"/>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884" tIns="80010" rIns="149352" bIns="80010" numCol="1" spcCol="1270" anchor="ctr" anchorCtr="0">
          <a:noAutofit/>
        </a:bodyPr>
        <a:lstStyle/>
        <a:p>
          <a:pPr marL="0" lvl="0" indent="0" algn="ctr" defTabSz="933450">
            <a:lnSpc>
              <a:spcPct val="90000"/>
            </a:lnSpc>
            <a:spcBef>
              <a:spcPct val="0"/>
            </a:spcBef>
            <a:spcAft>
              <a:spcPct val="35000"/>
            </a:spcAft>
            <a:buNone/>
          </a:pPr>
          <a:r>
            <a:rPr lang="en-US" sz="2100" kern="1200">
              <a:solidFill>
                <a:srgbClr val="0078D3"/>
              </a:solidFill>
              <a:latin typeface="Segoe UI"/>
              <a:ea typeface="+mn-ea"/>
              <a:cs typeface="+mn-cs"/>
            </a:rPr>
            <a:t>Long term backup retention </a:t>
          </a:r>
        </a:p>
      </dsp:txBody>
      <dsp:txXfrm rot="10800000">
        <a:off x="1443384" y="3030715"/>
        <a:ext cx="3992539" cy="777563"/>
      </dsp:txXfrm>
    </dsp:sp>
    <dsp:sp modelId="{790088CC-BB50-4647-A65A-E2F6D2F42614}">
      <dsp:nvSpPr>
        <dsp:cNvPr id="0" name=""/>
        <dsp:cNvSpPr/>
      </dsp:nvSpPr>
      <dsp:spPr>
        <a:xfrm>
          <a:off x="860211" y="3030715"/>
          <a:ext cx="777563" cy="777563"/>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8F8F3DF7-1027-47EB-A83F-EA03403DB111}">
      <dsp:nvSpPr>
        <dsp:cNvPr id="0" name=""/>
        <dsp:cNvSpPr/>
      </dsp:nvSpPr>
      <dsp:spPr>
        <a:xfrm rot="10800000">
          <a:off x="1248993" y="4040387"/>
          <a:ext cx="4186930" cy="777563"/>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884" tIns="80010" rIns="149352" bIns="80010" numCol="1" spcCol="1270" anchor="ctr" anchorCtr="0">
          <a:noAutofit/>
        </a:bodyPr>
        <a:lstStyle/>
        <a:p>
          <a:pPr marL="0" lvl="0" indent="0" algn="ctr" defTabSz="933450">
            <a:lnSpc>
              <a:spcPct val="90000"/>
            </a:lnSpc>
            <a:spcBef>
              <a:spcPct val="0"/>
            </a:spcBef>
            <a:spcAft>
              <a:spcPct val="35000"/>
            </a:spcAft>
            <a:buNone/>
          </a:pPr>
          <a:r>
            <a:rPr lang="en-US" sz="2100" kern="1200">
              <a:solidFill>
                <a:srgbClr val="0078D3"/>
              </a:solidFill>
              <a:latin typeface="Segoe UI"/>
              <a:ea typeface="+mn-ea"/>
              <a:cs typeface="+mn-cs"/>
            </a:rPr>
            <a:t>Geo-replication</a:t>
          </a:r>
        </a:p>
      </dsp:txBody>
      <dsp:txXfrm rot="10800000">
        <a:off x="1443384" y="4040387"/>
        <a:ext cx="3992539" cy="777563"/>
      </dsp:txXfrm>
    </dsp:sp>
    <dsp:sp modelId="{1BC10206-5201-4D05-8BB8-F32DCCB8A736}">
      <dsp:nvSpPr>
        <dsp:cNvPr id="0" name=""/>
        <dsp:cNvSpPr/>
      </dsp:nvSpPr>
      <dsp:spPr>
        <a:xfrm>
          <a:off x="860211" y="4040387"/>
          <a:ext cx="777563" cy="777563"/>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558B34-56F0-4AE9-938F-6A875C9760BC}">
      <dsp:nvSpPr>
        <dsp:cNvPr id="0" name=""/>
        <dsp:cNvSpPr/>
      </dsp:nvSpPr>
      <dsp:spPr>
        <a:xfrm rot="10800000">
          <a:off x="1199886" y="1375"/>
          <a:ext cx="3991864" cy="777667"/>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30" tIns="83820" rIns="156464" bIns="83820" numCol="1" spcCol="1270" anchor="ctr" anchorCtr="0">
          <a:noAutofit/>
        </a:bodyPr>
        <a:lstStyle/>
        <a:p>
          <a:pPr marL="0" lvl="0" indent="0" algn="ctr" defTabSz="977900">
            <a:lnSpc>
              <a:spcPct val="90000"/>
            </a:lnSpc>
            <a:spcBef>
              <a:spcPct val="0"/>
            </a:spcBef>
            <a:spcAft>
              <a:spcPct val="35000"/>
            </a:spcAft>
            <a:buFont typeface="Arial" panose="020B0604020202020204" pitchFamily="34" charset="0"/>
            <a:buNone/>
          </a:pPr>
          <a:r>
            <a:rPr lang="en-US" sz="2200" kern="1200">
              <a:solidFill>
                <a:srgbClr val="0078D3"/>
              </a:solidFill>
              <a:latin typeface="Segoe UI"/>
              <a:ea typeface="+mn-ea"/>
              <a:cs typeface="+mn-cs"/>
            </a:rPr>
            <a:t>Scale </a:t>
          </a:r>
        </a:p>
      </dsp:txBody>
      <dsp:txXfrm rot="10800000">
        <a:off x="1394303" y="1375"/>
        <a:ext cx="3797447" cy="777667"/>
      </dsp:txXfrm>
    </dsp:sp>
    <dsp:sp modelId="{8EEAA515-DE0C-417B-8AE4-56602B493D00}">
      <dsp:nvSpPr>
        <dsp:cNvPr id="0" name=""/>
        <dsp:cNvSpPr/>
      </dsp:nvSpPr>
      <dsp:spPr>
        <a:xfrm>
          <a:off x="811052" y="1375"/>
          <a:ext cx="777667" cy="777667"/>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FB6994A9-E245-4ABF-9030-99F23660AF0D}">
      <dsp:nvSpPr>
        <dsp:cNvPr id="0" name=""/>
        <dsp:cNvSpPr/>
      </dsp:nvSpPr>
      <dsp:spPr>
        <a:xfrm rot="10800000">
          <a:off x="1199886" y="1011183"/>
          <a:ext cx="3991864" cy="777667"/>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30" tIns="83820" rIns="156464" bIns="83820" numCol="1" spcCol="1270" anchor="ctr" anchorCtr="0">
          <a:noAutofit/>
        </a:bodyPr>
        <a:lstStyle/>
        <a:p>
          <a:pPr marL="0" lvl="0" indent="0" algn="ctr" defTabSz="977900">
            <a:lnSpc>
              <a:spcPct val="90000"/>
            </a:lnSpc>
            <a:spcBef>
              <a:spcPct val="0"/>
            </a:spcBef>
            <a:spcAft>
              <a:spcPct val="35000"/>
            </a:spcAft>
            <a:buNone/>
          </a:pPr>
          <a:r>
            <a:rPr lang="en-US" sz="2200" kern="1200">
              <a:solidFill>
                <a:srgbClr val="0078D3"/>
              </a:solidFill>
              <a:latin typeface="Segoe UI"/>
              <a:ea typeface="+mn-ea"/>
              <a:cs typeface="+mn-cs"/>
            </a:rPr>
            <a:t>Advanced security </a:t>
          </a:r>
        </a:p>
      </dsp:txBody>
      <dsp:txXfrm rot="10800000">
        <a:off x="1394303" y="1011183"/>
        <a:ext cx="3797447" cy="777667"/>
      </dsp:txXfrm>
    </dsp:sp>
    <dsp:sp modelId="{57467DF1-65E3-4D4B-9DC9-5B6E7524E660}">
      <dsp:nvSpPr>
        <dsp:cNvPr id="0" name=""/>
        <dsp:cNvSpPr/>
      </dsp:nvSpPr>
      <dsp:spPr>
        <a:xfrm>
          <a:off x="811052" y="1011183"/>
          <a:ext cx="777667" cy="777667"/>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A3AC942A-802A-45B5-884A-20C804D0F3E0}">
      <dsp:nvSpPr>
        <dsp:cNvPr id="0" name=""/>
        <dsp:cNvSpPr/>
      </dsp:nvSpPr>
      <dsp:spPr>
        <a:xfrm rot="10800000">
          <a:off x="1199886" y="2020991"/>
          <a:ext cx="3991864" cy="777667"/>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30" tIns="83820" rIns="156464" bIns="83820" numCol="1" spcCol="1270" anchor="ctr" anchorCtr="0">
          <a:noAutofit/>
        </a:bodyPr>
        <a:lstStyle/>
        <a:p>
          <a:pPr marL="0" lvl="0" indent="0" algn="ctr" defTabSz="977900">
            <a:lnSpc>
              <a:spcPct val="90000"/>
            </a:lnSpc>
            <a:spcBef>
              <a:spcPct val="0"/>
            </a:spcBef>
            <a:spcAft>
              <a:spcPct val="35000"/>
            </a:spcAft>
            <a:buNone/>
          </a:pPr>
          <a:r>
            <a:rPr lang="en-US" sz="2200" kern="1200">
              <a:solidFill>
                <a:srgbClr val="0078D3"/>
              </a:solidFill>
              <a:latin typeface="Segoe UI"/>
              <a:ea typeface="+mn-ea"/>
              <a:cs typeface="+mn-cs"/>
            </a:rPr>
            <a:t>Automatic tuning </a:t>
          </a:r>
        </a:p>
      </dsp:txBody>
      <dsp:txXfrm rot="10800000">
        <a:off x="1394303" y="2020991"/>
        <a:ext cx="3797447" cy="777667"/>
      </dsp:txXfrm>
    </dsp:sp>
    <dsp:sp modelId="{601BFC33-FE3A-4BDE-88FE-493B6E1B6FB3}">
      <dsp:nvSpPr>
        <dsp:cNvPr id="0" name=""/>
        <dsp:cNvSpPr/>
      </dsp:nvSpPr>
      <dsp:spPr>
        <a:xfrm>
          <a:off x="811052" y="2020991"/>
          <a:ext cx="777667" cy="777667"/>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B401C2C9-567B-48BC-B477-898F0A169C0B}">
      <dsp:nvSpPr>
        <dsp:cNvPr id="0" name=""/>
        <dsp:cNvSpPr/>
      </dsp:nvSpPr>
      <dsp:spPr>
        <a:xfrm rot="10800000">
          <a:off x="1199886" y="3030798"/>
          <a:ext cx="3991864" cy="777667"/>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30" tIns="83820" rIns="156464" bIns="83820" numCol="1" spcCol="1270" anchor="ctr" anchorCtr="0">
          <a:noAutofit/>
        </a:bodyPr>
        <a:lstStyle/>
        <a:p>
          <a:pPr marL="0" lvl="0" indent="0" algn="ctr" defTabSz="977900">
            <a:lnSpc>
              <a:spcPct val="90000"/>
            </a:lnSpc>
            <a:spcBef>
              <a:spcPct val="0"/>
            </a:spcBef>
            <a:spcAft>
              <a:spcPct val="35000"/>
            </a:spcAft>
            <a:buNone/>
          </a:pPr>
          <a:r>
            <a:rPr lang="en-US" sz="2200" kern="1200">
              <a:solidFill>
                <a:srgbClr val="0078D3"/>
              </a:solidFill>
              <a:latin typeface="Segoe UI"/>
              <a:ea typeface="+mn-ea"/>
              <a:cs typeface="+mn-cs"/>
            </a:rPr>
            <a:t>Built-in monitoring </a:t>
          </a:r>
        </a:p>
      </dsp:txBody>
      <dsp:txXfrm rot="10800000">
        <a:off x="1394303" y="3030798"/>
        <a:ext cx="3797447" cy="777667"/>
      </dsp:txXfrm>
    </dsp:sp>
    <dsp:sp modelId="{6039329E-4295-499A-B0FF-8DFA17283B09}">
      <dsp:nvSpPr>
        <dsp:cNvPr id="0" name=""/>
        <dsp:cNvSpPr/>
      </dsp:nvSpPr>
      <dsp:spPr>
        <a:xfrm>
          <a:off x="811052" y="3030798"/>
          <a:ext cx="777667" cy="777667"/>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FD7CE52F-A999-4391-8104-68A25F268DDA}">
      <dsp:nvSpPr>
        <dsp:cNvPr id="0" name=""/>
        <dsp:cNvSpPr/>
      </dsp:nvSpPr>
      <dsp:spPr>
        <a:xfrm rot="10800000">
          <a:off x="1199886" y="4040606"/>
          <a:ext cx="3991864" cy="777667"/>
        </a:xfrm>
        <a:prstGeom prst="homePlate">
          <a:avLst/>
        </a:prstGeom>
        <a:solidFill>
          <a:srgbClr val="EBEBEB">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30" tIns="83820" rIns="156464" bIns="83820" numCol="1" spcCol="1270" anchor="ctr" anchorCtr="0">
          <a:noAutofit/>
        </a:bodyPr>
        <a:lstStyle/>
        <a:p>
          <a:pPr marL="0" lvl="0" indent="0" algn="ctr" defTabSz="977900">
            <a:lnSpc>
              <a:spcPct val="90000"/>
            </a:lnSpc>
            <a:spcBef>
              <a:spcPct val="0"/>
            </a:spcBef>
            <a:spcAft>
              <a:spcPct val="35000"/>
            </a:spcAft>
            <a:buNone/>
          </a:pPr>
          <a:r>
            <a:rPr lang="en-US" sz="2200" kern="1200">
              <a:solidFill>
                <a:srgbClr val="0078D3"/>
              </a:solidFill>
              <a:latin typeface="Segoe UI"/>
              <a:ea typeface="+mn-ea"/>
              <a:cs typeface="+mn-cs"/>
            </a:rPr>
            <a:t>Built-in intelligence </a:t>
          </a:r>
        </a:p>
      </dsp:txBody>
      <dsp:txXfrm rot="10800000">
        <a:off x="1394303" y="4040606"/>
        <a:ext cx="3797447" cy="777667"/>
      </dsp:txXfrm>
    </dsp:sp>
    <dsp:sp modelId="{E76C1DF1-CC82-4F91-972B-D91FC56976CE}">
      <dsp:nvSpPr>
        <dsp:cNvPr id="0" name=""/>
        <dsp:cNvSpPr/>
      </dsp:nvSpPr>
      <dsp:spPr>
        <a:xfrm>
          <a:off x="811052" y="4040606"/>
          <a:ext cx="777667" cy="777667"/>
        </a:xfrm>
        <a:prstGeom prst="ellipse">
          <a:avLst/>
        </a:prstGeom>
        <a:solidFill>
          <a:srgbClr val="FFFFFF">
            <a:lumMod val="9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84624F-D552-45D7-93F4-025C1FF58D04}">
      <dsp:nvSpPr>
        <dsp:cNvPr id="0" name=""/>
        <dsp:cNvSpPr/>
      </dsp:nvSpPr>
      <dsp:spPr>
        <a:xfrm>
          <a:off x="365099" y="0"/>
          <a:ext cx="4819650" cy="4819650"/>
        </a:xfrm>
        <a:prstGeom prst="diamond">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13A1CE-B32B-49B4-8D4F-BBE8D8EE6053}">
      <dsp:nvSpPr>
        <dsp:cNvPr id="0" name=""/>
        <dsp:cNvSpPr/>
      </dsp:nvSpPr>
      <dsp:spPr>
        <a:xfrm>
          <a:off x="822965" y="457866"/>
          <a:ext cx="1879663" cy="187966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baseline="0"/>
            <a:t>Seamless hybrid deployment with integrated data synchronization.</a:t>
          </a:r>
          <a:endParaRPr lang="en-US" sz="1700" kern="1200"/>
        </a:p>
      </dsp:txBody>
      <dsp:txXfrm>
        <a:off x="914723" y="549624"/>
        <a:ext cx="1696147" cy="1696147"/>
      </dsp:txXfrm>
    </dsp:sp>
    <dsp:sp modelId="{06BE4055-5533-4CC0-AF0C-5D412FA334CD}">
      <dsp:nvSpPr>
        <dsp:cNvPr id="0" name=""/>
        <dsp:cNvSpPr/>
      </dsp:nvSpPr>
      <dsp:spPr>
        <a:xfrm>
          <a:off x="2847218" y="457866"/>
          <a:ext cx="1879663" cy="187966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baseline="0"/>
            <a:t>Reliable migration at scale.</a:t>
          </a:r>
          <a:endParaRPr lang="en-US" sz="1700" kern="1200"/>
        </a:p>
      </dsp:txBody>
      <dsp:txXfrm>
        <a:off x="2938976" y="549624"/>
        <a:ext cx="1696147" cy="1696147"/>
      </dsp:txXfrm>
    </dsp:sp>
    <dsp:sp modelId="{DBFE9820-AD82-42E1-B640-57D4B192E18A}">
      <dsp:nvSpPr>
        <dsp:cNvPr id="0" name=""/>
        <dsp:cNvSpPr/>
      </dsp:nvSpPr>
      <dsp:spPr>
        <a:xfrm>
          <a:off x="822965" y="2482119"/>
          <a:ext cx="1879663" cy="187966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baseline="0"/>
            <a:t>Lift and shift to the cloud with </a:t>
          </a:r>
          <a:br>
            <a:rPr lang="en-US" sz="1700" kern="1200" baseline="0"/>
          </a:br>
          <a:r>
            <a:rPr lang="en-US" sz="1700" kern="1200" baseline="0"/>
            <a:t>no code changes.</a:t>
          </a:r>
          <a:endParaRPr lang="en-US" sz="1700" kern="1200"/>
        </a:p>
      </dsp:txBody>
      <dsp:txXfrm>
        <a:off x="914723" y="2573877"/>
        <a:ext cx="1696147" cy="1696147"/>
      </dsp:txXfrm>
    </dsp:sp>
    <dsp:sp modelId="{9E916831-F3F9-45C2-871B-C73E4CACE838}">
      <dsp:nvSpPr>
        <dsp:cNvPr id="0" name=""/>
        <dsp:cNvSpPr/>
      </dsp:nvSpPr>
      <dsp:spPr>
        <a:xfrm>
          <a:off x="2847218" y="2482119"/>
          <a:ext cx="1879663" cy="187966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baseline="0"/>
            <a:t>Up to 55% cost savings.</a:t>
          </a:r>
          <a:endParaRPr lang="en-US" sz="1700" kern="1200"/>
        </a:p>
      </dsp:txBody>
      <dsp:txXfrm>
        <a:off x="2938976" y="2573877"/>
        <a:ext cx="1696147" cy="169614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4C3BC-195F-4709-B62E-20D5CCD2B1A3}">
      <dsp:nvSpPr>
        <dsp:cNvPr id="0" name=""/>
        <dsp:cNvSpPr/>
      </dsp:nvSpPr>
      <dsp:spPr>
        <a:xfrm>
          <a:off x="1248" y="0"/>
          <a:ext cx="3246121" cy="3201363"/>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a:t>I want a Virtual Machine</a:t>
          </a:r>
          <a:endParaRPr lang="en-US" sz="2000" kern="1200"/>
        </a:p>
      </dsp:txBody>
      <dsp:txXfrm>
        <a:off x="1248" y="0"/>
        <a:ext cx="3246121" cy="960409"/>
      </dsp:txXfrm>
    </dsp:sp>
    <dsp:sp modelId="{F9AD0AF0-607A-47FF-BACA-DB8AE4C306E8}">
      <dsp:nvSpPr>
        <dsp:cNvPr id="0" name=""/>
        <dsp:cNvSpPr/>
      </dsp:nvSpPr>
      <dsp:spPr>
        <a:xfrm>
          <a:off x="327756" y="816796"/>
          <a:ext cx="2596897" cy="628939"/>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Azure manages the hardware</a:t>
          </a:r>
        </a:p>
      </dsp:txBody>
      <dsp:txXfrm>
        <a:off x="346177" y="835217"/>
        <a:ext cx="2560055" cy="592097"/>
      </dsp:txXfrm>
    </dsp:sp>
    <dsp:sp modelId="{EE25989F-0E77-4201-A7FB-67D696231781}">
      <dsp:nvSpPr>
        <dsp:cNvPr id="0" name=""/>
        <dsp:cNvSpPr/>
      </dsp:nvSpPr>
      <dsp:spPr>
        <a:xfrm>
          <a:off x="327756" y="1590886"/>
          <a:ext cx="2596897" cy="628939"/>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You own the OS and SQL Server</a:t>
          </a:r>
        </a:p>
      </dsp:txBody>
      <dsp:txXfrm>
        <a:off x="346177" y="1609307"/>
        <a:ext cx="2560055" cy="592097"/>
      </dsp:txXfrm>
    </dsp:sp>
    <dsp:sp modelId="{FA7116C2-8E01-4213-B008-104ADDB88512}">
      <dsp:nvSpPr>
        <dsp:cNvPr id="0" name=""/>
        <dsp:cNvSpPr/>
      </dsp:nvSpPr>
      <dsp:spPr>
        <a:xfrm>
          <a:off x="327756" y="2391533"/>
          <a:ext cx="2596897" cy="628939"/>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You own monitoring and HADR</a:t>
          </a:r>
        </a:p>
      </dsp:txBody>
      <dsp:txXfrm>
        <a:off x="346177" y="2409954"/>
        <a:ext cx="2560055" cy="592097"/>
      </dsp:txXfrm>
    </dsp:sp>
    <dsp:sp modelId="{C8A4EFFE-43DE-4619-BF44-7F2088A2A1E9}">
      <dsp:nvSpPr>
        <dsp:cNvPr id="0" name=""/>
        <dsp:cNvSpPr/>
      </dsp:nvSpPr>
      <dsp:spPr>
        <a:xfrm>
          <a:off x="3490829" y="0"/>
          <a:ext cx="3246121" cy="3201363"/>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I want a SQL Server</a:t>
          </a:r>
        </a:p>
      </dsp:txBody>
      <dsp:txXfrm>
        <a:off x="3490829" y="0"/>
        <a:ext cx="3246121" cy="960409"/>
      </dsp:txXfrm>
    </dsp:sp>
    <dsp:sp modelId="{966ADD0A-A094-4C6C-972C-26C370F2CDEF}">
      <dsp:nvSpPr>
        <dsp:cNvPr id="0" name=""/>
        <dsp:cNvSpPr/>
      </dsp:nvSpPr>
      <dsp:spPr>
        <a:xfrm>
          <a:off x="3781552" y="809670"/>
          <a:ext cx="2596897" cy="628939"/>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Azure manages the hardware and OS</a:t>
          </a:r>
        </a:p>
      </dsp:txBody>
      <dsp:txXfrm>
        <a:off x="3799973" y="828091"/>
        <a:ext cx="2560055" cy="592097"/>
      </dsp:txXfrm>
    </dsp:sp>
    <dsp:sp modelId="{5D4559B1-E031-46C0-8920-A952930D03AE}">
      <dsp:nvSpPr>
        <dsp:cNvPr id="0" name=""/>
        <dsp:cNvSpPr/>
      </dsp:nvSpPr>
      <dsp:spPr>
        <a:xfrm>
          <a:off x="3781552" y="1590886"/>
          <a:ext cx="2596897" cy="628939"/>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You get a SQL Server, but we help you manage it</a:t>
          </a:r>
        </a:p>
      </dsp:txBody>
      <dsp:txXfrm>
        <a:off x="3799973" y="1609307"/>
        <a:ext cx="2560055" cy="592097"/>
      </dsp:txXfrm>
    </dsp:sp>
    <dsp:sp modelId="{4248F1D4-5C07-4E04-9F70-F0857AEDDFC2}">
      <dsp:nvSpPr>
        <dsp:cNvPr id="0" name=""/>
        <dsp:cNvSpPr/>
      </dsp:nvSpPr>
      <dsp:spPr>
        <a:xfrm>
          <a:off x="3781552" y="2359828"/>
          <a:ext cx="2596897" cy="628939"/>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You need SQL Server feature compatibility and low friction move</a:t>
          </a:r>
        </a:p>
      </dsp:txBody>
      <dsp:txXfrm>
        <a:off x="3799973" y="2378249"/>
        <a:ext cx="2560055" cy="592097"/>
      </dsp:txXfrm>
    </dsp:sp>
    <dsp:sp modelId="{BFF6D176-53C8-4A4D-B994-178314694F50}">
      <dsp:nvSpPr>
        <dsp:cNvPr id="0" name=""/>
        <dsp:cNvSpPr/>
      </dsp:nvSpPr>
      <dsp:spPr>
        <a:xfrm>
          <a:off x="6981659" y="0"/>
          <a:ext cx="3246121" cy="3201363"/>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 want a database</a:t>
          </a:r>
        </a:p>
      </dsp:txBody>
      <dsp:txXfrm>
        <a:off x="6981659" y="0"/>
        <a:ext cx="3246121" cy="960409"/>
      </dsp:txXfrm>
    </dsp:sp>
    <dsp:sp modelId="{FB974DD2-E692-4B64-ADAB-35C50A8536A8}">
      <dsp:nvSpPr>
        <dsp:cNvPr id="0" name=""/>
        <dsp:cNvSpPr/>
      </dsp:nvSpPr>
      <dsp:spPr>
        <a:xfrm>
          <a:off x="7361011" y="789795"/>
          <a:ext cx="2596897" cy="628939"/>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Azure manages the hardware, OS, and SQL Server</a:t>
          </a:r>
        </a:p>
      </dsp:txBody>
      <dsp:txXfrm>
        <a:off x="7379432" y="808216"/>
        <a:ext cx="2560055" cy="592097"/>
      </dsp:txXfrm>
    </dsp:sp>
    <dsp:sp modelId="{B6B5F729-ED90-431A-BAC5-6FC9F5AD1209}">
      <dsp:nvSpPr>
        <dsp:cNvPr id="0" name=""/>
        <dsp:cNvSpPr/>
      </dsp:nvSpPr>
      <dsp:spPr>
        <a:xfrm>
          <a:off x="7365063" y="1570578"/>
          <a:ext cx="2596897" cy="628939"/>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Azure gives you predicable performance</a:t>
          </a:r>
        </a:p>
      </dsp:txBody>
      <dsp:txXfrm>
        <a:off x="7383484" y="1588999"/>
        <a:ext cx="2560055" cy="592097"/>
      </dsp:txXfrm>
    </dsp:sp>
    <dsp:sp modelId="{519E1A27-1303-434C-B18E-7E74A1FE2E12}">
      <dsp:nvSpPr>
        <dsp:cNvPr id="0" name=""/>
        <dsp:cNvSpPr/>
      </dsp:nvSpPr>
      <dsp:spPr>
        <a:xfrm>
          <a:off x="7361011" y="2349138"/>
          <a:ext cx="2596897" cy="628939"/>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Azure provides HADR, monitoring, and intelligence</a:t>
          </a:r>
        </a:p>
      </dsp:txBody>
      <dsp:txXfrm>
        <a:off x="7379432" y="2367559"/>
        <a:ext cx="2560055" cy="592097"/>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C7CD83-B230-4431-83B2-F99528A2B909}">
      <dsp:nvSpPr>
        <dsp:cNvPr id="0" name=""/>
        <dsp:cNvSpPr/>
      </dsp:nvSpPr>
      <dsp:spPr>
        <a:xfrm rot="5400000">
          <a:off x="1927034" y="595757"/>
          <a:ext cx="3855720" cy="3628135"/>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a:t>1 Standard license core = 1 General Purpose or Hyperscale core.</a:t>
          </a:r>
          <a:endParaRPr lang="en-US" sz="2100" kern="1200"/>
        </a:p>
        <a:p>
          <a:pPr marL="228600" lvl="1" indent="-228600" algn="l" defTabSz="933450">
            <a:lnSpc>
              <a:spcPct val="90000"/>
            </a:lnSpc>
            <a:spcBef>
              <a:spcPct val="0"/>
            </a:spcBef>
            <a:spcAft>
              <a:spcPct val="15000"/>
            </a:spcAft>
            <a:buChar char="•"/>
          </a:pPr>
          <a:r>
            <a:rPr lang="en-US" sz="2100" kern="1200" baseline="0"/>
            <a:t>1 Enterprise license core = 1 Business Critical core.</a:t>
          </a:r>
          <a:endParaRPr lang="en-US" sz="2100" kern="1200"/>
        </a:p>
        <a:p>
          <a:pPr marL="228600" lvl="1" indent="-228600" algn="l" defTabSz="933450">
            <a:lnSpc>
              <a:spcPct val="90000"/>
            </a:lnSpc>
            <a:spcBef>
              <a:spcPct val="0"/>
            </a:spcBef>
            <a:spcAft>
              <a:spcPct val="15000"/>
            </a:spcAft>
            <a:buChar char="•"/>
          </a:pPr>
          <a:r>
            <a:rPr lang="en-US" sz="2100" kern="1200" baseline="0"/>
            <a:t>1 Enterprise license core = 4 General Purpose or Hyperscale cores </a:t>
          </a:r>
          <a:br>
            <a:rPr lang="en-US" sz="2100" kern="1200" baseline="0"/>
          </a:br>
          <a:r>
            <a:rPr lang="en-US" sz="2100" kern="1200" baseline="0"/>
            <a:t>(virtualization benefit).</a:t>
          </a:r>
          <a:endParaRPr lang="en-US" sz="2100" kern="1200"/>
        </a:p>
      </dsp:txBody>
      <dsp:txXfrm rot="-5400000">
        <a:off x="2040827" y="659076"/>
        <a:ext cx="3451024" cy="3501498"/>
      </dsp:txXfrm>
    </dsp:sp>
    <dsp:sp modelId="{0FC0DAD7-794E-4EC0-95CF-7582A0AAD9B3}">
      <dsp:nvSpPr>
        <dsp:cNvPr id="0" name=""/>
        <dsp:cNvSpPr/>
      </dsp:nvSpPr>
      <dsp:spPr>
        <a:xfrm>
          <a:off x="0" y="0"/>
          <a:ext cx="2040826" cy="481965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marL="0" lvl="0" indent="0" algn="ctr" defTabSz="933450">
            <a:lnSpc>
              <a:spcPct val="90000"/>
            </a:lnSpc>
            <a:spcBef>
              <a:spcPct val="0"/>
            </a:spcBef>
            <a:spcAft>
              <a:spcPct val="35000"/>
            </a:spcAft>
            <a:buNone/>
          </a:pPr>
          <a:r>
            <a:rPr lang="en-US" sz="2100" kern="1200" baseline="0"/>
            <a:t>Take an inventory of on-premises licenses to determine potential for conversion. Convert on-premises cores to vCores to maximize value of investments. </a:t>
          </a:r>
          <a:endParaRPr lang="en-US" sz="2100" kern="1200"/>
        </a:p>
      </dsp:txBody>
      <dsp:txXfrm>
        <a:off x="99625" y="99625"/>
        <a:ext cx="1841576" cy="4620400"/>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2946"/>
          <a:ext cx="10880725" cy="1065796"/>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a:solidFill>
                <a:srgbClr val="FFFFFF"/>
              </a:solidFill>
            </a:rPr>
            <a:t>What are the main motivations to choose for Azure SQL Database?</a:t>
          </a:r>
          <a:endParaRPr lang="en-US" sz="2500" kern="1200"/>
        </a:p>
      </dsp:txBody>
      <dsp:txXfrm>
        <a:off x="52028" y="74974"/>
        <a:ext cx="10776669" cy="961740"/>
      </dsp:txXfrm>
    </dsp:sp>
    <dsp:sp modelId="{4A71D5C7-A7D6-46CE-B888-CF65241F6B98}">
      <dsp:nvSpPr>
        <dsp:cNvPr id="0" name=""/>
        <dsp:cNvSpPr/>
      </dsp:nvSpPr>
      <dsp:spPr>
        <a:xfrm>
          <a:off x="0" y="1160743"/>
          <a:ext cx="10880725" cy="1065796"/>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a:solidFill>
                <a:srgbClr val="FFFFFF"/>
              </a:solidFill>
            </a:rPr>
            <a:t>How can you compare the Total Application Cost between Azure SQL Database and SQL Server in Azure VM?</a:t>
          </a:r>
          <a:endParaRPr lang="en-US" sz="2500" kern="1200"/>
        </a:p>
      </dsp:txBody>
      <dsp:txXfrm>
        <a:off x="52028" y="1212771"/>
        <a:ext cx="10776669" cy="961740"/>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8CCB1A-DA41-4F0D-A0E7-9ACBFB32D37E}">
      <dsp:nvSpPr>
        <dsp:cNvPr id="0" name=""/>
        <dsp:cNvSpPr/>
      </dsp:nvSpPr>
      <dsp:spPr>
        <a:xfrm rot="16200000">
          <a:off x="-1120162" y="1122785"/>
          <a:ext cx="4819650" cy="2574078"/>
        </a:xfrm>
        <a:prstGeom prst="flowChartManualOperati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80973" bIns="0" numCol="1" spcCol="1270" anchor="ctr" anchorCtr="0">
          <a:noAutofit/>
        </a:bodyPr>
        <a:lstStyle/>
        <a:p>
          <a:pPr marL="0" lvl="0" indent="0" algn="ctr" defTabSz="1244600">
            <a:lnSpc>
              <a:spcPct val="90000"/>
            </a:lnSpc>
            <a:spcBef>
              <a:spcPct val="0"/>
            </a:spcBef>
            <a:spcAft>
              <a:spcPct val="35000"/>
            </a:spcAft>
            <a:buNone/>
          </a:pPr>
          <a:r>
            <a:rPr lang="en-US" sz="2800" kern="1200" baseline="0"/>
            <a:t>Basic concepts of Azure SQL Database</a:t>
          </a:r>
          <a:endParaRPr lang="en-US" sz="2800" kern="1200"/>
        </a:p>
      </dsp:txBody>
      <dsp:txXfrm rot="5400000">
        <a:off x="2624" y="963929"/>
        <a:ext cx="2574078" cy="2891790"/>
      </dsp:txXfrm>
    </dsp:sp>
    <dsp:sp modelId="{AE2F95FC-793E-44C8-A24E-256EFB44FD6E}">
      <dsp:nvSpPr>
        <dsp:cNvPr id="0" name=""/>
        <dsp:cNvSpPr/>
      </dsp:nvSpPr>
      <dsp:spPr>
        <a:xfrm rot="16200000">
          <a:off x="1646971" y="1122785"/>
          <a:ext cx="4819650" cy="2574078"/>
        </a:xfrm>
        <a:prstGeom prst="flowChartManualOperation">
          <a:avLst/>
        </a:prstGeom>
        <a:solidFill>
          <a:schemeClr val="accent2">
            <a:hueOff val="-4021024"/>
            <a:satOff val="18157"/>
            <a:lumOff val="56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80973" bIns="0" numCol="1" spcCol="1270" anchor="ctr" anchorCtr="0">
          <a:noAutofit/>
        </a:bodyPr>
        <a:lstStyle/>
        <a:p>
          <a:pPr marL="0" lvl="0" indent="0" algn="ctr" defTabSz="1244600">
            <a:lnSpc>
              <a:spcPct val="90000"/>
            </a:lnSpc>
            <a:spcBef>
              <a:spcPct val="0"/>
            </a:spcBef>
            <a:spcAft>
              <a:spcPct val="35000"/>
            </a:spcAft>
            <a:buNone/>
          </a:pPr>
          <a:r>
            <a:rPr lang="en-US" sz="2800" kern="1200" baseline="0"/>
            <a:t>Create an Azure SQL Database</a:t>
          </a:r>
          <a:endParaRPr lang="en-US" sz="2800" kern="1200"/>
        </a:p>
      </dsp:txBody>
      <dsp:txXfrm rot="5400000">
        <a:off x="2769757" y="963929"/>
        <a:ext cx="2574078" cy="2891790"/>
      </dsp:txXfrm>
    </dsp:sp>
    <dsp:sp modelId="{A6C9B6AA-2064-41C2-8BD7-0E483215C213}">
      <dsp:nvSpPr>
        <dsp:cNvPr id="0" name=""/>
        <dsp:cNvSpPr/>
      </dsp:nvSpPr>
      <dsp:spPr>
        <a:xfrm rot="16200000">
          <a:off x="4414104" y="1122785"/>
          <a:ext cx="4819650" cy="2574078"/>
        </a:xfrm>
        <a:prstGeom prst="flowChartManualOperation">
          <a:avLst/>
        </a:prstGeom>
        <a:solidFill>
          <a:schemeClr val="accent2">
            <a:hueOff val="-8042049"/>
            <a:satOff val="36314"/>
            <a:lumOff val="113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80973" bIns="0" numCol="1" spcCol="1270" anchor="ctr" anchorCtr="0">
          <a:noAutofit/>
        </a:bodyPr>
        <a:lstStyle/>
        <a:p>
          <a:pPr marL="0" lvl="0" indent="0" algn="ctr" defTabSz="1244600">
            <a:lnSpc>
              <a:spcPct val="90000"/>
            </a:lnSpc>
            <a:spcBef>
              <a:spcPct val="0"/>
            </a:spcBef>
            <a:spcAft>
              <a:spcPct val="35000"/>
            </a:spcAft>
            <a:buNone/>
          </a:pPr>
          <a:r>
            <a:rPr lang="en-US" sz="2800" kern="1200" baseline="0"/>
            <a:t>Manage and scale multiple Azure SQL databases using Elastic Pools</a:t>
          </a:r>
          <a:endParaRPr lang="en-US" sz="2800" kern="1200"/>
        </a:p>
      </dsp:txBody>
      <dsp:txXfrm rot="5400000">
        <a:off x="5536890" y="963929"/>
        <a:ext cx="2574078" cy="2891790"/>
      </dsp:txXfrm>
    </dsp:sp>
    <dsp:sp modelId="{4BA91906-28B3-4086-8DFC-95FA7FE8788A}">
      <dsp:nvSpPr>
        <dsp:cNvPr id="0" name=""/>
        <dsp:cNvSpPr/>
      </dsp:nvSpPr>
      <dsp:spPr>
        <a:xfrm rot="16200000">
          <a:off x="7181238" y="1122785"/>
          <a:ext cx="4819650" cy="2574078"/>
        </a:xfrm>
        <a:prstGeom prst="flowChartManualOperation">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80973" bIns="0" numCol="1" spcCol="1270" anchor="ctr" anchorCtr="0">
          <a:noAutofit/>
        </a:bodyPr>
        <a:lstStyle/>
        <a:p>
          <a:pPr marL="0" lvl="0" indent="0" algn="ctr" defTabSz="1244600">
            <a:lnSpc>
              <a:spcPct val="90000"/>
            </a:lnSpc>
            <a:spcBef>
              <a:spcPct val="0"/>
            </a:spcBef>
            <a:spcAft>
              <a:spcPct val="35000"/>
            </a:spcAft>
            <a:buNone/>
          </a:pPr>
          <a:r>
            <a:rPr lang="en-US" sz="2800" kern="1200" baseline="0"/>
            <a:t>Knowledge between Azure SQL Database and SQL Server in Azure VM</a:t>
          </a:r>
          <a:endParaRPr lang="en-US" sz="2800" kern="1200"/>
        </a:p>
      </dsp:txBody>
      <dsp:txXfrm rot="5400000">
        <a:off x="8304024" y="963929"/>
        <a:ext cx="2574078" cy="289179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30D338-E269-431D-A98C-C0A93B715B27}">
      <dsp:nvSpPr>
        <dsp:cNvPr id="0" name=""/>
        <dsp:cNvSpPr/>
      </dsp:nvSpPr>
      <dsp:spPr>
        <a:xfrm>
          <a:off x="3488" y="14063"/>
          <a:ext cx="3401368" cy="950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nl-BE" sz="1800" b="1" kern="1200" dirty="0">
              <a:latin typeface="Segoe UI"/>
              <a:ea typeface="+mn-ea"/>
              <a:cs typeface="+mn-cs"/>
            </a:rPr>
            <a:t>SQL Server in Azure VM</a:t>
          </a:r>
          <a:endParaRPr lang="en-US" sz="1800" kern="1200" dirty="0">
            <a:latin typeface="Segoe UI"/>
            <a:ea typeface="+mn-ea"/>
            <a:cs typeface="+mn-cs"/>
          </a:endParaRPr>
        </a:p>
      </dsp:txBody>
      <dsp:txXfrm>
        <a:off x="3488" y="14063"/>
        <a:ext cx="3401368" cy="950400"/>
      </dsp:txXfrm>
    </dsp:sp>
    <dsp:sp modelId="{F3A57436-5AA8-434C-BF63-BEA0FFE33A10}">
      <dsp:nvSpPr>
        <dsp:cNvPr id="0" name=""/>
        <dsp:cNvSpPr/>
      </dsp:nvSpPr>
      <dsp:spPr>
        <a:xfrm>
          <a:off x="3488" y="964463"/>
          <a:ext cx="3401368" cy="430278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latin typeface="Segoe UI"/>
              <a:ea typeface="+mn-ea"/>
              <a:cs typeface="+mn-cs"/>
            </a:rPr>
            <a:t>Existing applications that require fast migration to the cloud with minimal changes or no changes.</a:t>
          </a:r>
          <a:endParaRPr lang="nl-BE" sz="1400" kern="1200" dirty="0">
            <a:latin typeface="Segoe UI"/>
            <a:ea typeface="+mn-ea"/>
            <a:cs typeface="+mn-cs"/>
          </a:endParaRPr>
        </a:p>
        <a:p>
          <a:pPr marL="114300" lvl="1" indent="-114300" algn="l" defTabSz="622300">
            <a:lnSpc>
              <a:spcPct val="90000"/>
            </a:lnSpc>
            <a:spcBef>
              <a:spcPct val="0"/>
            </a:spcBef>
            <a:spcAft>
              <a:spcPct val="15000"/>
            </a:spcAft>
            <a:buChar char="•"/>
          </a:pPr>
          <a:endParaRPr lang="nl-BE" sz="1400" kern="1200" dirty="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dirty="0">
              <a:latin typeface="Segoe UI"/>
              <a:ea typeface="+mn-ea"/>
              <a:cs typeface="+mn-cs"/>
            </a:rPr>
            <a:t>Teams that can configure, fine tune, customize, and manage high availability, disaster recovery, and patching for SQL Server.</a:t>
          </a:r>
        </a:p>
        <a:p>
          <a:pPr marL="114300" lvl="1" indent="-114300" algn="l" defTabSz="622300">
            <a:lnSpc>
              <a:spcPct val="90000"/>
            </a:lnSpc>
            <a:spcBef>
              <a:spcPct val="0"/>
            </a:spcBef>
            <a:spcAft>
              <a:spcPct val="15000"/>
            </a:spcAft>
            <a:buChar char="•"/>
          </a:pPr>
          <a:endParaRPr lang="en-US" sz="1400" kern="1200" dirty="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dirty="0">
              <a:latin typeface="Segoe UI"/>
              <a:ea typeface="+mn-ea"/>
              <a:cs typeface="+mn-cs"/>
            </a:rPr>
            <a:t>You need a customized environment with full administrative rights.</a:t>
          </a:r>
        </a:p>
        <a:p>
          <a:pPr marL="114300" lvl="1" indent="-114300" algn="l" defTabSz="622300">
            <a:lnSpc>
              <a:spcPct val="90000"/>
            </a:lnSpc>
            <a:spcBef>
              <a:spcPct val="0"/>
            </a:spcBef>
            <a:spcAft>
              <a:spcPct val="15000"/>
            </a:spcAft>
            <a:buChar char="•"/>
          </a:pPr>
          <a:endParaRPr lang="en-US" sz="1400" kern="1200" dirty="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dirty="0">
              <a:latin typeface="Segoe UI"/>
              <a:ea typeface="+mn-ea"/>
              <a:cs typeface="+mn-cs"/>
            </a:rPr>
            <a:t>SQL Server instances with up to 64 TB of storage. The instance can support as many databases as needed.</a:t>
          </a:r>
        </a:p>
      </dsp:txBody>
      <dsp:txXfrm>
        <a:off x="3488" y="964463"/>
        <a:ext cx="3401368" cy="4302787"/>
      </dsp:txXfrm>
    </dsp:sp>
    <dsp:sp modelId="{A2D15BCF-708C-4FF6-8EE7-EE2407D53939}">
      <dsp:nvSpPr>
        <dsp:cNvPr id="0" name=""/>
        <dsp:cNvSpPr/>
      </dsp:nvSpPr>
      <dsp:spPr>
        <a:xfrm>
          <a:off x="3881049" y="14063"/>
          <a:ext cx="3401368" cy="950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nl-BE" sz="1800" b="1" kern="1200" dirty="0">
              <a:latin typeface="Segoe UI"/>
              <a:ea typeface="+mn-ea"/>
              <a:cs typeface="+mn-cs"/>
            </a:rPr>
            <a:t>Managed Instance</a:t>
          </a:r>
          <a:endParaRPr lang="en-US" sz="1800" kern="1200" dirty="0">
            <a:latin typeface="Segoe UI"/>
            <a:ea typeface="+mn-ea"/>
            <a:cs typeface="+mn-cs"/>
          </a:endParaRPr>
        </a:p>
      </dsp:txBody>
      <dsp:txXfrm>
        <a:off x="3881049" y="14063"/>
        <a:ext cx="3401368" cy="950400"/>
      </dsp:txXfrm>
    </dsp:sp>
    <dsp:sp modelId="{3D465702-9231-4877-B6C5-F44EBDEA04CA}">
      <dsp:nvSpPr>
        <dsp:cNvPr id="0" name=""/>
        <dsp:cNvSpPr/>
      </dsp:nvSpPr>
      <dsp:spPr>
        <a:xfrm>
          <a:off x="3881049" y="964463"/>
          <a:ext cx="3401368" cy="430278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latin typeface="Segoe UI"/>
              <a:ea typeface="+mn-ea"/>
              <a:cs typeface="+mn-cs"/>
            </a:rPr>
            <a:t>New applications or existing on-premises applications that want to use the latest stable SQL Server features and that are migrated to the cloud with minimal changes.</a:t>
          </a:r>
          <a:endParaRPr lang="nl-BE" sz="1400" kern="1200" dirty="0">
            <a:latin typeface="Segoe UI"/>
            <a:ea typeface="+mn-ea"/>
            <a:cs typeface="+mn-cs"/>
          </a:endParaRPr>
        </a:p>
        <a:p>
          <a:pPr marL="114300" lvl="1" indent="-114300" algn="l" defTabSz="622300">
            <a:lnSpc>
              <a:spcPct val="90000"/>
            </a:lnSpc>
            <a:spcBef>
              <a:spcPct val="0"/>
            </a:spcBef>
            <a:spcAft>
              <a:spcPct val="15000"/>
            </a:spcAft>
            <a:buChar char="•"/>
          </a:pPr>
          <a:endParaRPr lang="nl-BE"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a:latin typeface="Segoe UI"/>
              <a:ea typeface="+mn-ea"/>
              <a:cs typeface="+mn-cs"/>
            </a:rPr>
            <a:t>Teams that need built-in high availability, disaster recovery, and upgrade for the database.</a:t>
          </a:r>
        </a:p>
        <a:p>
          <a:pPr marL="114300" lvl="1" indent="-114300" algn="l" defTabSz="622300">
            <a:lnSpc>
              <a:spcPct val="90000"/>
            </a:lnSpc>
            <a:spcBef>
              <a:spcPct val="0"/>
            </a:spcBef>
            <a:spcAft>
              <a:spcPct val="15000"/>
            </a:spcAft>
            <a:buChar char="•"/>
          </a:pPr>
          <a:endParaRPr lang="en-US"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dirty="0">
              <a:latin typeface="Segoe UI"/>
              <a:ea typeface="+mn-ea"/>
              <a:cs typeface="+mn-cs"/>
            </a:rPr>
            <a:t>Teams that do not want to manage the underlying operating system and configuration settings.</a:t>
          </a:r>
        </a:p>
        <a:p>
          <a:pPr marL="114300" lvl="1" indent="-114300" algn="l" defTabSz="622300">
            <a:lnSpc>
              <a:spcPct val="90000"/>
            </a:lnSpc>
            <a:spcBef>
              <a:spcPct val="0"/>
            </a:spcBef>
            <a:spcAft>
              <a:spcPct val="15000"/>
            </a:spcAft>
            <a:buChar char="•"/>
          </a:pPr>
          <a:endParaRPr lang="en-US"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a:latin typeface="Segoe UI"/>
              <a:ea typeface="+mn-ea"/>
              <a:cs typeface="+mn-cs"/>
            </a:rPr>
            <a:t>Databases of up to 8 TB, or larger databases that can be horizontally or vertically partitioned using a scale-out pattern.</a:t>
          </a:r>
          <a:endParaRPr lang="en-US" sz="1400" kern="1200" dirty="0">
            <a:latin typeface="Segoe UI"/>
            <a:ea typeface="+mn-ea"/>
            <a:cs typeface="+mn-cs"/>
          </a:endParaRPr>
        </a:p>
      </dsp:txBody>
      <dsp:txXfrm>
        <a:off x="3881049" y="964463"/>
        <a:ext cx="3401368" cy="4302787"/>
      </dsp:txXfrm>
    </dsp:sp>
    <dsp:sp modelId="{0E037236-D9E1-4EC6-963E-04B05024B8FB}">
      <dsp:nvSpPr>
        <dsp:cNvPr id="0" name=""/>
        <dsp:cNvSpPr/>
      </dsp:nvSpPr>
      <dsp:spPr>
        <a:xfrm>
          <a:off x="7758609" y="14063"/>
          <a:ext cx="3401368" cy="950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nl-BE" sz="1800" b="1" kern="1200" dirty="0">
              <a:latin typeface="Segoe UI"/>
              <a:ea typeface="+mn-ea"/>
              <a:cs typeface="+mn-cs"/>
            </a:rPr>
            <a:t>Azure SQL Datababase</a:t>
          </a:r>
          <a:endParaRPr lang="en-US" sz="1800" kern="1200" dirty="0">
            <a:latin typeface="Segoe UI"/>
            <a:ea typeface="+mn-ea"/>
            <a:cs typeface="+mn-cs"/>
          </a:endParaRPr>
        </a:p>
      </dsp:txBody>
      <dsp:txXfrm>
        <a:off x="7758609" y="14063"/>
        <a:ext cx="3401368" cy="950400"/>
      </dsp:txXfrm>
    </dsp:sp>
    <dsp:sp modelId="{E6A5368B-206B-4DAE-BAF7-B0396F4E16C2}">
      <dsp:nvSpPr>
        <dsp:cNvPr id="0" name=""/>
        <dsp:cNvSpPr/>
      </dsp:nvSpPr>
      <dsp:spPr>
        <a:xfrm>
          <a:off x="7758609" y="964463"/>
          <a:ext cx="3401368" cy="430278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latin typeface="Segoe UI"/>
              <a:ea typeface="+mn-ea"/>
              <a:cs typeface="+mn-cs"/>
            </a:rPr>
            <a:t>New cloud-designed applications that want to use the latest stable SQL Server features and have time constraints in development and marketing.</a:t>
          </a:r>
          <a:endParaRPr lang="nl-BE" sz="1400" kern="1200" dirty="0">
            <a:latin typeface="Segoe UI"/>
            <a:ea typeface="+mn-ea"/>
            <a:cs typeface="+mn-cs"/>
          </a:endParaRPr>
        </a:p>
        <a:p>
          <a:pPr marL="114300" lvl="1" indent="-114300" algn="l" defTabSz="622300">
            <a:lnSpc>
              <a:spcPct val="90000"/>
            </a:lnSpc>
            <a:spcBef>
              <a:spcPct val="0"/>
            </a:spcBef>
            <a:spcAft>
              <a:spcPct val="15000"/>
            </a:spcAft>
            <a:buChar char="•"/>
          </a:pPr>
          <a:endParaRPr lang="nl-BE" sz="1400" kern="1200" dirty="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dirty="0">
              <a:latin typeface="Segoe UI"/>
              <a:ea typeface="+mn-ea"/>
              <a:cs typeface="+mn-cs"/>
            </a:rPr>
            <a:t>Teams that need built-in high availability, disaster recovery, and upgrade for the database.</a:t>
          </a:r>
        </a:p>
        <a:p>
          <a:pPr marL="114300" lvl="1" indent="-114300" algn="l" defTabSz="622300">
            <a:lnSpc>
              <a:spcPct val="90000"/>
            </a:lnSpc>
            <a:spcBef>
              <a:spcPct val="0"/>
            </a:spcBef>
            <a:spcAft>
              <a:spcPct val="15000"/>
            </a:spcAft>
            <a:buChar char="•"/>
          </a:pPr>
          <a:endParaRPr lang="en-US" sz="1400" kern="1200" dirty="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dirty="0">
              <a:latin typeface="Segoe UI"/>
              <a:ea typeface="+mn-ea"/>
              <a:cs typeface="+mn-cs"/>
            </a:rPr>
            <a:t>Teams that do not want to manage the underlying operating system and configuration settings.</a:t>
          </a:r>
        </a:p>
        <a:p>
          <a:pPr marL="114300" lvl="1" indent="-114300" algn="l" defTabSz="622300">
            <a:lnSpc>
              <a:spcPct val="90000"/>
            </a:lnSpc>
            <a:spcBef>
              <a:spcPct val="0"/>
            </a:spcBef>
            <a:spcAft>
              <a:spcPct val="15000"/>
            </a:spcAft>
            <a:buChar char="•"/>
          </a:pPr>
          <a:endParaRPr lang="en-US" sz="1400" kern="1200" dirty="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dirty="0">
              <a:latin typeface="Segoe UI"/>
              <a:ea typeface="+mn-ea"/>
              <a:cs typeface="+mn-cs"/>
            </a:rPr>
            <a:t>Databases of up to 4 TB, or larger databases that can be horizontally or vertically partitioned using a scale-out pattern.</a:t>
          </a:r>
        </a:p>
      </dsp:txBody>
      <dsp:txXfrm>
        <a:off x="7758609" y="964463"/>
        <a:ext cx="3401368" cy="430278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C62253-02D6-41BA-BDFA-87B7011E16A3}">
      <dsp:nvSpPr>
        <dsp:cNvPr id="0" name=""/>
        <dsp:cNvSpPr/>
      </dsp:nvSpPr>
      <dsp:spPr>
        <a:xfrm>
          <a:off x="0" y="152220"/>
          <a:ext cx="6836045" cy="5405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Database Transaction Unit (DTU) model</a:t>
          </a:r>
          <a:endParaRPr lang="en-US" sz="2100" kern="1200"/>
        </a:p>
      </dsp:txBody>
      <dsp:txXfrm>
        <a:off x="26387" y="178607"/>
        <a:ext cx="6783271" cy="487766"/>
      </dsp:txXfrm>
    </dsp:sp>
    <dsp:sp modelId="{8E733FAC-E24A-4DF8-9BB9-862F4FD0A711}">
      <dsp:nvSpPr>
        <dsp:cNvPr id="0" name=""/>
        <dsp:cNvSpPr/>
      </dsp:nvSpPr>
      <dsp:spPr>
        <a:xfrm>
          <a:off x="0" y="692760"/>
          <a:ext cx="6836045" cy="14345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044"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a:t>Pre-packaged, bundled unit that represents the database power. </a:t>
          </a:r>
        </a:p>
        <a:p>
          <a:pPr marL="171450" lvl="1" indent="-171450" algn="l" defTabSz="711200">
            <a:lnSpc>
              <a:spcPct val="90000"/>
            </a:lnSpc>
            <a:spcBef>
              <a:spcPct val="0"/>
            </a:spcBef>
            <a:spcAft>
              <a:spcPct val="20000"/>
            </a:spcAft>
            <a:buChar char="•"/>
          </a:pPr>
          <a:r>
            <a:rPr lang="en-US" sz="1600" kern="1200"/>
            <a:t>Designed for </a:t>
          </a:r>
          <a:r>
            <a:rPr lang="en-US" sz="1600" b="1" kern="1200"/>
            <a:t>predictable performance</a:t>
          </a:r>
          <a:r>
            <a:rPr lang="en-US" sz="1600" kern="1200"/>
            <a:t>, but somewhat inflexible and limited in options.</a:t>
          </a:r>
          <a:endParaRPr lang="en-US" sz="1600" kern="1200">
            <a:cs typeface="Segoe UI"/>
          </a:endParaRPr>
        </a:p>
        <a:p>
          <a:pPr marL="171450" lvl="1" indent="-171450" algn="l" defTabSz="711200">
            <a:lnSpc>
              <a:spcPct val="90000"/>
            </a:lnSpc>
            <a:spcBef>
              <a:spcPct val="0"/>
            </a:spcBef>
            <a:spcAft>
              <a:spcPct val="20000"/>
            </a:spcAft>
            <a:buChar char="•"/>
          </a:pPr>
          <a:r>
            <a:rPr lang="en-US" sz="1600" kern="1200" dirty="0"/>
            <a:t>DTU sizing offers simplicity of choice. </a:t>
          </a:r>
        </a:p>
        <a:p>
          <a:pPr marL="171450" lvl="1" indent="-171450" algn="l" defTabSz="711200">
            <a:lnSpc>
              <a:spcPct val="90000"/>
            </a:lnSpc>
            <a:spcBef>
              <a:spcPct val="0"/>
            </a:spcBef>
            <a:spcAft>
              <a:spcPct val="20000"/>
            </a:spcAft>
            <a:buChar char="•"/>
          </a:pPr>
          <a:r>
            <a:rPr lang="en-US" sz="1600" kern="1200">
              <a:cs typeface="Segoe UI"/>
            </a:rPr>
            <a:t>Blended measure of CPU, memory, and read-write rates.</a:t>
          </a:r>
        </a:p>
      </dsp:txBody>
      <dsp:txXfrm>
        <a:off x="0" y="692760"/>
        <a:ext cx="6836045" cy="1434509"/>
      </dsp:txXfrm>
    </dsp:sp>
    <dsp:sp modelId="{FD123AF8-832B-463D-9A48-EA0F6004285B}">
      <dsp:nvSpPr>
        <dsp:cNvPr id="0" name=""/>
        <dsp:cNvSpPr/>
      </dsp:nvSpPr>
      <dsp:spPr>
        <a:xfrm>
          <a:off x="0" y="2127270"/>
          <a:ext cx="6836045" cy="5405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vCore model</a:t>
          </a:r>
          <a:endParaRPr lang="en-US" sz="2100" kern="1200" dirty="0"/>
        </a:p>
      </dsp:txBody>
      <dsp:txXfrm>
        <a:off x="26387" y="2153657"/>
        <a:ext cx="6783271" cy="487766"/>
      </dsp:txXfrm>
    </dsp:sp>
    <dsp:sp modelId="{DB95D02C-0B75-4757-804F-2486895801FA}">
      <dsp:nvSpPr>
        <dsp:cNvPr id="0" name=""/>
        <dsp:cNvSpPr/>
      </dsp:nvSpPr>
      <dsp:spPr>
        <a:xfrm>
          <a:off x="0" y="2667810"/>
          <a:ext cx="6836045" cy="19996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044"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a:t>À La carte approach deconstructs the DTU model into separate parts.</a:t>
          </a:r>
        </a:p>
        <a:p>
          <a:pPr marL="171450" lvl="1" indent="-171450" algn="l" defTabSz="711200">
            <a:lnSpc>
              <a:spcPct val="90000"/>
            </a:lnSpc>
            <a:spcBef>
              <a:spcPct val="0"/>
            </a:spcBef>
            <a:spcAft>
              <a:spcPct val="20000"/>
            </a:spcAft>
            <a:buChar char="•"/>
          </a:pPr>
          <a:r>
            <a:rPr lang="en-US" sz="1600" kern="1200"/>
            <a:t>Customers can select compute and storage independently.</a:t>
          </a:r>
          <a:endParaRPr lang="en-US" sz="1600" kern="1200">
            <a:cs typeface="Segoe UI"/>
          </a:endParaRPr>
        </a:p>
        <a:p>
          <a:pPr marL="171450" lvl="1" indent="-171450" algn="l" defTabSz="711200">
            <a:lnSpc>
              <a:spcPct val="90000"/>
            </a:lnSpc>
            <a:spcBef>
              <a:spcPct val="0"/>
            </a:spcBef>
            <a:spcAft>
              <a:spcPct val="20000"/>
            </a:spcAft>
            <a:buChar char="•"/>
          </a:pPr>
          <a:r>
            <a:rPr lang="en-US" sz="1600" kern="1200"/>
            <a:t>Allows customers to right-size their compute requirements in the cloud.</a:t>
          </a:r>
          <a:endParaRPr lang="en-US" sz="1600" kern="1200">
            <a:cs typeface="Segoe UI"/>
          </a:endParaRPr>
        </a:p>
        <a:p>
          <a:pPr marL="171450" lvl="1" indent="-171450" algn="l" defTabSz="711200">
            <a:lnSpc>
              <a:spcPct val="90000"/>
            </a:lnSpc>
            <a:spcBef>
              <a:spcPct val="0"/>
            </a:spcBef>
            <a:spcAft>
              <a:spcPct val="20000"/>
            </a:spcAft>
            <a:buChar char="•"/>
          </a:pPr>
          <a:r>
            <a:rPr lang="en-US" sz="1600" kern="1200" dirty="0"/>
            <a:t>vCore sizing offers flexibility of choice.</a:t>
          </a:r>
        </a:p>
        <a:p>
          <a:pPr marL="171450" lvl="1" indent="-171450" algn="l" defTabSz="711200">
            <a:lnSpc>
              <a:spcPct val="90000"/>
            </a:lnSpc>
            <a:spcBef>
              <a:spcPct val="0"/>
            </a:spcBef>
            <a:spcAft>
              <a:spcPct val="20000"/>
            </a:spcAft>
            <a:buChar char="•"/>
          </a:pPr>
          <a:r>
            <a:rPr lang="en-US" sz="1600" kern="1200"/>
            <a:t>Provides a choice between a </a:t>
          </a:r>
          <a:r>
            <a:rPr lang="en-US" sz="1600" b="1" kern="1200"/>
            <a:t>provisioned compute tier</a:t>
          </a:r>
          <a:r>
            <a:rPr lang="en-US" sz="1600" kern="1200"/>
            <a:t> and a </a:t>
          </a:r>
          <a:r>
            <a:rPr lang="en-US" sz="1600" b="1" kern="1200"/>
            <a:t>serverless</a:t>
          </a:r>
          <a:r>
            <a:rPr lang="en-US" sz="1600" kern="1200"/>
            <a:t> </a:t>
          </a:r>
          <a:r>
            <a:rPr lang="en-US" sz="1600" b="1" kern="1200"/>
            <a:t>compute tier</a:t>
          </a:r>
          <a:r>
            <a:rPr lang="en-US" sz="1600" kern="1200"/>
            <a:t>.</a:t>
          </a:r>
          <a:endParaRPr lang="en-US" sz="1600" kern="1200">
            <a:cs typeface="Segoe UI"/>
          </a:endParaRPr>
        </a:p>
      </dsp:txBody>
      <dsp:txXfrm>
        <a:off x="0" y="2667810"/>
        <a:ext cx="6836045" cy="199961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3546D4-27AC-4908-AA2C-9C4CAFE6CB68}">
      <dsp:nvSpPr>
        <dsp:cNvPr id="0" name=""/>
        <dsp:cNvSpPr/>
      </dsp:nvSpPr>
      <dsp:spPr>
        <a:xfrm>
          <a:off x="6772" y="1775769"/>
          <a:ext cx="3474606" cy="1389842"/>
        </a:xfrm>
        <a:prstGeom prst="chevron">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baseline="0" dirty="0"/>
            <a:t>DTU based </a:t>
          </a:r>
          <a:endParaRPr lang="en-US" sz="2800" kern="1200" dirty="0"/>
        </a:p>
      </dsp:txBody>
      <dsp:txXfrm>
        <a:off x="701693" y="1775769"/>
        <a:ext cx="2084764" cy="1389842"/>
      </dsp:txXfrm>
    </dsp:sp>
    <dsp:sp modelId="{D828D2B7-B7E9-4A37-B1AE-C80A7E6C30B0}">
      <dsp:nvSpPr>
        <dsp:cNvPr id="0" name=""/>
        <dsp:cNvSpPr/>
      </dsp:nvSpPr>
      <dsp:spPr>
        <a:xfrm>
          <a:off x="3029680" y="1893905"/>
          <a:ext cx="2883923" cy="1153569"/>
        </a:xfrm>
        <a:prstGeom prst="chevron">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Basic</a:t>
          </a:r>
          <a:endParaRPr lang="en-US" sz="2000" kern="1200" dirty="0"/>
        </a:p>
      </dsp:txBody>
      <dsp:txXfrm>
        <a:off x="3606465" y="1893905"/>
        <a:ext cx="1730354" cy="1153569"/>
      </dsp:txXfrm>
    </dsp:sp>
    <dsp:sp modelId="{6679B128-AD39-4BAB-8CF9-168F57776BA2}">
      <dsp:nvSpPr>
        <dsp:cNvPr id="0" name=""/>
        <dsp:cNvSpPr/>
      </dsp:nvSpPr>
      <dsp:spPr>
        <a:xfrm>
          <a:off x="5509855" y="1893905"/>
          <a:ext cx="2883923" cy="1153569"/>
        </a:xfrm>
        <a:prstGeom prst="chevron">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Standard</a:t>
          </a:r>
          <a:endParaRPr lang="en-US" sz="2000" kern="1200" dirty="0"/>
        </a:p>
      </dsp:txBody>
      <dsp:txXfrm>
        <a:off x="6086640" y="1893905"/>
        <a:ext cx="1730354" cy="1153569"/>
      </dsp:txXfrm>
    </dsp:sp>
    <dsp:sp modelId="{F68BEEB1-9633-43E9-8BE2-8EAF9E0B2A3E}">
      <dsp:nvSpPr>
        <dsp:cNvPr id="0" name=""/>
        <dsp:cNvSpPr/>
      </dsp:nvSpPr>
      <dsp:spPr>
        <a:xfrm>
          <a:off x="7990029" y="1893905"/>
          <a:ext cx="2883923" cy="1153569"/>
        </a:xfrm>
        <a:prstGeom prst="chevron">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Premium</a:t>
          </a:r>
          <a:endParaRPr lang="en-US" sz="2000" kern="1200" dirty="0"/>
        </a:p>
      </dsp:txBody>
      <dsp:txXfrm>
        <a:off x="8566814" y="1893905"/>
        <a:ext cx="1730354" cy="1153569"/>
      </dsp:txXfrm>
    </dsp:sp>
    <dsp:sp modelId="{4C260DCB-F5FD-4739-B27A-C3C202058DAC}">
      <dsp:nvSpPr>
        <dsp:cNvPr id="0" name=""/>
        <dsp:cNvSpPr/>
      </dsp:nvSpPr>
      <dsp:spPr>
        <a:xfrm>
          <a:off x="6772" y="3360189"/>
          <a:ext cx="3474606" cy="1389842"/>
        </a:xfrm>
        <a:prstGeom prst="chevron">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baseline="0" dirty="0"/>
            <a:t>vCore based</a:t>
          </a:r>
          <a:endParaRPr lang="en-US" sz="2800" kern="1200" dirty="0"/>
        </a:p>
      </dsp:txBody>
      <dsp:txXfrm>
        <a:off x="701693" y="3360189"/>
        <a:ext cx="2084764" cy="1389842"/>
      </dsp:txXfrm>
    </dsp:sp>
    <dsp:sp modelId="{206D7FF8-F6B9-4500-9E02-2062541EEAD4}">
      <dsp:nvSpPr>
        <dsp:cNvPr id="0" name=""/>
        <dsp:cNvSpPr/>
      </dsp:nvSpPr>
      <dsp:spPr>
        <a:xfrm>
          <a:off x="3029680" y="3478326"/>
          <a:ext cx="2883923" cy="1153569"/>
        </a:xfrm>
        <a:prstGeom prst="chevron">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General purpose</a:t>
          </a:r>
          <a:r>
            <a:rPr lang="en-US" sz="2000" kern="1200" baseline="0" dirty="0"/>
            <a:t>.</a:t>
          </a:r>
          <a:endParaRPr lang="en-US" sz="2000" kern="1200" dirty="0"/>
        </a:p>
      </dsp:txBody>
      <dsp:txXfrm>
        <a:off x="3606465" y="3478326"/>
        <a:ext cx="1730354" cy="1153569"/>
      </dsp:txXfrm>
    </dsp:sp>
    <dsp:sp modelId="{3B623178-8E9D-4A3D-ADEB-54F2F088518A}">
      <dsp:nvSpPr>
        <dsp:cNvPr id="0" name=""/>
        <dsp:cNvSpPr/>
      </dsp:nvSpPr>
      <dsp:spPr>
        <a:xfrm>
          <a:off x="5509855" y="3478326"/>
          <a:ext cx="2883923" cy="1153569"/>
        </a:xfrm>
        <a:prstGeom prst="chevron">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Business critical	</a:t>
          </a:r>
          <a:endParaRPr lang="en-US" sz="2000" kern="1200" dirty="0"/>
        </a:p>
      </dsp:txBody>
      <dsp:txXfrm>
        <a:off x="6086640" y="3478326"/>
        <a:ext cx="1730354" cy="1153569"/>
      </dsp:txXfrm>
    </dsp:sp>
    <dsp:sp modelId="{D64817FE-A4A1-48B6-9EAA-67AC8D3DE931}">
      <dsp:nvSpPr>
        <dsp:cNvPr id="0" name=""/>
        <dsp:cNvSpPr/>
      </dsp:nvSpPr>
      <dsp:spPr>
        <a:xfrm>
          <a:off x="7990029" y="3478326"/>
          <a:ext cx="2883923" cy="1153569"/>
        </a:xfrm>
        <a:prstGeom prst="chevron">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Hyperscale</a:t>
          </a:r>
          <a:endParaRPr lang="en-US" sz="2000" kern="1200" dirty="0"/>
        </a:p>
      </dsp:txBody>
      <dsp:txXfrm>
        <a:off x="8566814" y="3478326"/>
        <a:ext cx="1730354" cy="115356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396F59-7F72-4853-927A-23A9C9806795}">
      <dsp:nvSpPr>
        <dsp:cNvPr id="0" name=""/>
        <dsp:cNvSpPr/>
      </dsp:nvSpPr>
      <dsp:spPr>
        <a:xfrm>
          <a:off x="3400" y="319380"/>
          <a:ext cx="3315221" cy="1326088"/>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a:t>Simplicity:</a:t>
          </a:r>
          <a:endParaRPr lang="en-US" sz="2400" kern="1200"/>
        </a:p>
      </dsp:txBody>
      <dsp:txXfrm>
        <a:off x="3400" y="319380"/>
        <a:ext cx="3315221" cy="1326088"/>
      </dsp:txXfrm>
    </dsp:sp>
    <dsp:sp modelId="{9E082DBC-96FC-4ABC-9C9B-7DDEC7C799C3}">
      <dsp:nvSpPr>
        <dsp:cNvPr id="0" name=""/>
        <dsp:cNvSpPr/>
      </dsp:nvSpPr>
      <dsp:spPr>
        <a:xfrm>
          <a:off x="3400" y="1645469"/>
          <a:ext cx="3315221" cy="28548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We remain committed to the DTU-based model and the simplicity it offers customers who want a pre-configured solution.</a:t>
          </a:r>
        </a:p>
      </dsp:txBody>
      <dsp:txXfrm>
        <a:off x="3400" y="1645469"/>
        <a:ext cx="3315221" cy="2854800"/>
      </dsp:txXfrm>
    </dsp:sp>
    <dsp:sp modelId="{50087DEB-93EE-4B7D-9B8D-61C9CB2202E5}">
      <dsp:nvSpPr>
        <dsp:cNvPr id="0" name=""/>
        <dsp:cNvSpPr/>
      </dsp:nvSpPr>
      <dsp:spPr>
        <a:xfrm>
          <a:off x="3782752" y="319380"/>
          <a:ext cx="3315221" cy="1326088"/>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a:t>Flexibility</a:t>
          </a:r>
          <a:r>
            <a:rPr lang="en-US" sz="2400" kern="1200"/>
            <a:t>: </a:t>
          </a:r>
        </a:p>
      </dsp:txBody>
      <dsp:txXfrm>
        <a:off x="3782752" y="319380"/>
        <a:ext cx="3315221" cy="1326088"/>
      </dsp:txXfrm>
    </dsp:sp>
    <dsp:sp modelId="{B4085005-FDE4-4878-83DD-D0E2AE820294}">
      <dsp:nvSpPr>
        <dsp:cNvPr id="0" name=""/>
        <dsp:cNvSpPr/>
      </dsp:nvSpPr>
      <dsp:spPr>
        <a:xfrm>
          <a:off x="3782752" y="1645469"/>
          <a:ext cx="3315221" cy="28548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The </a:t>
          </a:r>
          <a:r>
            <a:rPr lang="en-US" sz="2000" kern="1200" err="1"/>
            <a:t>vCore</a:t>
          </a:r>
          <a:r>
            <a:rPr lang="en-US" sz="2000" kern="1200"/>
            <a:t>-based model reflects our commitment to customer choice and to simplify the hybrid benefit for customers migrating from on-premises.</a:t>
          </a:r>
        </a:p>
      </dsp:txBody>
      <dsp:txXfrm>
        <a:off x="3782752" y="1645469"/>
        <a:ext cx="3315221" cy="2854800"/>
      </dsp:txXfrm>
    </dsp:sp>
    <dsp:sp modelId="{43BD2813-D392-4ED8-BC27-00BF39F6E164}">
      <dsp:nvSpPr>
        <dsp:cNvPr id="0" name=""/>
        <dsp:cNvSpPr/>
      </dsp:nvSpPr>
      <dsp:spPr>
        <a:xfrm>
          <a:off x="7562104" y="319380"/>
          <a:ext cx="3315221" cy="1326088"/>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a:t>Customers pay for:</a:t>
          </a:r>
        </a:p>
      </dsp:txBody>
      <dsp:txXfrm>
        <a:off x="7562104" y="319380"/>
        <a:ext cx="3315221" cy="1326088"/>
      </dsp:txXfrm>
    </dsp:sp>
    <dsp:sp modelId="{D5CCE417-C5D2-4373-9711-96520A5E8DF1}">
      <dsp:nvSpPr>
        <dsp:cNvPr id="0" name=""/>
        <dsp:cNvSpPr/>
      </dsp:nvSpPr>
      <dsp:spPr>
        <a:xfrm>
          <a:off x="7562104" y="1645469"/>
          <a:ext cx="3315221" cy="28548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Service tier + number of </a:t>
          </a:r>
          <a:r>
            <a:rPr lang="en-US" sz="2000" kern="1200" err="1"/>
            <a:t>vCores</a:t>
          </a:r>
          <a:r>
            <a:rPr lang="en-US" sz="2000" kern="1200"/>
            <a:t>.</a:t>
          </a:r>
        </a:p>
        <a:p>
          <a:pPr marL="228600" lvl="1" indent="-228600" algn="l" defTabSz="889000">
            <a:lnSpc>
              <a:spcPct val="90000"/>
            </a:lnSpc>
            <a:spcBef>
              <a:spcPct val="0"/>
            </a:spcBef>
            <a:spcAft>
              <a:spcPct val="15000"/>
            </a:spcAft>
            <a:buChar char="•"/>
          </a:pPr>
          <a:r>
            <a:rPr lang="en-US" sz="2000" kern="1200"/>
            <a:t>Type and amount of data storage. </a:t>
          </a:r>
        </a:p>
        <a:p>
          <a:pPr marL="228600" lvl="1" indent="-228600" algn="l" defTabSz="889000">
            <a:lnSpc>
              <a:spcPct val="90000"/>
            </a:lnSpc>
            <a:spcBef>
              <a:spcPct val="0"/>
            </a:spcBef>
            <a:spcAft>
              <a:spcPct val="15000"/>
            </a:spcAft>
            <a:buChar char="•"/>
          </a:pPr>
          <a:r>
            <a:rPr lang="en-US" sz="2000" kern="1200"/>
            <a:t>Number of IO.</a:t>
          </a:r>
        </a:p>
        <a:p>
          <a:pPr marL="228600" lvl="1" indent="-228600" algn="l" defTabSz="889000">
            <a:lnSpc>
              <a:spcPct val="90000"/>
            </a:lnSpc>
            <a:spcBef>
              <a:spcPct val="0"/>
            </a:spcBef>
            <a:spcAft>
              <a:spcPct val="15000"/>
            </a:spcAft>
            <a:buChar char="•"/>
          </a:pPr>
          <a:r>
            <a:rPr lang="en-US" sz="2000" kern="1200"/>
            <a:t>Backup storage (RA-GRS).</a:t>
          </a:r>
        </a:p>
      </dsp:txBody>
      <dsp:txXfrm>
        <a:off x="7562104" y="1645469"/>
        <a:ext cx="3315221" cy="28548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F8D596-19F9-4238-89A9-09C64E5F8E8D}">
      <dsp:nvSpPr>
        <dsp:cNvPr id="0" name=""/>
        <dsp:cNvSpPr/>
      </dsp:nvSpPr>
      <dsp:spPr>
        <a:xfrm>
          <a:off x="0" y="19"/>
          <a:ext cx="5908269" cy="8294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Compute resources scale dynamically up or down based on workload requirements.</a:t>
          </a:r>
        </a:p>
      </dsp:txBody>
      <dsp:txXfrm>
        <a:off x="40488" y="40507"/>
        <a:ext cx="5827293" cy="748428"/>
      </dsp:txXfrm>
    </dsp:sp>
    <dsp:sp modelId="{2BD41882-F673-4240-8A7B-4406E84B2659}">
      <dsp:nvSpPr>
        <dsp:cNvPr id="0" name=""/>
        <dsp:cNvSpPr/>
      </dsp:nvSpPr>
      <dsp:spPr>
        <a:xfrm>
          <a:off x="0" y="841939"/>
          <a:ext cx="5908269" cy="8294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a:t>Configure minimum and maximum vCores to define the range of available compute capacity. </a:t>
          </a:r>
        </a:p>
      </dsp:txBody>
      <dsp:txXfrm>
        <a:off x="40488" y="882427"/>
        <a:ext cx="5827293" cy="748428"/>
      </dsp:txXfrm>
    </dsp:sp>
    <dsp:sp modelId="{9C8AC09C-F5B9-4310-99E1-D79A24432A41}">
      <dsp:nvSpPr>
        <dsp:cNvPr id="0" name=""/>
        <dsp:cNvSpPr/>
      </dsp:nvSpPr>
      <dsp:spPr>
        <a:xfrm>
          <a:off x="0" y="1683860"/>
          <a:ext cx="5908269" cy="8294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Use auto-pause delay to define the time period the dataset must be inactive before pausing.</a:t>
          </a:r>
        </a:p>
      </dsp:txBody>
      <dsp:txXfrm>
        <a:off x="40488" y="1724348"/>
        <a:ext cx="5827293" cy="748428"/>
      </dsp:txXfrm>
    </dsp:sp>
    <dsp:sp modelId="{69F45228-FC0A-4C87-83A1-A4146235C4F4}">
      <dsp:nvSpPr>
        <dsp:cNvPr id="0" name=""/>
        <dsp:cNvSpPr/>
      </dsp:nvSpPr>
      <dsp:spPr>
        <a:xfrm>
          <a:off x="0" y="2525780"/>
          <a:ext cx="5908269" cy="8294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 The database is automatically resumed when the next login or other activity occurs. </a:t>
          </a:r>
        </a:p>
      </dsp:txBody>
      <dsp:txXfrm>
        <a:off x="40488" y="2566268"/>
        <a:ext cx="5827293" cy="748428"/>
      </dsp:txXfrm>
    </dsp:sp>
    <dsp:sp modelId="{B4981705-4E16-4609-B654-ABD23932F843}">
      <dsp:nvSpPr>
        <dsp:cNvPr id="0" name=""/>
        <dsp:cNvSpPr/>
      </dsp:nvSpPr>
      <dsp:spPr>
        <a:xfrm>
          <a:off x="0" y="3367700"/>
          <a:ext cx="5908269" cy="8294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Pay for compute based on the </a:t>
          </a:r>
          <a:r>
            <a:rPr lang="en-US" sz="1600" kern="1200" dirty="0" err="1"/>
            <a:t>vCores</a:t>
          </a:r>
          <a:r>
            <a:rPr lang="en-US" sz="1600" kern="1200" dirty="0"/>
            <a:t> and memory used per second, with lowest billing based on configured vCore minimum. </a:t>
          </a:r>
        </a:p>
      </dsp:txBody>
      <dsp:txXfrm>
        <a:off x="40488" y="3408188"/>
        <a:ext cx="5827293" cy="748428"/>
      </dsp:txXfrm>
    </dsp:sp>
    <dsp:sp modelId="{61DD9455-966A-484B-9E4E-46B56B0A037F}">
      <dsp:nvSpPr>
        <dsp:cNvPr id="0" name=""/>
        <dsp:cNvSpPr/>
      </dsp:nvSpPr>
      <dsp:spPr>
        <a:xfrm>
          <a:off x="0" y="4209620"/>
          <a:ext cx="5908269" cy="8294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When the database is paused, the compute cost is zero and only storage costs are incurred.</a:t>
          </a:r>
        </a:p>
      </dsp:txBody>
      <dsp:txXfrm>
        <a:off x="40488" y="4250108"/>
        <a:ext cx="5827293" cy="74842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048E07-DD90-43C4-B768-A62B66A1BB27}">
      <dsp:nvSpPr>
        <dsp:cNvPr id="0" name=""/>
        <dsp:cNvSpPr/>
      </dsp:nvSpPr>
      <dsp:spPr>
        <a:xfrm>
          <a:off x="0" y="381800"/>
          <a:ext cx="5668962" cy="1031058"/>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a:t>Hyperscale is a new, highly scalable service tier that adapts on-demand to your workload's needs, auto-scaling up to 100TB per database. </a:t>
          </a:r>
        </a:p>
      </dsp:txBody>
      <dsp:txXfrm>
        <a:off x="0" y="381800"/>
        <a:ext cx="5668962" cy="1031058"/>
      </dsp:txXfrm>
    </dsp:sp>
    <dsp:sp modelId="{D7CF4BA5-E94F-4314-A654-50D25208B26B}">
      <dsp:nvSpPr>
        <dsp:cNvPr id="0" name=""/>
        <dsp:cNvSpPr/>
      </dsp:nvSpPr>
      <dsp:spPr>
        <a:xfrm>
          <a:off x="0" y="1412859"/>
          <a:ext cx="5668962" cy="302499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a:t>Storage dynamically adapts to your workloads’ needs, auto-scaling up to 100TB.</a:t>
          </a:r>
        </a:p>
        <a:p>
          <a:pPr marL="171450" lvl="1" indent="-171450" algn="l" defTabSz="844550">
            <a:lnSpc>
              <a:spcPct val="90000"/>
            </a:lnSpc>
            <a:spcBef>
              <a:spcPct val="0"/>
            </a:spcBef>
            <a:spcAft>
              <a:spcPct val="15000"/>
            </a:spcAft>
            <a:buChar char="•"/>
          </a:pPr>
          <a:r>
            <a:rPr lang="en-US" sz="1900" kern="1200" dirty="0"/>
            <a:t>Provision one or more additional compute nodes that can serve your read-only workload and use them as a hot-standby, in case of failover.</a:t>
          </a:r>
        </a:p>
        <a:p>
          <a:pPr marL="171450" lvl="1" indent="-171450" algn="l" defTabSz="844550">
            <a:lnSpc>
              <a:spcPct val="90000"/>
            </a:lnSpc>
            <a:spcBef>
              <a:spcPct val="0"/>
            </a:spcBef>
            <a:spcAft>
              <a:spcPct val="15000"/>
            </a:spcAft>
            <a:buChar char="•"/>
          </a:pPr>
          <a:r>
            <a:rPr lang="en-US" sz="1900" kern="1200"/>
            <a:t>Perform operations in constant time, regardless of the size of the data operation.</a:t>
          </a:r>
        </a:p>
        <a:p>
          <a:pPr marL="171450" lvl="1" indent="-171450" algn="l" defTabSz="844550">
            <a:lnSpc>
              <a:spcPct val="90000"/>
            </a:lnSpc>
            <a:spcBef>
              <a:spcPct val="0"/>
            </a:spcBef>
            <a:spcAft>
              <a:spcPct val="15000"/>
            </a:spcAft>
            <a:buChar char="•"/>
          </a:pPr>
          <a:r>
            <a:rPr lang="en-US" sz="1900" kern="1200"/>
            <a:t>Compute and storage resources scale rapidly and independently without sacrificing performance. </a:t>
          </a:r>
        </a:p>
      </dsp:txBody>
      <dsp:txXfrm>
        <a:off x="0" y="1412859"/>
        <a:ext cx="5668962" cy="302499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17.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18.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20.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5.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6.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9.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07.02.2022</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2/7/2022</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azure/sql-database/sql-database-service-tiers#single-database-service-tiers-and-performance-levels"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dtucalculator.azurewebsites.net/"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azure.microsoft.com/support/legal/sla/"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zure.microsoft.com/en-us/pricing/details/sql-database/"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docs.microsoft.com/en-us/azure/storage/common/storage-redundancy-lrs" TargetMode="External"/><Relationship Id="rId5" Type="http://schemas.openxmlformats.org/officeDocument/2006/relationships/hyperlink" Target="https://docs.microsoft.com/en-us/azure/storage/common/storage-scalability-targets" TargetMode="External"/><Relationship Id="rId4" Type="http://schemas.openxmlformats.org/officeDocument/2006/relationships/hyperlink" Target="https://docs.microsoft.com/en-us/azure/sql-database/sql-database-service-tiers-vcore"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azure.microsoft.com/en-us/pricing/details/sql-database/"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docs.microsoft.com/en-us/azure/storage/common/storage-redundancy-lrs" TargetMode="External"/><Relationship Id="rId5" Type="http://schemas.openxmlformats.org/officeDocument/2006/relationships/hyperlink" Target="https://docs.microsoft.com/en-us/azure/storage/common/storage-scalability-targets" TargetMode="External"/><Relationship Id="rId4" Type="http://schemas.openxmlformats.org/officeDocument/2006/relationships/hyperlink" Target="https://docs.microsoft.com/en-us/azure/sql-database/sql-database-service-tiers-vcore"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sql/database-engine/availability-groups/windows/overview-of-always-on-availability-groups-sql-server"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sql-database/sql-database-service-tiers-vcore#gen4gen5-1" TargetMode="External"/><Relationship Id="rId2" Type="http://schemas.openxmlformats.org/officeDocument/2006/relationships/slide" Target="../slides/slide29.xml"/><Relationship Id="rId1" Type="http://schemas.openxmlformats.org/officeDocument/2006/relationships/notesMaster" Target="../notesMasters/notesMaster1.xml"/><Relationship Id="rId5" Type="http://schemas.openxmlformats.org/officeDocument/2006/relationships/hyperlink" Target="https://docs.microsoft.com/en-us/azure/sql-database/sql-database-service-tiers-vcore#m-series" TargetMode="External"/><Relationship Id="rId4" Type="http://schemas.openxmlformats.org/officeDocument/2006/relationships/hyperlink" Target="https://docs.microsoft.com/en-us/azure/sql-database/sql-database-service-tiers-vcore#fsv2-series"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aka.ms/hyperscaleblog"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8" Type="http://schemas.openxmlformats.org/officeDocument/2006/relationships/hyperlink" Target="http://msdn.microsoft.com/en-us/library/azure/hh852669.aspx" TargetMode="External"/><Relationship Id="rId3" Type="http://schemas.openxmlformats.org/officeDocument/2006/relationships/hyperlink" Target="http://go.microsoft.com/fwlink/?LinkId=394978" TargetMode="External"/><Relationship Id="rId7" Type="http://schemas.openxmlformats.org/officeDocument/2006/relationships/hyperlink" Target="http://go.microsoft.com/fwlink/?LinkId=402063" TargetMode="External"/><Relationship Id="rId2" Type="http://schemas.openxmlformats.org/officeDocument/2006/relationships/slide" Target="../slides/slide40.xml"/><Relationship Id="rId1" Type="http://schemas.openxmlformats.org/officeDocument/2006/relationships/notesMaster" Target="../notesMasters/notesMaster1.xml"/><Relationship Id="rId6" Type="http://schemas.openxmlformats.org/officeDocument/2006/relationships/hyperlink" Target="http://msdn.microsoft.com/en-us/library/azure/dn741336.aspx" TargetMode="External"/><Relationship Id="rId5" Type="http://schemas.openxmlformats.org/officeDocument/2006/relationships/hyperlink" Target="http://msdn.microsoft.com/en-us/library/azure/dn369872.aspx" TargetMode="External"/><Relationship Id="rId4" Type="http://schemas.openxmlformats.org/officeDocument/2006/relationships/hyperlink" Target="http://msdn.microsoft.com/en-us/library/azure/dn741330.aspx" TargetMode="External"/><Relationship Id="rId9" Type="http://schemas.openxmlformats.org/officeDocument/2006/relationships/hyperlink" Target="http://msdn.microsoft.com/en-us/library/azure/dn369873.aspx" TargetMode="Externa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msdn.microsoft.com/library/dn270010.aspx"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raw.githubusercontent.com/Azure/azure-docs-json-samples/master/SQLServerAndDatabase/azuredeploy.json"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docs.microsoft.com/en-us/azure/sql-database/sql-database-elastic-pool" TargetMode="External"/><Relationship Id="rId2" Type="http://schemas.openxmlformats.org/officeDocument/2006/relationships/slide" Target="../slides/slide57.xml"/><Relationship Id="rId1" Type="http://schemas.openxmlformats.org/officeDocument/2006/relationships/notesMaster" Target="../notesMasters/notesMaster1.xml"/><Relationship Id="rId4" Type="http://schemas.openxmlformats.org/officeDocument/2006/relationships/hyperlink" Target="https://sec.ch9.ms/ch9/5022/64e0e193-2792-4a62-854e-31ae76365022/ElasticDatabasePools_mid.mp4" TargetMode="Externa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docs.microsoft.com/en-us/azure/sql-database/sql-database-service-tiers-dtu" TargetMode="External"/><Relationship Id="rId2" Type="http://schemas.openxmlformats.org/officeDocument/2006/relationships/slide" Target="../slides/slide58.xml"/><Relationship Id="rId1" Type="http://schemas.openxmlformats.org/officeDocument/2006/relationships/notesMaster" Target="../notesMasters/notesMaster1.xml"/><Relationship Id="rId4" Type="http://schemas.openxmlformats.org/officeDocument/2006/relationships/hyperlink" Target="https://docs.microsoft.com/en-us/azure/sql-database/sql-database-service-tiers-vcore" TargetMode="Externa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docs.microsoft.com/en-us/azure/sql-database/sql-database-dtu-resource-limits-elastic-pools"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docs.microsoft.com/en-us/azure/sql-database/sql-database-vcore-resource-limits-elastic-pools" TargetMode="External"/><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docs.microsoft.com/en-us/azure/sql-database/sql-database-vcore-resource-limits-elastic-pools"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docs.microsoft.com/en-us/azure/sql-database/sql-database-elastic-pool" TargetMode="External"/><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azure/sql-database/sql-database-elastic-pool-manage#azure-portal-manage-elastic-pools-and-pooled-databases" TargetMode="External"/><Relationship Id="rId7" Type="http://schemas.openxmlformats.org/officeDocument/2006/relationships/hyperlink" Target="https://docs.microsoft.com/en-us/azure/sql-database/sql-database-accelerated-database-recovery" TargetMode="External"/><Relationship Id="rId2" Type="http://schemas.openxmlformats.org/officeDocument/2006/relationships/slide" Target="../slides/slide64.xml"/><Relationship Id="rId1" Type="http://schemas.openxmlformats.org/officeDocument/2006/relationships/notesMaster" Target="../notesMasters/notesMaster1.xml"/><Relationship Id="rId6" Type="http://schemas.openxmlformats.org/officeDocument/2006/relationships/hyperlink" Target="https://docs.microsoft.com/rest/api/sql/elasticpools/update" TargetMode="External"/><Relationship Id="rId5" Type="http://schemas.openxmlformats.org/officeDocument/2006/relationships/hyperlink" Target="https://docs.microsoft.com/en-us/cli/azure/sql/elastic-pool#az-sql-elastic-pool-update" TargetMode="External"/><Relationship Id="rId4" Type="http://schemas.openxmlformats.org/officeDocument/2006/relationships/hyperlink" Target="https://docs.microsoft.com/en-us/powershell/module/az.sql/Get-AzSqlElasticPool" TargetMode="Externa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docs.microsoft.com/en-us/azure/sql-database/sql-database-elastic-pool-scale"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8" Type="http://schemas.openxmlformats.org/officeDocument/2006/relationships/hyperlink" Target="https://docs.microsoft.com/rest/api/sql/elasticpools/update" TargetMode="External"/><Relationship Id="rId3" Type="http://schemas.openxmlformats.org/officeDocument/2006/relationships/hyperlink" Target="https://azure.microsoft.com/pricing/details/sql-database/" TargetMode="External"/><Relationship Id="rId7" Type="http://schemas.openxmlformats.org/officeDocument/2006/relationships/hyperlink" Target="https://docs.microsoft.com/en-us/cli/azure/sql/elastic-pool#az-sql-elastic-pool-update" TargetMode="External"/><Relationship Id="rId2" Type="http://schemas.openxmlformats.org/officeDocument/2006/relationships/slide" Target="../slides/slide66.xml"/><Relationship Id="rId1" Type="http://schemas.openxmlformats.org/officeDocument/2006/relationships/notesMaster" Target="../notesMasters/notesMaster1.xml"/><Relationship Id="rId6" Type="http://schemas.openxmlformats.org/officeDocument/2006/relationships/hyperlink" Target="https://docs.microsoft.com/en-us/powershell/module/az.sql/Get-AzSqlElasticPool" TargetMode="External"/><Relationship Id="rId5" Type="http://schemas.openxmlformats.org/officeDocument/2006/relationships/hyperlink" Target="https://docs.microsoft.com/en-us/azure/sql-database/sql-database-elastic-pool-manage#azure-portal-manage-elastic-pools-and-pooled-databases" TargetMode="External"/><Relationship Id="rId4" Type="http://schemas.openxmlformats.org/officeDocument/2006/relationships/hyperlink" Target="https://docs.microsoft.com/en-us/azure/sql-database/sql-database-dtu-resource-limits-elastic-pools#elastic-pool-storage-sizes-and-compute-sizes" TargetMode="Externa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8" Type="http://schemas.openxmlformats.org/officeDocument/2006/relationships/hyperlink" Target="https://docs.microsoft.com/en-us/azure/sql-database/sql-database-scale-resources" TargetMode="External"/><Relationship Id="rId3" Type="http://schemas.openxmlformats.org/officeDocument/2006/relationships/hyperlink" Target="https://docs.microsoft.com/en-us/azure/sql-database/sql-database-business-continuity" TargetMode="External"/><Relationship Id="rId7" Type="http://schemas.openxmlformats.org/officeDocument/2006/relationships/hyperlink" Target="https://docs.microsoft.com/en-us/azure/sql-database/sql-database-geo-replication-overview" TargetMode="External"/><Relationship Id="rId12" Type="http://schemas.openxmlformats.org/officeDocument/2006/relationships/hyperlink" Target="https://docs.microsoft.com/en-us/azure/sql-database/sql-database-intelligent-insights" TargetMode="External"/><Relationship Id="rId2" Type="http://schemas.openxmlformats.org/officeDocument/2006/relationships/slide" Target="../slides/slide75.xml"/><Relationship Id="rId1" Type="http://schemas.openxmlformats.org/officeDocument/2006/relationships/notesMaster" Target="../notesMasters/notesMaster1.xml"/><Relationship Id="rId6" Type="http://schemas.openxmlformats.org/officeDocument/2006/relationships/hyperlink" Target="https://docs.microsoft.com/en-us/azure/sql-database/sql-database-long-term-retention" TargetMode="External"/><Relationship Id="rId11" Type="http://schemas.openxmlformats.org/officeDocument/2006/relationships/hyperlink" Target="https://docs.microsoft.com/en-us/azure/log-analytics/log-analytics-azure-sql" TargetMode="External"/><Relationship Id="rId5" Type="http://schemas.openxmlformats.org/officeDocument/2006/relationships/hyperlink" Target="https://docs.microsoft.com/en-us/azure/sql-database/sql-database-automated-backups" TargetMode="External"/><Relationship Id="rId10" Type="http://schemas.openxmlformats.org/officeDocument/2006/relationships/hyperlink" Target="https://docs.microsoft.com/en-us/azure/sql-database/sql-database-automatic-tuning" TargetMode="External"/><Relationship Id="rId4" Type="http://schemas.openxmlformats.org/officeDocument/2006/relationships/hyperlink" Target="https://docs.microsoft.com/en-us/azure/sql-database/sql-database-high-availability" TargetMode="External"/><Relationship Id="rId9" Type="http://schemas.openxmlformats.org/officeDocument/2006/relationships/hyperlink" Target="https://docs.microsoft.com/en-us/azure/sql-database/sql-database-security-index" TargetMode="Externa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azure.microsoft.com/en-us/pricing/"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2/7/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676444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a:solidFill>
                  <a:schemeClr val="tx1"/>
                </a:solidFill>
                <a:effectLst/>
                <a:latin typeface="Segoe UI Light" pitchFamily="34" charset="0"/>
                <a:ea typeface="+mn-ea"/>
                <a:cs typeface="+mn-cs"/>
              </a:rPr>
              <a:t>The objective of this part of the lesson is to explain the architecture of Azure SQL Database. There are four layers: Client, Services, Platform and Infrastructure. </a:t>
            </a:r>
          </a:p>
          <a:p>
            <a:pPr marL="171450" indent="-171450">
              <a:buFont typeface="Arial" panose="020B0604020202020204" pitchFamily="34" charset="0"/>
              <a:buChar char="•"/>
            </a:pPr>
            <a:r>
              <a:rPr lang="en-US" sz="800" b="0" i="0" u="none" strike="noStrike" kern="1200">
                <a:solidFill>
                  <a:schemeClr val="tx1"/>
                </a:solidFill>
                <a:effectLst/>
                <a:latin typeface="Segoe UI Light" pitchFamily="34" charset="0"/>
                <a:ea typeface="+mn-ea"/>
                <a:cs typeface="+mn-cs"/>
              </a:rPr>
              <a:t>The </a:t>
            </a:r>
            <a:r>
              <a:rPr lang="en-US" sz="800" b="1" i="0" u="none" strike="noStrike" kern="1200">
                <a:solidFill>
                  <a:schemeClr val="tx1"/>
                </a:solidFill>
                <a:effectLst/>
                <a:latin typeface="Segoe UI Light" pitchFamily="34" charset="0"/>
                <a:ea typeface="+mn-ea"/>
                <a:cs typeface="+mn-cs"/>
              </a:rPr>
              <a:t>Client layer </a:t>
            </a:r>
            <a:r>
              <a:rPr lang="en-US" sz="800" b="0" i="0" u="none" strike="noStrike" kern="1200">
                <a:solidFill>
                  <a:schemeClr val="tx1"/>
                </a:solidFill>
                <a:effectLst/>
                <a:latin typeface="Segoe UI Light" pitchFamily="34" charset="0"/>
                <a:ea typeface="+mn-ea"/>
                <a:cs typeface="+mn-cs"/>
              </a:rPr>
              <a:t>is the same as any client communication to Microsoft SQL Server because Azure SQL Database uses the same transport protocol as other versions of SQL Server, namely, TDS (Tabular Data Stream). This means you can use all the normal client tools such as SQL Server Management Studio (SSMS), SQLCMD and client libraries such as ADO.NET, ODBC and JDBC with standard connection strings. </a:t>
            </a:r>
          </a:p>
          <a:p>
            <a:pPr marL="171450" indent="-171450">
              <a:buFont typeface="Arial" panose="020B0604020202020204" pitchFamily="34" charset="0"/>
              <a:buChar char="•"/>
            </a:pPr>
            <a:r>
              <a:rPr lang="en-US" sz="800" b="0" i="0" u="none" strike="noStrike" kern="1200">
                <a:solidFill>
                  <a:schemeClr val="tx1"/>
                </a:solidFill>
                <a:effectLst/>
                <a:latin typeface="Segoe UI Light" pitchFamily="34" charset="0"/>
                <a:ea typeface="+mn-ea"/>
                <a:cs typeface="+mn-cs"/>
              </a:rPr>
              <a:t>The </a:t>
            </a:r>
            <a:r>
              <a:rPr lang="en-US" sz="800" b="1" i="0" u="none" strike="noStrike" kern="1200">
                <a:solidFill>
                  <a:schemeClr val="tx1"/>
                </a:solidFill>
                <a:effectLst/>
                <a:latin typeface="Segoe UI Light" pitchFamily="34" charset="0"/>
                <a:ea typeface="+mn-ea"/>
                <a:cs typeface="+mn-cs"/>
              </a:rPr>
              <a:t>Services layer </a:t>
            </a:r>
            <a:r>
              <a:rPr lang="en-US" sz="800" b="0" i="0" u="none" strike="noStrike" kern="1200">
                <a:solidFill>
                  <a:schemeClr val="tx1"/>
                </a:solidFill>
                <a:effectLst/>
                <a:latin typeface="Segoe UI Light" pitchFamily="34" charset="0"/>
                <a:ea typeface="+mn-ea"/>
                <a:cs typeface="+mn-cs"/>
              </a:rPr>
              <a:t>acts as a gateway between the Client and Platform layers and provides provisioning, billing and routing functionality. </a:t>
            </a:r>
          </a:p>
          <a:p>
            <a:pPr marL="171450" indent="-171450">
              <a:buFont typeface="Arial" panose="020B0604020202020204" pitchFamily="34" charset="0"/>
              <a:buChar char="•"/>
            </a:pPr>
            <a:r>
              <a:rPr lang="en-US" sz="800" b="0" i="0" u="none" strike="noStrike" kern="1200">
                <a:solidFill>
                  <a:schemeClr val="tx1"/>
                </a:solidFill>
                <a:effectLst/>
                <a:latin typeface="Segoe UI Light" pitchFamily="34" charset="0"/>
                <a:ea typeface="+mn-ea"/>
                <a:cs typeface="+mn-cs"/>
              </a:rPr>
              <a:t>The </a:t>
            </a:r>
            <a:r>
              <a:rPr lang="en-US" sz="800" b="1" i="0" u="none" strike="noStrike" kern="1200">
                <a:solidFill>
                  <a:schemeClr val="tx1"/>
                </a:solidFill>
                <a:effectLst/>
                <a:latin typeface="Segoe UI Light" pitchFamily="34" charset="0"/>
                <a:ea typeface="+mn-ea"/>
                <a:cs typeface="+mn-cs"/>
              </a:rPr>
              <a:t>Platform layer </a:t>
            </a:r>
            <a:r>
              <a:rPr lang="en-US" sz="800" b="0" i="0" u="none" strike="noStrike" kern="1200">
                <a:solidFill>
                  <a:schemeClr val="tx1"/>
                </a:solidFill>
                <a:effectLst/>
                <a:latin typeface="Segoe UI Light" pitchFamily="34" charset="0"/>
                <a:ea typeface="+mn-ea"/>
                <a:cs typeface="+mn-cs"/>
              </a:rPr>
              <a:t>includes the physical servers and the database fabric. </a:t>
            </a:r>
          </a:p>
          <a:p>
            <a:pPr marL="171450" indent="-171450">
              <a:buFont typeface="Arial" panose="020B0604020202020204" pitchFamily="34" charset="0"/>
              <a:buChar char="•"/>
            </a:pPr>
            <a:r>
              <a:rPr lang="en-US" sz="800" b="0" i="0" u="none" strike="noStrike" kern="1200">
                <a:solidFill>
                  <a:schemeClr val="tx1"/>
                </a:solidFill>
                <a:effectLst/>
                <a:latin typeface="Segoe UI Light" pitchFamily="34" charset="0"/>
                <a:ea typeface="+mn-ea"/>
                <a:cs typeface="+mn-cs"/>
              </a:rPr>
              <a:t>The </a:t>
            </a:r>
            <a:r>
              <a:rPr lang="en-US" sz="800" b="1" i="0" u="none" strike="noStrike" kern="1200">
                <a:solidFill>
                  <a:schemeClr val="tx1"/>
                </a:solidFill>
                <a:effectLst/>
                <a:latin typeface="Segoe UI Light" pitchFamily="34" charset="0"/>
                <a:ea typeface="+mn-ea"/>
                <a:cs typeface="+mn-cs"/>
              </a:rPr>
              <a:t>Infrastructure layer </a:t>
            </a:r>
            <a:r>
              <a:rPr lang="en-US" sz="800" b="0" i="0" u="none" strike="noStrike" kern="1200">
                <a:solidFill>
                  <a:schemeClr val="tx1"/>
                </a:solidFill>
                <a:effectLst/>
                <a:latin typeface="Segoe UI Light" pitchFamily="34" charset="0"/>
                <a:ea typeface="+mn-ea"/>
                <a:cs typeface="+mn-cs"/>
              </a:rPr>
              <a:t>includes administration of the physical hardw</a:t>
            </a:r>
            <a:r>
              <a:rPr lang="en-US"/>
              <a:t>are and the operating system.</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a:p>
        </p:txBody>
      </p:sp>
    </p:spTree>
    <p:extLst>
      <p:ext uri="{BB962C8B-B14F-4D97-AF65-F5344CB8AC3E}">
        <p14:creationId xmlns:p14="http://schemas.microsoft.com/office/powerpoint/2010/main" val="35938728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800" b="1" kern="0">
                <a:gradFill>
                  <a:gsLst>
                    <a:gs pos="0">
                      <a:srgbClr val="FFFFFF"/>
                    </a:gs>
                    <a:gs pos="100000">
                      <a:srgbClr val="FFFFFF"/>
                    </a:gs>
                  </a:gsLst>
                  <a:lin ang="5400000" scaled="0"/>
                </a:gradFill>
                <a:latin typeface="+mn-lt"/>
                <a:cs typeface="Segoe UI" pitchFamily="34" charset="0"/>
              </a:rPr>
              <a:t>SQL virtual machin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800" kern="0">
                <a:gradFill>
                  <a:gsLst>
                    <a:gs pos="1770">
                      <a:srgbClr val="1A1A1A"/>
                    </a:gs>
                    <a:gs pos="16000">
                      <a:srgbClr val="1A1A1A"/>
                    </a:gs>
                  </a:gsLst>
                  <a:lin ang="0" scaled="0"/>
                </a:gradFill>
                <a:latin typeface="Segoe UI Semilight" panose="020B0402040204020203" pitchFamily="34" charset="0"/>
                <a:cs typeface="Segoe UI Semilight" panose="020B0402040204020203" pitchFamily="34" charset="0"/>
              </a:rPr>
              <a:t>Best for migrations and applications requiring OS-level acces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1" kern="0">
                <a:gradFill>
                  <a:gsLst>
                    <a:gs pos="0">
                      <a:srgbClr val="FFFFFF"/>
                    </a:gs>
                    <a:gs pos="100000">
                      <a:srgbClr val="FFFFFF"/>
                    </a:gs>
                  </a:gsLst>
                  <a:lin ang="5400000" scaled="0"/>
                </a:gradFill>
                <a:latin typeface="+mn-lt"/>
                <a:cs typeface="Segoe UI" pitchFamily="34" charset="0"/>
              </a:rPr>
              <a:t>Managed instance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800" kern="0">
                <a:gradFill>
                  <a:gsLst>
                    <a:gs pos="1770">
                      <a:schemeClr val="tx1"/>
                    </a:gs>
                    <a:gs pos="16000">
                      <a:schemeClr val="tx1"/>
                    </a:gs>
                  </a:gsLst>
                  <a:lin ang="0" scaled="0"/>
                </a:gradFill>
                <a:latin typeface="Segoe UI Semilight" panose="020B0402040204020203" pitchFamily="34" charset="0"/>
                <a:cs typeface="Segoe UI Semilight" panose="020B0402040204020203" pitchFamily="34" charset="0"/>
              </a:rPr>
              <a:t>Best for most lift-and-shift migrations to the cloud.</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1" kern="0">
                <a:gradFill>
                  <a:gsLst>
                    <a:gs pos="0">
                      <a:srgbClr val="FFFFFF"/>
                    </a:gs>
                    <a:gs pos="100000">
                      <a:srgbClr val="FFFFFF"/>
                    </a:gs>
                  </a:gsLst>
                  <a:lin ang="5400000" scaled="0"/>
                </a:gradFill>
                <a:latin typeface="+mn-lt"/>
                <a:cs typeface="Segoe UI" pitchFamily="34" charset="0"/>
              </a:rPr>
              <a:t>SQL Databas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800" kern="0">
                <a:gradFill>
                  <a:gsLst>
                    <a:gs pos="1770">
                      <a:srgbClr val="1A1A1A"/>
                    </a:gs>
                    <a:gs pos="16000">
                      <a:srgbClr val="1A1A1A"/>
                    </a:gs>
                  </a:gsLst>
                  <a:lin ang="0" scaled="0"/>
                </a:gradFill>
              </a:rPr>
              <a:t>Best for modern cloud applications. Hyperscale and serverless options are available.</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a:p>
        </p:txBody>
      </p:sp>
    </p:spTree>
    <p:extLst>
      <p:ext uri="{BB962C8B-B14F-4D97-AF65-F5344CB8AC3E}">
        <p14:creationId xmlns:p14="http://schemas.microsoft.com/office/powerpoint/2010/main" val="2312546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Listed</a:t>
            </a:r>
            <a:r>
              <a:rPr lang="en-US" sz="800" b="0" i="0" u="none" strike="noStrike" kern="1200">
                <a:solidFill>
                  <a:schemeClr val="tx1"/>
                </a:solidFill>
                <a:effectLst/>
                <a:latin typeface="Segoe UI Light" pitchFamily="34" charset="0"/>
                <a:ea typeface="+mn-ea"/>
                <a:cs typeface="+mn-cs"/>
              </a:rPr>
              <a:t> are the most common motivations to choose an Azure SQL Database or SQL Server running on an Azure VM</a:t>
            </a:r>
            <a:r>
              <a:rPr lang="en-US"/>
              <a:t> or a Managed Instance as a hybrid solution.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a:p>
        </p:txBody>
      </p:sp>
    </p:spTree>
    <p:extLst>
      <p:ext uri="{BB962C8B-B14F-4D97-AF65-F5344CB8AC3E}">
        <p14:creationId xmlns:p14="http://schemas.microsoft.com/office/powerpoint/2010/main" val="8913519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a:solidFill>
                  <a:schemeClr val="tx1"/>
                </a:solidFill>
                <a:effectLst/>
                <a:latin typeface="Segoe UI Light" pitchFamily="34" charset="0"/>
                <a:ea typeface="+mn-ea"/>
                <a:cs typeface="+mn-cs"/>
              </a:rPr>
              <a:t>Azure SQL Database has 4 deployment options: Managed Instance, </a:t>
            </a:r>
            <a:r>
              <a:rPr lang="en-US" sz="800" b="1" kern="1200">
                <a:solidFill>
                  <a:schemeClr val="tx1"/>
                </a:solidFill>
                <a:effectLst/>
                <a:latin typeface="Segoe UI Light" pitchFamily="34" charset="0"/>
                <a:ea typeface="+mn-ea"/>
                <a:cs typeface="+mn-cs"/>
              </a:rPr>
              <a:t>single instance </a:t>
            </a:r>
            <a:r>
              <a:rPr lang="en-US" sz="800" kern="1200">
                <a:solidFill>
                  <a:schemeClr val="tx1"/>
                </a:solidFill>
                <a:effectLst/>
                <a:latin typeface="Segoe UI Light" pitchFamily="34" charset="0"/>
                <a:ea typeface="+mn-ea"/>
                <a:cs typeface="+mn-cs"/>
              </a:rPr>
              <a:t>and </a:t>
            </a:r>
            <a:r>
              <a:rPr lang="en-US" sz="800" b="1" kern="1200">
                <a:solidFill>
                  <a:schemeClr val="tx1"/>
                </a:solidFill>
                <a:effectLst/>
                <a:latin typeface="Segoe UI Light" pitchFamily="34" charset="0"/>
                <a:ea typeface="+mn-ea"/>
                <a:cs typeface="+mn-cs"/>
              </a:rPr>
              <a:t>instance pool</a:t>
            </a:r>
            <a:r>
              <a:rPr lang="en-US" sz="800" kern="1200">
                <a:solidFill>
                  <a:schemeClr val="tx1"/>
                </a:solidFill>
                <a:effectLst/>
                <a:latin typeface="Segoe UI Light" pitchFamily="34" charset="0"/>
                <a:ea typeface="+mn-ea"/>
                <a:cs typeface="+mn-cs"/>
              </a:rPr>
              <a:t> and SQL Database, </a:t>
            </a:r>
            <a:r>
              <a:rPr lang="en-US" sz="800" b="1" kern="1200">
                <a:solidFill>
                  <a:schemeClr val="tx1"/>
                </a:solidFill>
                <a:effectLst/>
                <a:latin typeface="Segoe UI Light" pitchFamily="34" charset="0"/>
                <a:ea typeface="+mn-ea"/>
                <a:cs typeface="+mn-cs"/>
              </a:rPr>
              <a:t>single database </a:t>
            </a:r>
            <a:r>
              <a:rPr lang="en-US" sz="800" kern="1200">
                <a:solidFill>
                  <a:schemeClr val="tx1"/>
                </a:solidFill>
                <a:effectLst/>
                <a:latin typeface="Segoe UI Light" pitchFamily="34" charset="0"/>
                <a:ea typeface="+mn-ea"/>
                <a:cs typeface="+mn-cs"/>
              </a:rPr>
              <a:t>and </a:t>
            </a:r>
            <a:r>
              <a:rPr lang="en-US" sz="800" b="1" kern="1200">
                <a:solidFill>
                  <a:schemeClr val="tx1"/>
                </a:solidFill>
                <a:effectLst/>
                <a:latin typeface="Segoe UI Light" pitchFamily="34" charset="0"/>
                <a:ea typeface="+mn-ea"/>
                <a:cs typeface="+mn-cs"/>
              </a:rPr>
              <a:t>elastic pool</a:t>
            </a:r>
            <a:r>
              <a:rPr lang="en-US" sz="800" kern="1200">
                <a:solidFill>
                  <a:schemeClr val="tx1"/>
                </a:solidFill>
                <a:effectLst/>
                <a:latin typeface="Segoe UI Light" pitchFamily="34" charset="0"/>
                <a:ea typeface="+mn-ea"/>
                <a:cs typeface="+mn-cs"/>
              </a:rPr>
              <a:t>.</a:t>
            </a:r>
          </a:p>
          <a:p>
            <a:endParaRPr lang="en-US" sz="80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u="sng" kern="1200">
                <a:solidFill>
                  <a:schemeClr val="tx1"/>
                </a:solidFill>
                <a:effectLst/>
                <a:latin typeface="Segoe UI Light" pitchFamily="34" charset="0"/>
                <a:ea typeface="+mn-ea"/>
                <a:cs typeface="+mn-cs"/>
              </a:rPr>
              <a:t>Managed Instan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a:solidFill>
                  <a:schemeClr val="tx1"/>
                </a:solidFill>
                <a:effectLst/>
                <a:latin typeface="Segoe UI Light" pitchFamily="34" charset="0"/>
                <a:ea typeface="+mn-ea"/>
                <a:cs typeface="+mn-cs"/>
              </a:rPr>
              <a:t>Single: </a:t>
            </a:r>
            <a:r>
              <a:rPr lang="en-US" sz="800">
                <a:solidFill>
                  <a:prstClr val="black"/>
                </a:solidFill>
                <a:latin typeface="+mn-lt"/>
              </a:rPr>
              <a:t>Instance-scoped deployment option with high compatibility with SQL Server and full PaaS benefits.</a:t>
            </a:r>
            <a:endParaRPr lang="en-US" sz="800" b="1" kern="120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a:solidFill>
                  <a:schemeClr val="tx1"/>
                </a:solidFill>
                <a:effectLst/>
                <a:latin typeface="Segoe UI Light" pitchFamily="34" charset="0"/>
                <a:ea typeface="+mn-ea"/>
                <a:cs typeface="+mn-cs"/>
              </a:rPr>
              <a:t>Instance Pool: </a:t>
            </a:r>
            <a:r>
              <a:rPr lang="en-US" sz="800" b="0" kern="1200">
                <a:solidFill>
                  <a:schemeClr val="tx1"/>
                </a:solidFill>
                <a:effectLst/>
                <a:latin typeface="Segoe UI Light" pitchFamily="34" charset="0"/>
                <a:ea typeface="+mn-ea"/>
                <a:cs typeface="+mn-cs"/>
              </a:rPr>
              <a:t>A</a:t>
            </a:r>
            <a:r>
              <a:rPr lang="en-US" sz="800" b="0" i="0" kern="1200">
                <a:solidFill>
                  <a:schemeClr val="tx1"/>
                </a:solidFill>
                <a:effectLst/>
                <a:latin typeface="Segoe UI Light" pitchFamily="34" charset="0"/>
                <a:ea typeface="+mn-ea"/>
                <a:cs typeface="+mn-cs"/>
              </a:rPr>
              <a:t>re a new resource in Azure SQL Database that provides a convenient and cost-efficient way to migrate smaller SQL instances to the cloud at scale. It enables the deployment of multiple instances on the same virtual machine where the virtual machine's compute size is based on the total number of </a:t>
            </a:r>
            <a:r>
              <a:rPr lang="en-US" sz="800" b="0" i="0" kern="1200" err="1">
                <a:solidFill>
                  <a:schemeClr val="tx1"/>
                </a:solidFill>
                <a:effectLst/>
                <a:latin typeface="Segoe UI Light" pitchFamily="34" charset="0"/>
                <a:ea typeface="+mn-ea"/>
                <a:cs typeface="+mn-cs"/>
              </a:rPr>
              <a:t>vCores</a:t>
            </a:r>
            <a:r>
              <a:rPr lang="en-US" sz="800" b="0" i="0" kern="1200">
                <a:solidFill>
                  <a:schemeClr val="tx1"/>
                </a:solidFill>
                <a:effectLst/>
                <a:latin typeface="Segoe UI Light" pitchFamily="34" charset="0"/>
                <a:ea typeface="+mn-ea"/>
                <a:cs typeface="+mn-cs"/>
              </a:rPr>
              <a:t> allocated for the pool. </a:t>
            </a:r>
            <a:endParaRPr lang="en-US" sz="800" b="1" kern="1200">
              <a:solidFill>
                <a:schemeClr val="tx1"/>
              </a:solidFill>
              <a:effectLst/>
              <a:latin typeface="Segoe UI Light" pitchFamily="34" charset="0"/>
              <a:ea typeface="+mn-ea"/>
              <a:cs typeface="+mn-cs"/>
            </a:endParaRPr>
          </a:p>
          <a:p>
            <a:endParaRPr lang="en-US" sz="800" kern="120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800" b="1" u="sng" kern="1200">
                <a:solidFill>
                  <a:schemeClr val="tx1"/>
                </a:solidFill>
                <a:effectLst/>
                <a:latin typeface="Segoe UI Light" pitchFamily="34" charset="0"/>
                <a:ea typeface="+mn-ea"/>
                <a:cs typeface="+mn-cs"/>
              </a:rPr>
              <a:t>Azure SQL Database:</a:t>
            </a:r>
          </a:p>
          <a:p>
            <a:pPr marL="171450" indent="-171450">
              <a:buFont typeface="Arial" panose="020B0604020202020204" pitchFamily="34" charset="0"/>
              <a:buChar char="•"/>
            </a:pPr>
            <a:r>
              <a:rPr lang="en-US" sz="800" b="1" kern="1200">
                <a:solidFill>
                  <a:schemeClr val="tx1"/>
                </a:solidFill>
                <a:effectLst/>
                <a:latin typeface="Segoe UI Light" pitchFamily="34" charset="0"/>
                <a:ea typeface="+mn-ea"/>
                <a:cs typeface="+mn-cs"/>
              </a:rPr>
              <a:t>Single</a:t>
            </a:r>
            <a:r>
              <a:rPr lang="en-US" sz="800" kern="1200">
                <a:solidFill>
                  <a:schemeClr val="tx1"/>
                </a:solidFill>
                <a:effectLst/>
                <a:latin typeface="Segoe UI Light" pitchFamily="34" charset="0"/>
                <a:ea typeface="+mn-ea"/>
                <a:cs typeface="+mn-cs"/>
              </a:rPr>
              <a:t>: Each </a:t>
            </a:r>
            <a:r>
              <a:rPr lang="en-US" sz="800" i="1" kern="1200">
                <a:solidFill>
                  <a:schemeClr val="tx1"/>
                </a:solidFill>
                <a:effectLst/>
                <a:latin typeface="Segoe UI Light" pitchFamily="34" charset="0"/>
                <a:ea typeface="+mn-ea"/>
                <a:cs typeface="+mn-cs"/>
              </a:rPr>
              <a:t>standalone database</a:t>
            </a:r>
            <a:r>
              <a:rPr lang="en-US" sz="800" kern="1200">
                <a:solidFill>
                  <a:schemeClr val="tx1"/>
                </a:solidFill>
                <a:effectLst/>
                <a:latin typeface="Segoe UI Light" pitchFamily="34" charset="0"/>
                <a:ea typeface="+mn-ea"/>
                <a:cs typeface="+mn-cs"/>
              </a:rPr>
              <a:t> is assigned a certain amount of resources via performance tiers: Basic, Standard, and Premium. The emphasis of this offering focuses on a simplified </a:t>
            </a:r>
            <a:r>
              <a:rPr lang="en-US" sz="800" b="1" kern="1200">
                <a:solidFill>
                  <a:schemeClr val="tx1"/>
                </a:solidFill>
                <a:effectLst/>
                <a:latin typeface="Segoe UI Light" pitchFamily="34" charset="0"/>
                <a:ea typeface="+mn-ea"/>
                <a:cs typeface="+mn-cs"/>
              </a:rPr>
              <a:t>database-scoped programming model</a:t>
            </a:r>
            <a:r>
              <a:rPr lang="en-US" sz="800" kern="1200">
                <a:solidFill>
                  <a:schemeClr val="tx1"/>
                </a:solidFill>
                <a:effectLst/>
                <a:latin typeface="Segoe UI Light" pitchFamily="34" charset="0"/>
                <a:ea typeface="+mn-ea"/>
                <a:cs typeface="+mn-cs"/>
              </a:rPr>
              <a:t> and applications with a predictable pattern and relatively stable workload. </a:t>
            </a:r>
          </a:p>
          <a:p>
            <a:pPr marL="171450" indent="-171450">
              <a:buFont typeface="Arial" panose="020B0604020202020204" pitchFamily="34" charset="0"/>
              <a:buChar char="•"/>
            </a:pPr>
            <a:r>
              <a:rPr lang="en-US" sz="800" b="1" kern="1200">
                <a:solidFill>
                  <a:schemeClr val="tx1"/>
                </a:solidFill>
                <a:effectLst/>
                <a:latin typeface="Segoe UI Light" pitchFamily="34" charset="0"/>
                <a:ea typeface="+mn-ea"/>
                <a:cs typeface="+mn-cs"/>
              </a:rPr>
              <a:t>Elastic Pool: </a:t>
            </a:r>
            <a:r>
              <a:rPr lang="en-US" sz="800" kern="1200">
                <a:solidFill>
                  <a:schemeClr val="tx1"/>
                </a:solidFill>
                <a:effectLst/>
                <a:latin typeface="Segoe UI Light" pitchFamily="34" charset="0"/>
                <a:ea typeface="+mn-ea"/>
                <a:cs typeface="+mn-cs"/>
              </a:rPr>
              <a:t>An </a:t>
            </a:r>
            <a:r>
              <a:rPr lang="en-US" sz="800" i="1" kern="1200">
                <a:solidFill>
                  <a:schemeClr val="tx1"/>
                </a:solidFill>
                <a:effectLst/>
                <a:latin typeface="Segoe UI Light" pitchFamily="34" charset="0"/>
                <a:ea typeface="+mn-ea"/>
                <a:cs typeface="+mn-cs"/>
              </a:rPr>
              <a:t>elastic database pool</a:t>
            </a:r>
            <a:r>
              <a:rPr lang="en-US" sz="800" kern="1200">
                <a:solidFill>
                  <a:schemeClr val="tx1"/>
                </a:solidFill>
                <a:effectLst/>
                <a:latin typeface="Segoe UI Light" pitchFamily="34" charset="0"/>
                <a:ea typeface="+mn-ea"/>
                <a:cs typeface="+mn-cs"/>
              </a:rPr>
              <a:t> is a shared resource model that enables higher resource utilization efficiency, and all the databases within an elastic pool share predefined resources within the same pool. The emphasis of this offering is on a simplified </a:t>
            </a:r>
            <a:r>
              <a:rPr lang="en-US" sz="800" b="1" kern="1200">
                <a:solidFill>
                  <a:schemeClr val="tx1"/>
                </a:solidFill>
                <a:effectLst/>
                <a:latin typeface="Segoe UI Light" pitchFamily="34" charset="0"/>
                <a:ea typeface="+mn-ea"/>
                <a:cs typeface="+mn-cs"/>
              </a:rPr>
              <a:t>database-scoped programming model</a:t>
            </a:r>
            <a:r>
              <a:rPr lang="en-US" sz="800" kern="1200">
                <a:solidFill>
                  <a:schemeClr val="tx1"/>
                </a:solidFill>
                <a:effectLst/>
                <a:latin typeface="Segoe UI Light" pitchFamily="34" charset="0"/>
                <a:ea typeface="+mn-ea"/>
                <a:cs typeface="+mn-cs"/>
              </a:rPr>
              <a:t> for multi-tenant SaaS apps.  The workload pattern is well-defined and is highly cost-effective in multi-tenant scenarios.  For ISVs with SaaS apps, the savings can be significant, in the hundreds of thousands of dollars or more.</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a:p>
        </p:txBody>
      </p:sp>
    </p:spTree>
    <p:extLst>
      <p:ext uri="{BB962C8B-B14F-4D97-AF65-F5344CB8AC3E}">
        <p14:creationId xmlns:p14="http://schemas.microsoft.com/office/powerpoint/2010/main" val="17453096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effectLst/>
              </a:rPr>
              <a:t>DTU-based model:</a:t>
            </a:r>
            <a:r>
              <a:rPr lang="en-US" b="1"/>
              <a:t> </a:t>
            </a:r>
          </a:p>
          <a:p>
            <a:r>
              <a:rPr lang="en-US">
                <a:effectLst/>
              </a:rPr>
              <a:t>This model is based on a bundled measure of compute, storage, and IO resources. Performance levels are expressed in terms of Database Transaction Units (DTUs) for single databases and elastic Database Transaction Units (</a:t>
            </a:r>
            <a:r>
              <a:rPr lang="en-US" err="1">
                <a:effectLst/>
              </a:rPr>
              <a:t>eDTUs</a:t>
            </a:r>
            <a:r>
              <a:rPr lang="en-US">
                <a:effectLst/>
              </a:rPr>
              <a:t>) for elastic pools.  Best for customers who want simple, pre-configured resource options.</a:t>
            </a:r>
          </a:p>
          <a:p>
            <a:endParaRPr lang="en-US">
              <a:effectLst/>
            </a:endParaRPr>
          </a:p>
          <a:p>
            <a:r>
              <a:rPr lang="en-US" b="1" err="1">
                <a:effectLst/>
              </a:rPr>
              <a:t>vCore</a:t>
            </a:r>
            <a:r>
              <a:rPr lang="en-US" b="1">
                <a:effectLst/>
              </a:rPr>
              <a:t>-based model:</a:t>
            </a:r>
            <a:endParaRPr lang="en-US" b="1"/>
          </a:p>
          <a:p>
            <a:r>
              <a:rPr lang="en-US">
                <a:effectLst/>
              </a:rPr>
              <a:t>This model allows you to independently scale compute and storage resources. It also allows you to use Azure Hybrid Benefit for SQL Server to gain cost savings.</a:t>
            </a:r>
            <a:r>
              <a:rPr lang="en-US"/>
              <a:t> </a:t>
            </a:r>
            <a:r>
              <a:rPr lang="en-US">
                <a:effectLst/>
              </a:rPr>
              <a:t>Best for customers who value flexibility, control, and transparency.</a:t>
            </a:r>
          </a:p>
          <a:p>
            <a:r>
              <a:rPr lang="en-US"/>
              <a:t>In the </a:t>
            </a:r>
            <a:r>
              <a:rPr lang="en-US" err="1"/>
              <a:t>vCore</a:t>
            </a:r>
            <a:r>
              <a:rPr lang="en-US"/>
              <a:t>-based purchasing model, you pay for:</a:t>
            </a:r>
          </a:p>
          <a:p>
            <a:pPr marL="171450" indent="-171450">
              <a:buFont typeface="Arial" panose="020B0604020202020204" pitchFamily="34" charset="0"/>
              <a:buChar char="•"/>
            </a:pPr>
            <a:r>
              <a:rPr lang="en-US"/>
              <a:t>Compute resources (the service tier + the number of </a:t>
            </a:r>
            <a:r>
              <a:rPr lang="en-US" err="1"/>
              <a:t>vCores</a:t>
            </a:r>
            <a:r>
              <a:rPr lang="en-US"/>
              <a:t> and the amount of memory + the generation of hardware).</a:t>
            </a:r>
          </a:p>
          <a:p>
            <a:pPr marL="171450" indent="-171450">
              <a:buFont typeface="Arial" panose="020B0604020202020204" pitchFamily="34" charset="0"/>
              <a:buChar char="•"/>
            </a:pPr>
            <a:r>
              <a:rPr lang="en-US"/>
              <a:t>The type and amount of data and log storage.</a:t>
            </a:r>
          </a:p>
          <a:p>
            <a:pPr marL="171450" indent="-171450">
              <a:buFont typeface="Arial" panose="020B0604020202020204" pitchFamily="34" charset="0"/>
              <a:buChar char="•"/>
            </a:pPr>
            <a:r>
              <a:rPr lang="en-US"/>
              <a:t>Backup storage (RA-GRS).</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a:p>
        </p:txBody>
      </p:sp>
    </p:spTree>
    <p:extLst>
      <p:ext uri="{BB962C8B-B14F-4D97-AF65-F5344CB8AC3E}">
        <p14:creationId xmlns:p14="http://schemas.microsoft.com/office/powerpoint/2010/main" val="5633968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ifferent purchasing models are available for different Azure SQL Database deployment models:</a:t>
            </a:r>
          </a:p>
          <a:p>
            <a:pPr marL="171450" indent="-171450">
              <a:buFont typeface="Arial" panose="020B0604020202020204" pitchFamily="34" charset="0"/>
              <a:buChar char="•"/>
            </a:pPr>
            <a:r>
              <a:rPr lang="en-US"/>
              <a:t>The </a:t>
            </a:r>
            <a:r>
              <a:rPr lang="en-US" b="1"/>
              <a:t>single database </a:t>
            </a:r>
            <a:r>
              <a:rPr lang="en-US"/>
              <a:t>and </a:t>
            </a:r>
            <a:r>
              <a:rPr lang="en-US" b="1"/>
              <a:t>elastic pool </a:t>
            </a:r>
            <a:r>
              <a:rPr lang="en-US"/>
              <a:t>deployment options in Azure SQL Database offer both the </a:t>
            </a:r>
            <a:r>
              <a:rPr lang="en-US" b="1"/>
              <a:t>DTU-based purchasing model </a:t>
            </a:r>
            <a:r>
              <a:rPr lang="en-US"/>
              <a:t>and the </a:t>
            </a:r>
            <a:r>
              <a:rPr lang="en-US" b="1" err="1"/>
              <a:t>vCore</a:t>
            </a:r>
            <a:r>
              <a:rPr lang="en-US" b="1"/>
              <a:t>-based purchasing model</a:t>
            </a:r>
            <a:r>
              <a:rPr lang="en-US"/>
              <a:t>.</a:t>
            </a:r>
          </a:p>
          <a:p>
            <a:pPr marL="171450" indent="-171450">
              <a:buFont typeface="Arial" panose="020B0604020202020204" pitchFamily="34" charset="0"/>
              <a:buChar char="•"/>
            </a:pPr>
            <a:r>
              <a:rPr lang="en-US"/>
              <a:t>The </a:t>
            </a:r>
            <a:r>
              <a:rPr lang="en-US" b="1"/>
              <a:t>managed instance </a:t>
            </a:r>
            <a:r>
              <a:rPr lang="en-US"/>
              <a:t>deployment option in Azure SQL Database offers only the </a:t>
            </a:r>
            <a:r>
              <a:rPr lang="en-US" b="1" err="1"/>
              <a:t>vCore</a:t>
            </a:r>
            <a:r>
              <a:rPr lang="en-US" b="1"/>
              <a:t>-based purchasing model</a:t>
            </a:r>
            <a:r>
              <a:rPr lang="en-US"/>
              <a:t>.</a:t>
            </a:r>
          </a:p>
          <a:p>
            <a:pPr marL="171450" indent="-171450">
              <a:buFont typeface="Arial" panose="020B0604020202020204" pitchFamily="34" charset="0"/>
              <a:buChar char="•"/>
            </a:pPr>
            <a:r>
              <a:rPr lang="en-US"/>
              <a:t>The </a:t>
            </a:r>
            <a:r>
              <a:rPr lang="en-US" b="1"/>
              <a:t>hyperscale</a:t>
            </a:r>
            <a:r>
              <a:rPr lang="en-US"/>
              <a:t> </a:t>
            </a:r>
            <a:r>
              <a:rPr lang="en-US" b="1"/>
              <a:t>service</a:t>
            </a:r>
            <a:r>
              <a:rPr lang="en-US"/>
              <a:t> tier is available for </a:t>
            </a:r>
            <a:r>
              <a:rPr lang="en-US" b="1"/>
              <a:t>single databases </a:t>
            </a:r>
            <a:r>
              <a:rPr lang="en-US"/>
              <a:t>that are using the </a:t>
            </a:r>
            <a:r>
              <a:rPr lang="en-US" b="1" err="1"/>
              <a:t>vCore</a:t>
            </a:r>
            <a:r>
              <a:rPr lang="en-US" b="1"/>
              <a:t>-based purchasing model</a:t>
            </a:r>
            <a:r>
              <a:rPr lang="en-US"/>
              <a:t>.</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7/2022 10:0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18164598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a:t>
            </a:r>
            <a:r>
              <a:rPr lang="en-US" b="1" dirty="0"/>
              <a:t>DTU-based</a:t>
            </a:r>
            <a:r>
              <a:rPr lang="en-US" dirty="0"/>
              <a:t> purchasing model, you can choose between the </a:t>
            </a:r>
            <a:r>
              <a:rPr lang="en-US" b="1" dirty="0"/>
              <a:t>basic</a:t>
            </a:r>
            <a:r>
              <a:rPr lang="en-US" dirty="0"/>
              <a:t>, </a:t>
            </a:r>
            <a:r>
              <a:rPr lang="en-US" b="1" dirty="0"/>
              <a:t>standard</a:t>
            </a:r>
            <a:r>
              <a:rPr lang="en-US" dirty="0"/>
              <a:t>, and </a:t>
            </a:r>
            <a:r>
              <a:rPr lang="en-US" b="1" dirty="0"/>
              <a:t>premium</a:t>
            </a:r>
            <a:r>
              <a:rPr lang="en-US" dirty="0"/>
              <a:t> service tiers for both single databases and elastic pools. The DTU-based purchasing model isn't available for managed instances.</a:t>
            </a:r>
          </a:p>
          <a:p>
            <a:endParaRPr lang="en-US" dirty="0"/>
          </a:p>
          <a:p>
            <a:r>
              <a:rPr lang="en-US" dirty="0"/>
              <a:t>In the </a:t>
            </a:r>
            <a:r>
              <a:rPr lang="en-US" b="1" dirty="0" err="1"/>
              <a:t>vCore</a:t>
            </a:r>
            <a:r>
              <a:rPr lang="en-US" b="1" dirty="0"/>
              <a:t>-based</a:t>
            </a:r>
            <a:r>
              <a:rPr lang="en-US" dirty="0"/>
              <a:t> purchasing model, you can choose between the </a:t>
            </a:r>
            <a:r>
              <a:rPr lang="en-US" b="1" dirty="0"/>
              <a:t>general purpose </a:t>
            </a:r>
            <a:r>
              <a:rPr lang="en-US" dirty="0"/>
              <a:t>and </a:t>
            </a:r>
            <a:r>
              <a:rPr lang="en-US" b="1" dirty="0"/>
              <a:t>business critical </a:t>
            </a:r>
            <a:r>
              <a:rPr lang="en-US" dirty="0"/>
              <a:t>service tiers for </a:t>
            </a:r>
            <a:r>
              <a:rPr lang="en-US" b="1" dirty="0"/>
              <a:t>single databases, elastic pools, and managed instances</a:t>
            </a:r>
            <a:r>
              <a:rPr lang="en-US" dirty="0"/>
              <a:t>. For </a:t>
            </a:r>
            <a:r>
              <a:rPr lang="en-US" b="1" dirty="0"/>
              <a:t>single databases</a:t>
            </a:r>
            <a:r>
              <a:rPr lang="en-US" dirty="0"/>
              <a:t>, you can also choose the </a:t>
            </a:r>
            <a:r>
              <a:rPr lang="en-US" b="1" dirty="0"/>
              <a:t>hyperscale service tier</a:t>
            </a:r>
            <a:r>
              <a:rPr lang="en-US" dirty="0"/>
              <a:t>.</a:t>
            </a:r>
          </a:p>
          <a:p>
            <a:endParaRPr lang="en-US" dirty="0"/>
          </a:p>
          <a:p>
            <a:r>
              <a:rPr lang="en-US" dirty="0"/>
              <a:t>Note: Serverless is not a Service Tier is a compute type available in the General Purpose Service Tier.</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gradFill>
                  <a:gsLst>
                    <a:gs pos="2917">
                      <a:srgbClr val="3C3C41"/>
                    </a:gs>
                    <a:gs pos="30000">
                      <a:srgbClr val="3C3C41"/>
                    </a:gs>
                  </a:gsLst>
                  <a:lin ang="5400000" scaled="0"/>
                </a:gradFill>
                <a:latin typeface="Segoe UI"/>
              </a:rPr>
              <a:t>* Fsv2-series and M-series are GA but available in specific regions</a:t>
            </a:r>
          </a:p>
          <a:p>
            <a:endParaRPr lang="en-US" dirty="0"/>
          </a:p>
          <a:p>
            <a:endParaRPr lang="en-US" dirty="0"/>
          </a:p>
          <a:p>
            <a:endParaRPr lang="en-US" dirty="0"/>
          </a:p>
          <a:p>
            <a:r>
              <a:rPr lang="en-US" dirty="0"/>
              <a:t>https://docs.microsoft.com/en-us/azure/azure-sql/database/service-tiers-vcore?tabs=azure-portal#hardware-generations</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0</a:t>
            </a:fld>
            <a:endParaRPr lang="en-US" noProof="0"/>
          </a:p>
        </p:txBody>
      </p:sp>
    </p:spTree>
    <p:extLst>
      <p:ext uri="{BB962C8B-B14F-4D97-AF65-F5344CB8AC3E}">
        <p14:creationId xmlns:p14="http://schemas.microsoft.com/office/powerpoint/2010/main" val="34116857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1</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2/7/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a:solidFill>
                  <a:srgbClr val="000000"/>
                </a:solidFill>
                <a:latin typeface="Consolas" panose="020B0609020204030204" pitchFamily="49" charset="0"/>
              </a:rPr>
              <a:t>M01L01Demo01</a:t>
            </a:r>
          </a:p>
          <a:p>
            <a:endParaRPr lang="en-US" b="1"/>
          </a:p>
          <a:p>
            <a:r>
              <a:rPr lang="en-US" b="1"/>
              <a:t>Demo setup instructions</a:t>
            </a:r>
          </a:p>
          <a:p>
            <a:pPr marL="171450" indent="-171450">
              <a:buFont typeface="Arial" panose="020B0604020202020204" pitchFamily="34" charset="0"/>
              <a:buChar char="•"/>
            </a:pPr>
            <a:r>
              <a:rPr lang="en-US"/>
              <a:t>Open the latest version of the SQL Server Management Studio</a:t>
            </a:r>
          </a:p>
          <a:p>
            <a:pPr marL="0" indent="0">
              <a:buFont typeface="Arial" panose="020B0604020202020204" pitchFamily="34" charset="0"/>
              <a:buNone/>
            </a:pPr>
            <a:r>
              <a:rPr lang="en-US" b="1"/>
              <a:t>Steps</a:t>
            </a:r>
          </a:p>
          <a:p>
            <a:pPr marL="228600" indent="-228600">
              <a:buFont typeface="Arial" panose="020B0604020202020204" pitchFamily="34" charset="0"/>
              <a:buAutoNum type="arabicPeriod"/>
            </a:pPr>
            <a:r>
              <a:rPr lang="en-US" b="0"/>
              <a:t>Connect to the Azure Portal, click on “</a:t>
            </a:r>
            <a:r>
              <a:rPr lang="en-US" b="1"/>
              <a:t>Create a resource</a:t>
            </a:r>
            <a:r>
              <a:rPr lang="en-US" b="0"/>
              <a:t>” and search for “</a:t>
            </a:r>
            <a:r>
              <a:rPr lang="en-US" b="1"/>
              <a:t>SQL Database</a:t>
            </a:r>
            <a:r>
              <a:rPr lang="en-US" b="0"/>
              <a:t>”</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a:t>Choose SQL Database &gt; </a:t>
            </a:r>
            <a:r>
              <a:rPr lang="en-US" b="1"/>
              <a:t>Create</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a:t>Skip all other options and go to </a:t>
            </a:r>
            <a:r>
              <a:rPr lang="en-US" b="1"/>
              <a:t>Compute + storage </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a:t>Explain the different options, Service Tiers, Hardware Generations and available Compute alternatives.</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a:t>Note: The creation of the database will be done in another demonstration. </a:t>
            </a:r>
            <a:r>
              <a:rPr lang="en-US" b="0"/>
              <a:t>The purpose of this exercise is to discuss the Service Tiers, Hardware Generations and available Compute alternatives available.</a:t>
            </a:r>
            <a:endParaRPr lang="en-US" b="1"/>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3063046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a single Azure SQL database at a specific performance level within a </a:t>
            </a:r>
            <a:r>
              <a:rPr lang="en-US">
                <a:hlinkClick r:id="rId3"/>
              </a:rPr>
              <a:t>service tier</a:t>
            </a:r>
            <a:r>
              <a:rPr lang="en-US"/>
              <a:t>, Microsoft guarantees a certain level of resources for that database (independent of any other database in the Azure cloud) and providing a predictable level of performance. This amount of resources is calculated as a number of Database Transaction Units or DTUs, and is a blended measure of CPU, memory, I/O (data and transaction log I/O). Doubling the DTUs by increasing the performance level of a database is the same as doubling the set of resource available to that database. For example, a Premium P11 database with 1750 DTUs provides 350x more DTU compute power than a Basic database with 5 DTUs. </a:t>
            </a:r>
          </a:p>
          <a:p>
            <a:endParaRPr lang="en-US"/>
          </a:p>
          <a:p>
            <a:r>
              <a:rPr lang="en-US" b="1"/>
              <a:t>How can I determine the number of DTUs needed by my workload?</a:t>
            </a:r>
          </a:p>
          <a:p>
            <a:r>
              <a:rPr lang="en-US"/>
              <a:t>If you are looking to migrate an existing on-premises or SQL Server virtual machine workload to Azure SQL Database, you can use the </a:t>
            </a:r>
            <a:r>
              <a:rPr lang="en-US">
                <a:hlinkClick r:id="rId4"/>
              </a:rPr>
              <a:t>DTU Calculator</a:t>
            </a:r>
            <a:r>
              <a:rPr lang="en-US"/>
              <a:t> to approximate the number of DTUs needed.</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a:p>
        </p:txBody>
      </p:sp>
    </p:spTree>
    <p:extLst>
      <p:ext uri="{BB962C8B-B14F-4D97-AF65-F5344CB8AC3E}">
        <p14:creationId xmlns:p14="http://schemas.microsoft.com/office/powerpoint/2010/main" val="26349218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t>All three service tiers have an uptime </a:t>
            </a:r>
            <a:r>
              <a:rPr lang="en-US" sz="900">
                <a:hlinkClick r:id="rId3"/>
              </a:rPr>
              <a:t>SLA</a:t>
            </a:r>
            <a:r>
              <a:rPr lang="en-US" sz="900"/>
              <a:t> of 99.99%</a:t>
            </a:r>
            <a:endParaRPr lang="en-US" sz="900" b="1"/>
          </a:p>
          <a:p>
            <a:endParaRPr lang="en-US" sz="900" b="1"/>
          </a:p>
          <a:p>
            <a:r>
              <a:rPr lang="en-US" sz="900" b="1"/>
              <a:t>Basic:</a:t>
            </a:r>
          </a:p>
          <a:p>
            <a:r>
              <a:rPr lang="en-US" sz="900"/>
              <a:t>Basic tier is designed for applications with a light transactional workload. A typical use case is a lightweight application that needs a small database with a single operation at any given point in time.</a:t>
            </a:r>
          </a:p>
          <a:p>
            <a:endParaRPr lang="nl-BE" sz="900"/>
          </a:p>
          <a:p>
            <a:r>
              <a:rPr lang="en-US" sz="900" b="1"/>
              <a:t>Standard:</a:t>
            </a:r>
          </a:p>
          <a:p>
            <a:r>
              <a:rPr lang="en-US" sz="900"/>
              <a:t>Standard tier is the go-to option for getting started with transactional workloads. It offers better performance and better built-in business continuity features compared to Basic tier. A typical use case is an application with multiple concurrent transactions.</a:t>
            </a:r>
          </a:p>
          <a:p>
            <a:endParaRPr lang="nl-BE" sz="900"/>
          </a:p>
          <a:p>
            <a:r>
              <a:rPr lang="en-US" sz="900" b="1"/>
              <a:t>Premium:</a:t>
            </a:r>
          </a:p>
          <a:p>
            <a:r>
              <a:rPr lang="en-US" sz="900"/>
              <a:t>Premium tier is designed for mission-critical applications. It offers the best level of performance and access to advanced business continuity features including active geo-replication in up to 4 Azure regions of your choice. A typical use case is a mission-critical application with high transactional volume and many concurrent users.</a:t>
            </a:r>
          </a:p>
          <a:p>
            <a:endParaRPr lang="en-US" sz="900"/>
          </a:p>
          <a:p>
            <a:r>
              <a:rPr lang="en-US" sz="900"/>
              <a:t>https://docs.microsoft.com/en-gb/azure/azure-sql/database/service-tiers-dtu#compare-the-dtu-based-service-tiers</a:t>
            </a:r>
          </a:p>
          <a:p>
            <a:endParaRPr lang="en-US" sz="900"/>
          </a:p>
          <a:p>
            <a:endParaRPr lang="en-US" sz="900"/>
          </a:p>
          <a:p>
            <a:endParaRPr lang="en-US" sz="90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a:p>
        </p:txBody>
      </p:sp>
    </p:spTree>
    <p:extLst>
      <p:ext uri="{BB962C8B-B14F-4D97-AF65-F5344CB8AC3E}">
        <p14:creationId xmlns:p14="http://schemas.microsoft.com/office/powerpoint/2010/main" val="35220858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800"/>
              <a:t>https://azure.microsoft.com/en-us/global-infrastructure/reg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800"/>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a:t>Microsoft Azure is Microsoft's public cloud computing platform and infrastructure for building, deploying, and managing applications and services through a global network of Microsoft-managed datacenters. It provides both PaaS and IaaS services and supports many different programming languages, tools and frameworks, including both Microsoft-specific and third-party software and systems. It consists of over</a:t>
            </a:r>
            <a:r>
              <a:rPr lang="en-US" sz="800" baseline="0"/>
              <a:t> </a:t>
            </a:r>
            <a:r>
              <a:rPr lang="en-US" sz="800"/>
              <a:t>140 </a:t>
            </a:r>
            <a:r>
              <a:rPr lang="en-US" sz="800">
                <a:solidFill>
                  <a:schemeClr val="tx1"/>
                </a:solidFill>
                <a:latin typeface="Segoe UI Light" panose="020B0502040204020203" pitchFamily="34" charset="0"/>
                <a:cs typeface="Segoe UI Light" panose="020B0502040204020203" pitchFamily="34" charset="0"/>
              </a:rPr>
              <a:t>countries</a:t>
            </a:r>
            <a:r>
              <a:rPr lang="en-US" sz="800"/>
              <a:t> across 56 regions worldwide with more being added all the time. It provides hyper scale computing capabilities and makes up the top 3 networks in the world.</a:t>
            </a:r>
            <a:r>
              <a:rPr lang="en-US" sz="800" baseline="0"/>
              <a:t> </a:t>
            </a:r>
          </a:p>
          <a:p>
            <a:endParaRPr lang="en-US"/>
          </a:p>
          <a:p>
            <a:endParaRPr lang="en-US"/>
          </a:p>
          <a:p>
            <a:r>
              <a:rPr lang="en-US" sz="800" b="1" i="0" u="none" strike="noStrike" kern="1200">
                <a:solidFill>
                  <a:schemeClr val="tx1"/>
                </a:solidFill>
                <a:effectLst/>
                <a:latin typeface="Segoe UI Light" pitchFamily="34" charset="0"/>
                <a:ea typeface="+mn-ea"/>
                <a:cs typeface="+mn-cs"/>
              </a:rPr>
              <a:t>Azure regions</a:t>
            </a:r>
          </a:p>
          <a:p>
            <a:r>
              <a:rPr lang="en-US" sz="800" b="0" i="0" u="none" strike="noStrike" kern="1200">
                <a:solidFill>
                  <a:schemeClr val="tx1"/>
                </a:solidFill>
                <a:effectLst/>
                <a:latin typeface="Segoe UI Light" pitchFamily="34" charset="0"/>
                <a:ea typeface="+mn-ea"/>
                <a:cs typeface="+mn-cs"/>
              </a:rPr>
              <a:t>Azure has more global regions than any other cloud provider—offering the scale needed to bring applications closer to users around the world, preserving data residency, and offering comprehensive compliance and resiliency options for customers.</a:t>
            </a:r>
          </a:p>
          <a:p>
            <a:endParaRPr lang="en-US"/>
          </a:p>
          <a:p>
            <a:endParaRPr lang="en-US"/>
          </a:p>
          <a:p>
            <a:r>
              <a:rPr lang="en-US" sz="800" b="1" i="0" u="none" strike="noStrike" kern="1200">
                <a:solidFill>
                  <a:schemeClr val="tx1"/>
                </a:solidFill>
                <a:effectLst/>
                <a:latin typeface="Segoe UI Light" pitchFamily="34" charset="0"/>
                <a:ea typeface="+mn-ea"/>
                <a:cs typeface="+mn-cs"/>
              </a:rPr>
              <a:t>Scale globally</a:t>
            </a:r>
          </a:p>
          <a:p>
            <a:r>
              <a:rPr lang="en-US" sz="800" b="0" i="0" u="none" strike="noStrike" kern="1200">
                <a:solidFill>
                  <a:schemeClr val="tx1"/>
                </a:solidFill>
                <a:effectLst/>
                <a:latin typeface="Segoe UI Light" pitchFamily="34" charset="0"/>
                <a:ea typeface="+mn-ea"/>
                <a:cs typeface="+mn-cs"/>
              </a:rPr>
              <a:t>Reach more locations, faster, with the performance and reliability of a vast global infrastructure.</a:t>
            </a:r>
          </a:p>
          <a:p>
            <a:r>
              <a:rPr lang="en-US" sz="800" b="1" i="0" u="none" strike="noStrike" kern="1200">
                <a:solidFill>
                  <a:schemeClr val="tx1"/>
                </a:solidFill>
                <a:effectLst/>
                <a:latin typeface="Segoe UI Light" pitchFamily="34" charset="0"/>
                <a:ea typeface="+mn-ea"/>
                <a:cs typeface="+mn-cs"/>
              </a:rPr>
              <a:t>Safeguard data</a:t>
            </a:r>
          </a:p>
          <a:p>
            <a:r>
              <a:rPr lang="en-US" sz="800" b="0" i="0" u="none" strike="noStrike" kern="1200">
                <a:solidFill>
                  <a:schemeClr val="tx1"/>
                </a:solidFill>
                <a:effectLst/>
                <a:latin typeface="Segoe UI Light" pitchFamily="34" charset="0"/>
                <a:ea typeface="+mn-ea"/>
                <a:cs typeface="+mn-cs"/>
              </a:rPr>
              <a:t>Rely on industry-leading data security in the region and across our network.</a:t>
            </a:r>
          </a:p>
          <a:p>
            <a:r>
              <a:rPr lang="en-US" sz="800" b="1" i="0" u="none" strike="noStrike" kern="1200">
                <a:solidFill>
                  <a:schemeClr val="tx1"/>
                </a:solidFill>
                <a:effectLst/>
                <a:latin typeface="Segoe UI Light" pitchFamily="34" charset="0"/>
                <a:ea typeface="+mn-ea"/>
                <a:cs typeface="+mn-cs"/>
              </a:rPr>
              <a:t>Promote sustainability</a:t>
            </a:r>
          </a:p>
          <a:p>
            <a:r>
              <a:rPr lang="en-US" sz="800" b="0" i="0" u="none" strike="noStrike" kern="1200">
                <a:solidFill>
                  <a:schemeClr val="tx1"/>
                </a:solidFill>
                <a:effectLst/>
                <a:latin typeface="Segoe UI Light" pitchFamily="34" charset="0"/>
                <a:ea typeface="+mn-ea"/>
                <a:cs typeface="+mn-cs"/>
              </a:rPr>
              <a:t>Help build a clean-energy future and accelerate progress toward your sustainability goals.</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22491640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2"/>
                </a:solidFill>
                <a:latin typeface="Segoe UI Light (Headings)"/>
                <a:cs typeface="Segoe UI"/>
              </a:rPr>
              <a:t>vCore-based purchasing model: </a:t>
            </a:r>
            <a:r>
              <a:rPr lang="en-US" sz="1200" b="1" i="0" kern="1200" dirty="0">
                <a:solidFill>
                  <a:schemeClr val="tx1"/>
                </a:solidFill>
                <a:effectLst/>
                <a:latin typeface="Segoe UI Light" pitchFamily="34" charset="0"/>
                <a:ea typeface="+mn-ea"/>
                <a:cs typeface="+mn-cs"/>
              </a:rPr>
              <a:t>General</a:t>
            </a:r>
            <a:r>
              <a:rPr lang="en-US" sz="1200" b="0" i="0" kern="1200" dirty="0">
                <a:solidFill>
                  <a:schemeClr val="tx1"/>
                </a:solidFill>
                <a:effectLst/>
                <a:latin typeface="Segoe UI Light" pitchFamily="34" charset="0"/>
                <a:ea typeface="+mn-ea"/>
                <a:cs typeface="+mn-cs"/>
              </a:rPr>
              <a:t> </a:t>
            </a:r>
            <a:r>
              <a:rPr lang="en-US" sz="1200" b="1" i="0" kern="1200" dirty="0">
                <a:solidFill>
                  <a:schemeClr val="tx1"/>
                </a:solidFill>
                <a:effectLst/>
                <a:latin typeface="Segoe UI Light" pitchFamily="34" charset="0"/>
                <a:ea typeface="+mn-ea"/>
                <a:cs typeface="+mn-cs"/>
              </a:rPr>
              <a:t>purpose</a:t>
            </a:r>
            <a:r>
              <a:rPr lang="en-US" sz="1200" b="0" i="0" kern="1200" dirty="0">
                <a:solidFill>
                  <a:schemeClr val="tx1"/>
                </a:solidFill>
                <a:effectLst/>
                <a:latin typeface="Segoe UI Light" pitchFamily="34" charset="0"/>
                <a:ea typeface="+mn-ea"/>
                <a:cs typeface="+mn-cs"/>
              </a:rPr>
              <a:t>, </a:t>
            </a:r>
            <a:r>
              <a:rPr lang="en-US" sz="1200" b="1" i="0" kern="1200" dirty="0">
                <a:solidFill>
                  <a:schemeClr val="tx1"/>
                </a:solidFill>
                <a:effectLst/>
                <a:latin typeface="Segoe UI Light" pitchFamily="34" charset="0"/>
                <a:ea typeface="+mn-ea"/>
                <a:cs typeface="+mn-cs"/>
              </a:rPr>
              <a:t>hyperscale</a:t>
            </a:r>
            <a:r>
              <a:rPr lang="en-US" sz="1200" b="0" i="0" kern="1200" dirty="0">
                <a:solidFill>
                  <a:schemeClr val="tx1"/>
                </a:solidFill>
                <a:effectLst/>
                <a:latin typeface="Segoe UI Light" pitchFamily="34" charset="0"/>
                <a:ea typeface="+mn-ea"/>
                <a:cs typeface="+mn-cs"/>
              </a:rPr>
              <a:t>, and </a:t>
            </a:r>
            <a:r>
              <a:rPr lang="en-US" sz="1200" b="1" i="0" kern="1200" dirty="0">
                <a:solidFill>
                  <a:schemeClr val="tx1"/>
                </a:solidFill>
                <a:effectLst/>
                <a:latin typeface="Segoe UI Light" pitchFamily="34" charset="0"/>
                <a:ea typeface="+mn-ea"/>
                <a:cs typeface="+mn-cs"/>
              </a:rPr>
              <a:t>business critical</a:t>
            </a:r>
          </a:p>
          <a:p>
            <a:r>
              <a:rPr lang="en-US" sz="1200" b="0" i="0" kern="1200" dirty="0">
                <a:solidFill>
                  <a:schemeClr val="tx1"/>
                </a:solidFill>
                <a:effectLst/>
                <a:latin typeface="Segoe UI Light" pitchFamily="34" charset="0"/>
                <a:ea typeface="+mn-ea"/>
                <a:cs typeface="+mn-cs"/>
              </a:rPr>
              <a:t>These service tiers are differentiated by a range of </a:t>
            </a:r>
            <a:r>
              <a:rPr lang="en-US" sz="1200" b="1" i="0" kern="1200" dirty="0">
                <a:solidFill>
                  <a:schemeClr val="tx1"/>
                </a:solidFill>
                <a:effectLst/>
                <a:latin typeface="Segoe UI Light" pitchFamily="34" charset="0"/>
                <a:ea typeface="+mn-ea"/>
                <a:cs typeface="+mn-cs"/>
              </a:rPr>
              <a:t>compute sizes</a:t>
            </a:r>
            <a:r>
              <a:rPr lang="en-US" sz="1200" b="0" i="0" kern="1200" dirty="0">
                <a:solidFill>
                  <a:schemeClr val="tx1"/>
                </a:solidFill>
                <a:effectLst/>
                <a:latin typeface="Segoe UI Light" pitchFamily="34" charset="0"/>
                <a:ea typeface="+mn-ea"/>
                <a:cs typeface="+mn-cs"/>
              </a:rPr>
              <a:t>, </a:t>
            </a:r>
            <a:r>
              <a:rPr lang="en-US" sz="1200" b="1" i="0" kern="1200" dirty="0">
                <a:solidFill>
                  <a:schemeClr val="tx1"/>
                </a:solidFill>
                <a:effectLst/>
                <a:latin typeface="Segoe UI Light" pitchFamily="34" charset="0"/>
                <a:ea typeface="+mn-ea"/>
                <a:cs typeface="+mn-cs"/>
              </a:rPr>
              <a:t>high-availability</a:t>
            </a:r>
            <a:r>
              <a:rPr lang="en-US" sz="1200" b="0" i="0" kern="1200" dirty="0">
                <a:solidFill>
                  <a:schemeClr val="tx1"/>
                </a:solidFill>
                <a:effectLst/>
                <a:latin typeface="Segoe UI Light" pitchFamily="34" charset="0"/>
                <a:ea typeface="+mn-ea"/>
                <a:cs typeface="+mn-cs"/>
              </a:rPr>
              <a:t> designs, </a:t>
            </a:r>
            <a:r>
              <a:rPr lang="en-US" sz="1200" b="1" i="0" kern="1200" dirty="0">
                <a:solidFill>
                  <a:schemeClr val="tx1"/>
                </a:solidFill>
                <a:effectLst/>
                <a:latin typeface="Segoe UI Light" pitchFamily="34" charset="0"/>
                <a:ea typeface="+mn-ea"/>
                <a:cs typeface="+mn-cs"/>
              </a:rPr>
              <a:t>fault-isolation</a:t>
            </a:r>
            <a:r>
              <a:rPr lang="en-US" sz="1200" b="0" i="0" kern="1200" dirty="0">
                <a:solidFill>
                  <a:schemeClr val="tx1"/>
                </a:solidFill>
                <a:effectLst/>
                <a:latin typeface="Segoe UI Light" pitchFamily="34" charset="0"/>
                <a:ea typeface="+mn-ea"/>
                <a:cs typeface="+mn-cs"/>
              </a:rPr>
              <a:t> methods, types and sizes of </a:t>
            </a:r>
            <a:r>
              <a:rPr lang="en-US" sz="1200" b="1" i="0" kern="1200" dirty="0">
                <a:solidFill>
                  <a:schemeClr val="tx1"/>
                </a:solidFill>
                <a:effectLst/>
                <a:latin typeface="Segoe UI Light" pitchFamily="34" charset="0"/>
                <a:ea typeface="+mn-ea"/>
                <a:cs typeface="+mn-cs"/>
              </a:rPr>
              <a:t>storage</a:t>
            </a:r>
            <a:r>
              <a:rPr lang="en-US" sz="1200" b="0" i="0" kern="1200" dirty="0">
                <a:solidFill>
                  <a:schemeClr val="tx1"/>
                </a:solidFill>
                <a:effectLst/>
                <a:latin typeface="Segoe UI Light" pitchFamily="34" charset="0"/>
                <a:ea typeface="+mn-ea"/>
                <a:cs typeface="+mn-cs"/>
              </a:rPr>
              <a:t>, and</a:t>
            </a:r>
            <a:r>
              <a:rPr lang="en-US" sz="1200" b="1" i="0" kern="1200" dirty="0">
                <a:solidFill>
                  <a:schemeClr val="tx1"/>
                </a:solidFill>
                <a:effectLst/>
                <a:latin typeface="Segoe UI Light" pitchFamily="34" charset="0"/>
                <a:ea typeface="+mn-ea"/>
                <a:cs typeface="+mn-cs"/>
              </a:rPr>
              <a:t> I/O </a:t>
            </a:r>
          </a:p>
          <a:p>
            <a:endPar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hlinkClick r:id="rId3"/>
            </a:endParaRPr>
          </a:p>
          <a:p>
            <a:r>
              <a:rPr lang="en-US" sz="1200" dirty="0">
                <a:hlinkClick r:id="rId4"/>
              </a:rPr>
              <a:t>https://docs.microsoft.com/en-us/azure/sql-database/sql-database-service-tiers-vcore</a:t>
            </a:r>
            <a:endParaRPr lang="en-US" sz="1200" dirty="0"/>
          </a:p>
          <a:p>
            <a:endPar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hlinkClick r:id="rId3"/>
              </a:rPr>
              <a:t>https://azure.microsoft.com/en-us/pricing/details/sql-database/</a:t>
            </a: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rPr>
              <a:t>vCore model so we can get AHB: </a:t>
            </a:r>
            <a:r>
              <a:rPr lang="en-US" sz="1200" dirty="0"/>
              <a:t>1 Enterprise license core = 1 Business Critical core</a:t>
            </a:r>
            <a:endPar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rPr>
              <a:t>Business critical because online gaming wants the highest performance and H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Gen 5 so we can scale our compute m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lso for read-scale replica, zone redundant H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r>
              <a:rPr lang="en-US" sz="1200" b="0" i="0" u="none" strike="noStrike" kern="1200" dirty="0">
                <a:solidFill>
                  <a:schemeClr val="tx1"/>
                </a:solidFill>
                <a:effectLst/>
                <a:latin typeface="+mn-lt"/>
                <a:ea typeface="+mn-ea"/>
                <a:cs typeface="+mn-cs"/>
              </a:rPr>
              <a:t>Zone Redundant Storage (ZRS) replicates your data synchronously across three storage clusters in a single region. Each storage cluster is physically separated from the others and is located in its own availability zone (AZ). Each availability zone—and the ZRS cluster within it—is autonomous and includes separate utilities and networking features. A write request to a ZRS storage account returns successfully only after the data is written to all replicas across the three clusters.</a:t>
            </a:r>
          </a:p>
          <a:p>
            <a:r>
              <a:rPr lang="en-US" sz="1200" b="0" i="0" u="none" strike="noStrike" kern="1200" dirty="0">
                <a:solidFill>
                  <a:schemeClr val="tx1"/>
                </a:solidFill>
                <a:effectLst/>
                <a:latin typeface="+mn-lt"/>
                <a:ea typeface="+mn-ea"/>
                <a:cs typeface="+mn-cs"/>
              </a:rPr>
              <a:t>When you store your data in a storage account using ZRS replication, you can continue to access and manage your data if an availability zone becomes unavailable. ZRS provides excellent performance and low latency. ZRS offers the same </a:t>
            </a:r>
            <a:r>
              <a:rPr lang="en-US" sz="1200" b="0" i="0" u="sng" strike="noStrike" kern="1200" dirty="0">
                <a:solidFill>
                  <a:schemeClr val="tx1"/>
                </a:solidFill>
                <a:effectLst/>
                <a:latin typeface="+mn-lt"/>
                <a:ea typeface="+mn-ea"/>
                <a:cs typeface="+mn-cs"/>
                <a:hlinkClick r:id="rId5"/>
              </a:rPr>
              <a:t>scalability targets</a:t>
            </a:r>
            <a:r>
              <a:rPr lang="en-US" sz="1200" b="0" i="0" u="none" strike="noStrike" kern="1200" dirty="0">
                <a:solidFill>
                  <a:schemeClr val="tx1"/>
                </a:solidFill>
                <a:effectLst/>
                <a:latin typeface="+mn-lt"/>
                <a:ea typeface="+mn-ea"/>
                <a:cs typeface="+mn-cs"/>
              </a:rPr>
              <a:t> as </a:t>
            </a:r>
            <a:r>
              <a:rPr lang="en-US" sz="1200" b="0" i="0" u="sng" strike="noStrike" kern="1200" dirty="0">
                <a:solidFill>
                  <a:schemeClr val="tx1"/>
                </a:solidFill>
                <a:effectLst/>
                <a:latin typeface="+mn-lt"/>
                <a:ea typeface="+mn-ea"/>
                <a:cs typeface="+mn-cs"/>
                <a:hlinkClick r:id="rId6"/>
              </a:rPr>
              <a:t>locally redundant storage (LRS)</a:t>
            </a:r>
            <a:r>
              <a:rPr lang="en-US" sz="1200" b="0" i="0" u="none" strike="noStrike"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B3E91B-0691-4B67-8A98-0307ED341CD0}"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3366313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2"/>
                </a:solidFill>
                <a:latin typeface="Segoe UI Light (Headings)"/>
                <a:cs typeface="Segoe UI"/>
              </a:rPr>
              <a:t>vCore-based purchasing model: </a:t>
            </a:r>
            <a:r>
              <a:rPr lang="en-US" sz="1200" b="1" i="0" kern="1200" dirty="0">
                <a:solidFill>
                  <a:schemeClr val="tx1"/>
                </a:solidFill>
                <a:effectLst/>
                <a:latin typeface="Segoe UI Light" pitchFamily="34" charset="0"/>
                <a:ea typeface="+mn-ea"/>
                <a:cs typeface="+mn-cs"/>
              </a:rPr>
              <a:t>General</a:t>
            </a:r>
            <a:r>
              <a:rPr lang="en-US" sz="1200" b="0" i="0" kern="1200" dirty="0">
                <a:solidFill>
                  <a:schemeClr val="tx1"/>
                </a:solidFill>
                <a:effectLst/>
                <a:latin typeface="Segoe UI Light" pitchFamily="34" charset="0"/>
                <a:ea typeface="+mn-ea"/>
                <a:cs typeface="+mn-cs"/>
              </a:rPr>
              <a:t> </a:t>
            </a:r>
            <a:r>
              <a:rPr lang="en-US" sz="1200" b="1" i="0" kern="1200" dirty="0">
                <a:solidFill>
                  <a:schemeClr val="tx1"/>
                </a:solidFill>
                <a:effectLst/>
                <a:latin typeface="Segoe UI Light" pitchFamily="34" charset="0"/>
                <a:ea typeface="+mn-ea"/>
                <a:cs typeface="+mn-cs"/>
              </a:rPr>
              <a:t>purpose</a:t>
            </a:r>
            <a:r>
              <a:rPr lang="en-US" sz="1200" b="0" i="0" kern="1200" dirty="0">
                <a:solidFill>
                  <a:schemeClr val="tx1"/>
                </a:solidFill>
                <a:effectLst/>
                <a:latin typeface="Segoe UI Light" pitchFamily="34" charset="0"/>
                <a:ea typeface="+mn-ea"/>
                <a:cs typeface="+mn-cs"/>
              </a:rPr>
              <a:t>, </a:t>
            </a:r>
            <a:r>
              <a:rPr lang="en-US" sz="1200" b="1" i="0" kern="1200" dirty="0">
                <a:solidFill>
                  <a:schemeClr val="tx1"/>
                </a:solidFill>
                <a:effectLst/>
                <a:latin typeface="Segoe UI Light" pitchFamily="34" charset="0"/>
                <a:ea typeface="+mn-ea"/>
                <a:cs typeface="+mn-cs"/>
              </a:rPr>
              <a:t>hyperscale</a:t>
            </a:r>
            <a:r>
              <a:rPr lang="en-US" sz="1200" b="0" i="0" kern="1200" dirty="0">
                <a:solidFill>
                  <a:schemeClr val="tx1"/>
                </a:solidFill>
                <a:effectLst/>
                <a:latin typeface="Segoe UI Light" pitchFamily="34" charset="0"/>
                <a:ea typeface="+mn-ea"/>
                <a:cs typeface="+mn-cs"/>
              </a:rPr>
              <a:t>, and </a:t>
            </a:r>
            <a:r>
              <a:rPr lang="en-US" sz="1200" b="1" i="0" kern="1200" dirty="0">
                <a:solidFill>
                  <a:schemeClr val="tx1"/>
                </a:solidFill>
                <a:effectLst/>
                <a:latin typeface="Segoe UI Light" pitchFamily="34" charset="0"/>
                <a:ea typeface="+mn-ea"/>
                <a:cs typeface="+mn-cs"/>
              </a:rPr>
              <a:t>business critical</a:t>
            </a:r>
          </a:p>
          <a:p>
            <a:r>
              <a:rPr lang="en-US" sz="1200" b="0" i="0" kern="1200" dirty="0">
                <a:solidFill>
                  <a:schemeClr val="tx1"/>
                </a:solidFill>
                <a:effectLst/>
                <a:latin typeface="Segoe UI Light" pitchFamily="34" charset="0"/>
                <a:ea typeface="+mn-ea"/>
                <a:cs typeface="+mn-cs"/>
              </a:rPr>
              <a:t>These service tiers are differentiated by a range of </a:t>
            </a:r>
            <a:r>
              <a:rPr lang="en-US" sz="1200" b="1" i="0" kern="1200" dirty="0">
                <a:solidFill>
                  <a:schemeClr val="tx1"/>
                </a:solidFill>
                <a:effectLst/>
                <a:latin typeface="Segoe UI Light" pitchFamily="34" charset="0"/>
                <a:ea typeface="+mn-ea"/>
                <a:cs typeface="+mn-cs"/>
              </a:rPr>
              <a:t>compute sizes</a:t>
            </a:r>
            <a:r>
              <a:rPr lang="en-US" sz="1200" b="0" i="0" kern="1200" dirty="0">
                <a:solidFill>
                  <a:schemeClr val="tx1"/>
                </a:solidFill>
                <a:effectLst/>
                <a:latin typeface="Segoe UI Light" pitchFamily="34" charset="0"/>
                <a:ea typeface="+mn-ea"/>
                <a:cs typeface="+mn-cs"/>
              </a:rPr>
              <a:t>, </a:t>
            </a:r>
            <a:r>
              <a:rPr lang="en-US" sz="1200" b="1" i="0" kern="1200" dirty="0">
                <a:solidFill>
                  <a:schemeClr val="tx1"/>
                </a:solidFill>
                <a:effectLst/>
                <a:latin typeface="Segoe UI Light" pitchFamily="34" charset="0"/>
                <a:ea typeface="+mn-ea"/>
                <a:cs typeface="+mn-cs"/>
              </a:rPr>
              <a:t>high-availability</a:t>
            </a:r>
            <a:r>
              <a:rPr lang="en-US" sz="1200" b="0" i="0" kern="1200" dirty="0">
                <a:solidFill>
                  <a:schemeClr val="tx1"/>
                </a:solidFill>
                <a:effectLst/>
                <a:latin typeface="Segoe UI Light" pitchFamily="34" charset="0"/>
                <a:ea typeface="+mn-ea"/>
                <a:cs typeface="+mn-cs"/>
              </a:rPr>
              <a:t> designs, </a:t>
            </a:r>
            <a:r>
              <a:rPr lang="en-US" sz="1200" b="1" i="0" kern="1200" dirty="0">
                <a:solidFill>
                  <a:schemeClr val="tx1"/>
                </a:solidFill>
                <a:effectLst/>
                <a:latin typeface="Segoe UI Light" pitchFamily="34" charset="0"/>
                <a:ea typeface="+mn-ea"/>
                <a:cs typeface="+mn-cs"/>
              </a:rPr>
              <a:t>fault-isolation</a:t>
            </a:r>
            <a:r>
              <a:rPr lang="en-US" sz="1200" b="0" i="0" kern="1200" dirty="0">
                <a:solidFill>
                  <a:schemeClr val="tx1"/>
                </a:solidFill>
                <a:effectLst/>
                <a:latin typeface="Segoe UI Light" pitchFamily="34" charset="0"/>
                <a:ea typeface="+mn-ea"/>
                <a:cs typeface="+mn-cs"/>
              </a:rPr>
              <a:t> methods, types and sizes of </a:t>
            </a:r>
            <a:r>
              <a:rPr lang="en-US" sz="1200" b="1" i="0" kern="1200" dirty="0">
                <a:solidFill>
                  <a:schemeClr val="tx1"/>
                </a:solidFill>
                <a:effectLst/>
                <a:latin typeface="Segoe UI Light" pitchFamily="34" charset="0"/>
                <a:ea typeface="+mn-ea"/>
                <a:cs typeface="+mn-cs"/>
              </a:rPr>
              <a:t>storage</a:t>
            </a:r>
            <a:r>
              <a:rPr lang="en-US" sz="1200" b="0" i="0" kern="1200" dirty="0">
                <a:solidFill>
                  <a:schemeClr val="tx1"/>
                </a:solidFill>
                <a:effectLst/>
                <a:latin typeface="Segoe UI Light" pitchFamily="34" charset="0"/>
                <a:ea typeface="+mn-ea"/>
                <a:cs typeface="+mn-cs"/>
              </a:rPr>
              <a:t>, and</a:t>
            </a:r>
            <a:r>
              <a:rPr lang="en-US" sz="1200" b="1" i="0" kern="1200" dirty="0">
                <a:solidFill>
                  <a:schemeClr val="tx1"/>
                </a:solidFill>
                <a:effectLst/>
                <a:latin typeface="Segoe UI Light" pitchFamily="34" charset="0"/>
                <a:ea typeface="+mn-ea"/>
                <a:cs typeface="+mn-cs"/>
              </a:rPr>
              <a:t> I/O </a:t>
            </a:r>
          </a:p>
          <a:p>
            <a:endPar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hlinkClick r:id="rId3"/>
            </a:endParaRPr>
          </a:p>
          <a:p>
            <a:r>
              <a:rPr lang="en-US" sz="1200" dirty="0">
                <a:hlinkClick r:id="rId4"/>
              </a:rPr>
              <a:t>https://docs.microsoft.com/en-us/azure/sql-database/sql-database-service-tiers-vcore</a:t>
            </a:r>
            <a:endParaRPr lang="en-US" sz="1200" dirty="0"/>
          </a:p>
          <a:p>
            <a:endPar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hlinkClick r:id="rId3"/>
              </a:rPr>
              <a:t>https://azure.microsoft.com/en-us/pricing/details/sql-database/</a:t>
            </a: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rPr>
              <a:t>vCore model so we can get AHB: </a:t>
            </a:r>
            <a:r>
              <a:rPr lang="en-US" sz="1200" dirty="0"/>
              <a:t>1 Enterprise license core = 1 Business Critical core</a:t>
            </a:r>
            <a:endPar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rPr>
              <a:t>Business critical because online gaming wants the highest performance and H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Gen 5 so we can scale our compute m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lso for read-scale replica, zone redundant H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r>
              <a:rPr lang="en-US" sz="1200" b="0" i="0" u="none" strike="noStrike" kern="1200" dirty="0">
                <a:solidFill>
                  <a:schemeClr val="tx1"/>
                </a:solidFill>
                <a:effectLst/>
                <a:latin typeface="+mn-lt"/>
                <a:ea typeface="+mn-ea"/>
                <a:cs typeface="+mn-cs"/>
              </a:rPr>
              <a:t>Zone Redundant Storage (ZRS) replicates your data synchronously across three storage clusters in a single region. Each storage cluster is physically separated from the others and is located in its own availability zone (AZ). Each availability zone—and the ZRS cluster within it—is autonomous and includes separate utilities and networking features. A write request to a ZRS storage account returns successfully only after the data is written to all replicas across the three clusters.</a:t>
            </a:r>
          </a:p>
          <a:p>
            <a:r>
              <a:rPr lang="en-US" sz="1200" b="0" i="0" u="none" strike="noStrike" kern="1200" dirty="0">
                <a:solidFill>
                  <a:schemeClr val="tx1"/>
                </a:solidFill>
                <a:effectLst/>
                <a:latin typeface="+mn-lt"/>
                <a:ea typeface="+mn-ea"/>
                <a:cs typeface="+mn-cs"/>
              </a:rPr>
              <a:t>When you store your data in a storage account using ZRS replication, you can continue to access and manage your data if an availability zone becomes unavailable. ZRS provides excellent performance and low latency. ZRS offers the same </a:t>
            </a:r>
            <a:r>
              <a:rPr lang="en-US" sz="1200" b="0" i="0" u="sng" strike="noStrike" kern="1200" dirty="0">
                <a:solidFill>
                  <a:schemeClr val="tx1"/>
                </a:solidFill>
                <a:effectLst/>
                <a:latin typeface="+mn-lt"/>
                <a:ea typeface="+mn-ea"/>
                <a:cs typeface="+mn-cs"/>
                <a:hlinkClick r:id="rId5"/>
              </a:rPr>
              <a:t>scalability targets</a:t>
            </a:r>
            <a:r>
              <a:rPr lang="en-US" sz="1200" b="0" i="0" u="none" strike="noStrike" kern="1200" dirty="0">
                <a:solidFill>
                  <a:schemeClr val="tx1"/>
                </a:solidFill>
                <a:effectLst/>
                <a:latin typeface="+mn-lt"/>
                <a:ea typeface="+mn-ea"/>
                <a:cs typeface="+mn-cs"/>
              </a:rPr>
              <a:t> as </a:t>
            </a:r>
            <a:r>
              <a:rPr lang="en-US" sz="1200" b="0" i="0" u="sng" strike="noStrike" kern="1200" dirty="0">
                <a:solidFill>
                  <a:schemeClr val="tx1"/>
                </a:solidFill>
                <a:effectLst/>
                <a:latin typeface="+mn-lt"/>
                <a:ea typeface="+mn-ea"/>
                <a:cs typeface="+mn-cs"/>
                <a:hlinkClick r:id="rId6"/>
              </a:rPr>
              <a:t>locally redundant storage (LRS)</a:t>
            </a:r>
            <a:r>
              <a:rPr lang="en-US" sz="1200" b="0" i="0" u="none" strike="noStrike"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B3E91B-0691-4B67-8A98-0307ED341CD0}"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0877631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0" i="0" kern="1200">
                <a:solidFill>
                  <a:schemeClr val="tx1"/>
                </a:solidFill>
                <a:effectLst/>
                <a:latin typeface="Segoe UI Light" pitchFamily="34" charset="0"/>
                <a:ea typeface="+mn-ea"/>
                <a:cs typeface="+mn-cs"/>
              </a:rPr>
              <a:t>The architectural model for the general-purpose service tier is based on a separation of compute and storage. This architectural model relies on high availability and reliability of Azure Blob storage that transparently replicates database files and guarantees no data loss if underlying infrastructure failure happens.</a:t>
            </a:r>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a:p>
        </p:txBody>
      </p:sp>
    </p:spTree>
    <p:extLst>
      <p:ext uri="{BB962C8B-B14F-4D97-AF65-F5344CB8AC3E}">
        <p14:creationId xmlns:p14="http://schemas.microsoft.com/office/powerpoint/2010/main" val="6941386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kern="1200">
                <a:solidFill>
                  <a:schemeClr val="tx1"/>
                </a:solidFill>
                <a:effectLst/>
                <a:latin typeface="Segoe UI Light" pitchFamily="34" charset="0"/>
                <a:ea typeface="+mn-ea"/>
                <a:cs typeface="+mn-cs"/>
              </a:rPr>
              <a:t>Business Critical service tier model is based on a cluster of database engine processes. This architectural model relies on a fact that there is always a quorum of available database engine nodes and has minimal performance impact on your workload even during maintenance activities.</a:t>
            </a:r>
          </a:p>
          <a:p>
            <a:r>
              <a:rPr lang="en-US" sz="800" b="0" i="0" kern="1200">
                <a:solidFill>
                  <a:schemeClr val="tx1"/>
                </a:solidFill>
                <a:effectLst/>
                <a:latin typeface="Segoe UI Light" pitchFamily="34" charset="0"/>
                <a:ea typeface="+mn-ea"/>
                <a:cs typeface="+mn-cs"/>
              </a:rPr>
              <a:t>Azure upgrades and patches underlying operating system, drivers, and SQL Server Database Engine transparently with the minimal down-time for end users.</a:t>
            </a:r>
          </a:p>
          <a:p>
            <a:r>
              <a:rPr lang="en-US" sz="800" b="0" i="0" kern="1200">
                <a:solidFill>
                  <a:schemeClr val="tx1"/>
                </a:solidFill>
                <a:effectLst/>
                <a:latin typeface="Segoe UI Light" pitchFamily="34" charset="0"/>
                <a:ea typeface="+mn-ea"/>
                <a:cs typeface="+mn-cs"/>
              </a:rPr>
              <a:t>Premium availability is enabled in Business Critical service tier of Azure SQL Database and it is designed for intensive workloads that cannot tolerate any performance impact due to the ongoing maintenance operations.</a:t>
            </a:r>
          </a:p>
          <a:p>
            <a:r>
              <a:rPr lang="en-US" sz="800" b="0" i="0" kern="1200">
                <a:solidFill>
                  <a:schemeClr val="tx1"/>
                </a:solidFill>
                <a:effectLst/>
                <a:latin typeface="Segoe UI Light" pitchFamily="34" charset="0"/>
                <a:ea typeface="+mn-ea"/>
                <a:cs typeface="+mn-cs"/>
              </a:rPr>
              <a:t>In the premium model, Azure SQL database integrates compute and storage on the single node. High availability in this architectural model is achieved by replication of compute (SQL Server Database Engine process) and storage (locally attached SSD) deployed in four node cluster, using technology similar to SQL Server </a:t>
            </a:r>
            <a:r>
              <a:rPr lang="en-US" sz="800" b="0" i="0" u="sng" kern="1200">
                <a:solidFill>
                  <a:schemeClr val="tx1"/>
                </a:solidFill>
                <a:effectLst/>
                <a:latin typeface="Segoe UI Light" pitchFamily="34" charset="0"/>
                <a:ea typeface="+mn-ea"/>
                <a:cs typeface="+mn-cs"/>
                <a:hlinkClick r:id="rId3"/>
              </a:rPr>
              <a:t>Always On Availability Groups</a:t>
            </a:r>
            <a:r>
              <a:rPr lang="en-US" sz="800" b="0" i="0" kern="1200">
                <a:solidFill>
                  <a:schemeClr val="tx1"/>
                </a:solidFill>
                <a:effectLst/>
                <a:latin typeface="Segoe UI Light" pitchFamily="34" charset="0"/>
                <a:ea typeface="+mn-ea"/>
                <a:cs typeface="+mn-cs"/>
              </a:rPr>
              <a:t>.</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a:p>
        </p:txBody>
      </p:sp>
    </p:spTree>
    <p:extLst>
      <p:ext uri="{BB962C8B-B14F-4D97-AF65-F5344CB8AC3E}">
        <p14:creationId xmlns:p14="http://schemas.microsoft.com/office/powerpoint/2010/main" val="39917216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0" i="0" kern="1200">
                <a:solidFill>
                  <a:schemeClr val="tx1"/>
                </a:solidFill>
                <a:effectLst/>
                <a:latin typeface="Segoe UI Light" pitchFamily="34" charset="0"/>
                <a:ea typeface="+mn-ea"/>
                <a:cs typeface="+mn-cs"/>
              </a:rPr>
              <a:t>The Hyperscale service tier in Azure SQL Database is the newest service tier in the </a:t>
            </a:r>
            <a:r>
              <a:rPr lang="en-US" sz="800" b="0" i="0" kern="1200" err="1">
                <a:solidFill>
                  <a:schemeClr val="tx1"/>
                </a:solidFill>
                <a:effectLst/>
                <a:latin typeface="Segoe UI Light" pitchFamily="34" charset="0"/>
                <a:ea typeface="+mn-ea"/>
                <a:cs typeface="+mn-cs"/>
              </a:rPr>
              <a:t>vCore</a:t>
            </a:r>
            <a:r>
              <a:rPr lang="en-US" sz="800" b="0" i="0" kern="1200">
                <a:solidFill>
                  <a:schemeClr val="tx1"/>
                </a:solidFill>
                <a:effectLst/>
                <a:latin typeface="Segoe UI Light" pitchFamily="34" charset="0"/>
                <a:ea typeface="+mn-ea"/>
                <a:cs typeface="+mn-cs"/>
              </a:rPr>
              <a:t>-based purchasing model. This service tier is a highly scalable storage and compute performance tier that leverages the Azure architecture to scale out the storage and compute resources for an Azure SQL Database substantially beyond the limits available for the General Purpose and Business Critical service tiers.</a:t>
            </a:r>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a:p>
        </p:txBody>
      </p:sp>
    </p:spTree>
    <p:extLst>
      <p:ext uri="{BB962C8B-B14F-4D97-AF65-F5344CB8AC3E}">
        <p14:creationId xmlns:p14="http://schemas.microsoft.com/office/powerpoint/2010/main" val="16526219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In terms of the vCore-based purchasing model, you will be able to further balance price and performance requirements with the ability to choose between different hardware generations. </a:t>
            </a:r>
            <a:r>
              <a:rPr lang="en-US" sz="800" kern="1200" dirty="0">
                <a:solidFill>
                  <a:schemeClr val="tx1"/>
                </a:solidFill>
                <a:effectLst/>
                <a:latin typeface="Segoe UI Light" pitchFamily="34" charset="0"/>
                <a:ea typeface="+mn-ea"/>
                <a:cs typeface="+mn-cs"/>
              </a:rPr>
              <a:t>Microsoft’s goal is to enable maximum flexibility so you can choose a performance configuration that most closely matches the needs of your application. In particular, Gen 4 hardware offers more memory per vCore. However, Gen 5 hardware allows you to scale up compute much higher. </a:t>
            </a:r>
            <a:r>
              <a:rPr lang="en-US" dirty="0"/>
              <a:t>Microsoft</a:t>
            </a:r>
            <a:r>
              <a:rPr lang="en-US" sz="800" kern="1200" dirty="0">
                <a:solidFill>
                  <a:schemeClr val="tx1"/>
                </a:solidFill>
                <a:effectLst/>
                <a:latin typeface="Segoe UI Light" pitchFamily="34" charset="0"/>
                <a:ea typeface="+mn-ea"/>
                <a:cs typeface="+mn-cs"/>
              </a:rPr>
              <a:t> wants to make these differences transparent so you can achieve the optimal price/performance ratio for your application. </a:t>
            </a:r>
            <a:endParaRPr lang="en-US" dirty="0"/>
          </a:p>
          <a:p>
            <a:endParaRPr lang="en-US" dirty="0"/>
          </a:p>
          <a:p>
            <a:r>
              <a:rPr lang="en-US" sz="800" b="0" i="0" kern="1200" dirty="0">
                <a:solidFill>
                  <a:schemeClr val="tx1"/>
                </a:solidFill>
                <a:effectLst/>
                <a:latin typeface="Segoe UI Light" pitchFamily="34" charset="0"/>
                <a:ea typeface="+mn-ea"/>
                <a:cs typeface="+mn-cs"/>
              </a:rPr>
              <a:t>Hardware generation options in the vCore model include Gen 4/5, M-series (preview), and Fsv2-series (preview). The hardware generation generally defines the compute and memory limits and other characteristics that impact the performance of the workload.</a:t>
            </a:r>
          </a:p>
          <a:p>
            <a:endParaRPr lang="en-US" sz="8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800" b="1" i="0" kern="1200" dirty="0">
                <a:solidFill>
                  <a:schemeClr val="tx1"/>
                </a:solidFill>
                <a:effectLst/>
                <a:latin typeface="Segoe UI Light" pitchFamily="34" charset="0"/>
                <a:ea typeface="+mn-ea"/>
                <a:cs typeface="+mn-cs"/>
              </a:rPr>
              <a:t>Gen4/Gen5</a:t>
            </a:r>
          </a:p>
          <a:p>
            <a:r>
              <a:rPr lang="en-US" sz="800" b="0" i="0" kern="1200" dirty="0">
                <a:solidFill>
                  <a:schemeClr val="tx1"/>
                </a:solidFill>
                <a:effectLst/>
                <a:latin typeface="Segoe UI Light" pitchFamily="34" charset="0"/>
                <a:ea typeface="+mn-ea"/>
                <a:cs typeface="+mn-cs"/>
              </a:rPr>
              <a:t>Gen4/Gen5 hardware provides balanced compute and memory resources, and is suitable for most database workloads that do not have higher memory, higher vCore, or faster single vCore requirements as provided by Fsv2-series or M-series.</a:t>
            </a:r>
          </a:p>
          <a:p>
            <a:r>
              <a:rPr lang="en-US" sz="800" b="0" i="0" kern="1200" dirty="0">
                <a:solidFill>
                  <a:schemeClr val="tx1"/>
                </a:solidFill>
                <a:effectLst/>
                <a:latin typeface="Segoe UI Light" pitchFamily="34" charset="0"/>
                <a:ea typeface="+mn-ea"/>
                <a:cs typeface="+mn-cs"/>
              </a:rPr>
              <a:t>For regions where Gen4/Gen5 is available, see </a:t>
            </a:r>
            <a:r>
              <a:rPr lang="en-US" sz="800" b="0" i="0" u="sng" kern="1200" dirty="0">
                <a:solidFill>
                  <a:schemeClr val="tx1"/>
                </a:solidFill>
                <a:effectLst/>
                <a:latin typeface="Segoe UI Light" pitchFamily="34" charset="0"/>
                <a:ea typeface="+mn-ea"/>
                <a:cs typeface="+mn-cs"/>
                <a:hlinkClick r:id="rId3"/>
              </a:rPr>
              <a:t>Gen4/Gen5 availability</a:t>
            </a:r>
            <a:r>
              <a:rPr lang="en-US" sz="800" b="0" i="0"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r>
              <a:rPr lang="en-US" sz="800" b="1" i="0" kern="1200" dirty="0">
                <a:solidFill>
                  <a:schemeClr val="tx1"/>
                </a:solidFill>
                <a:effectLst/>
                <a:latin typeface="Segoe UI Light" pitchFamily="34" charset="0"/>
                <a:ea typeface="+mn-ea"/>
                <a:cs typeface="+mn-cs"/>
              </a:rPr>
              <a:t>Fsv2-series (preview)</a:t>
            </a:r>
          </a:p>
          <a:p>
            <a:r>
              <a:rPr lang="en-US" sz="800" b="0" i="0" kern="1200" dirty="0">
                <a:solidFill>
                  <a:schemeClr val="tx1"/>
                </a:solidFill>
                <a:effectLst/>
                <a:latin typeface="Segoe UI Light" pitchFamily="34" charset="0"/>
                <a:ea typeface="+mn-ea"/>
                <a:cs typeface="+mn-cs"/>
              </a:rPr>
              <a:t>Fsv2-series is a compute optimized hardware option delivering low CPU latency and high clock speed for the most CPU demanding workloads.</a:t>
            </a:r>
          </a:p>
          <a:p>
            <a:r>
              <a:rPr lang="en-US" sz="800" b="0" i="0" kern="1200" dirty="0">
                <a:solidFill>
                  <a:schemeClr val="tx1"/>
                </a:solidFill>
                <a:effectLst/>
                <a:latin typeface="Segoe UI Light" pitchFamily="34" charset="0"/>
                <a:ea typeface="+mn-ea"/>
                <a:cs typeface="+mn-cs"/>
              </a:rPr>
              <a:t>Depending on the workload, Fsv2-series can deliver more CPU performance per vCore than Gen5, and the 72 vCore size can provide more CPU performance for less cost than 80 </a:t>
            </a:r>
            <a:r>
              <a:rPr lang="en-US" sz="800" b="0" i="0" kern="1200" dirty="0" err="1">
                <a:solidFill>
                  <a:schemeClr val="tx1"/>
                </a:solidFill>
                <a:effectLst/>
                <a:latin typeface="Segoe UI Light" pitchFamily="34" charset="0"/>
                <a:ea typeface="+mn-ea"/>
                <a:cs typeface="+mn-cs"/>
              </a:rPr>
              <a:t>vCores</a:t>
            </a:r>
            <a:r>
              <a:rPr lang="en-US" sz="800" b="0" i="0" kern="1200" dirty="0">
                <a:solidFill>
                  <a:schemeClr val="tx1"/>
                </a:solidFill>
                <a:effectLst/>
                <a:latin typeface="Segoe UI Light" pitchFamily="34" charset="0"/>
                <a:ea typeface="+mn-ea"/>
                <a:cs typeface="+mn-cs"/>
              </a:rPr>
              <a:t> on Gen5.</a:t>
            </a:r>
          </a:p>
          <a:p>
            <a:r>
              <a:rPr lang="en-US" sz="800" b="0" i="0" kern="1200" dirty="0">
                <a:solidFill>
                  <a:schemeClr val="tx1"/>
                </a:solidFill>
                <a:effectLst/>
                <a:latin typeface="Segoe UI Light" pitchFamily="34" charset="0"/>
                <a:ea typeface="+mn-ea"/>
                <a:cs typeface="+mn-cs"/>
              </a:rPr>
              <a:t>Fsv2 provides less memory and </a:t>
            </a:r>
            <a:r>
              <a:rPr lang="en-US" sz="800" b="0" i="0" kern="1200" dirty="0" err="1">
                <a:solidFill>
                  <a:schemeClr val="tx1"/>
                </a:solidFill>
                <a:effectLst/>
                <a:latin typeface="Segoe UI Light" pitchFamily="34" charset="0"/>
                <a:ea typeface="+mn-ea"/>
                <a:cs typeface="+mn-cs"/>
              </a:rPr>
              <a:t>tempdb</a:t>
            </a:r>
            <a:r>
              <a:rPr lang="en-US" sz="800" b="0" i="0" kern="1200" dirty="0">
                <a:solidFill>
                  <a:schemeClr val="tx1"/>
                </a:solidFill>
                <a:effectLst/>
                <a:latin typeface="Segoe UI Light" pitchFamily="34" charset="0"/>
                <a:ea typeface="+mn-ea"/>
                <a:cs typeface="+mn-cs"/>
              </a:rPr>
              <a:t> per vCore than other hardware so workloads sensitive to those limits may want to consider Gen5 or M-series instead.  </a:t>
            </a:r>
          </a:p>
          <a:p>
            <a:r>
              <a:rPr lang="en-US" sz="800" b="0" i="0" kern="1200" dirty="0">
                <a:solidFill>
                  <a:schemeClr val="tx1"/>
                </a:solidFill>
                <a:effectLst/>
                <a:latin typeface="Segoe UI Light" pitchFamily="34" charset="0"/>
                <a:ea typeface="+mn-ea"/>
                <a:cs typeface="+mn-cs"/>
              </a:rPr>
              <a:t>For regions where Fsv2-series is available, see </a:t>
            </a:r>
            <a:r>
              <a:rPr lang="en-US" sz="800" b="0" i="0" u="sng" kern="1200" dirty="0">
                <a:solidFill>
                  <a:schemeClr val="tx1"/>
                </a:solidFill>
                <a:effectLst/>
                <a:latin typeface="Segoe UI Light" pitchFamily="34" charset="0"/>
                <a:ea typeface="+mn-ea"/>
                <a:cs typeface="+mn-cs"/>
                <a:hlinkClick r:id="rId4"/>
              </a:rPr>
              <a:t>Fsv2-series availability</a:t>
            </a:r>
            <a:r>
              <a:rPr lang="en-US" sz="800" b="0" i="0"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r>
              <a:rPr lang="en-US" sz="800" b="1" i="0" kern="1200" dirty="0">
                <a:solidFill>
                  <a:schemeClr val="tx1"/>
                </a:solidFill>
                <a:effectLst/>
                <a:latin typeface="Segoe UI Light" pitchFamily="34" charset="0"/>
                <a:ea typeface="+mn-ea"/>
                <a:cs typeface="+mn-cs"/>
              </a:rPr>
              <a:t>M-series (preview)</a:t>
            </a:r>
          </a:p>
          <a:p>
            <a:r>
              <a:rPr lang="en-US" sz="800" b="0" i="0" kern="1200" dirty="0">
                <a:solidFill>
                  <a:schemeClr val="tx1"/>
                </a:solidFill>
                <a:effectLst/>
                <a:latin typeface="Segoe UI Light" pitchFamily="34" charset="0"/>
                <a:ea typeface="+mn-ea"/>
                <a:cs typeface="+mn-cs"/>
              </a:rPr>
              <a:t>M-series is a memory optimized hardware option for workloads demanding more memory and higher compute limits than provided by Gen5.</a:t>
            </a:r>
          </a:p>
          <a:p>
            <a:r>
              <a:rPr lang="en-US" sz="800" b="0" i="0" kern="1200" dirty="0">
                <a:solidFill>
                  <a:schemeClr val="tx1"/>
                </a:solidFill>
                <a:effectLst/>
                <a:latin typeface="Segoe UI Light" pitchFamily="34" charset="0"/>
                <a:ea typeface="+mn-ea"/>
                <a:cs typeface="+mn-cs"/>
              </a:rPr>
              <a:t>M-series provides 29 GB per vCore and 128 </a:t>
            </a:r>
            <a:r>
              <a:rPr lang="en-US" sz="800" b="0" i="0" kern="1200" dirty="0" err="1">
                <a:solidFill>
                  <a:schemeClr val="tx1"/>
                </a:solidFill>
                <a:effectLst/>
                <a:latin typeface="Segoe UI Light" pitchFamily="34" charset="0"/>
                <a:ea typeface="+mn-ea"/>
                <a:cs typeface="+mn-cs"/>
              </a:rPr>
              <a:t>vCores</a:t>
            </a:r>
            <a:r>
              <a:rPr lang="en-US" sz="800" b="0" i="0" kern="1200" dirty="0">
                <a:solidFill>
                  <a:schemeClr val="tx1"/>
                </a:solidFill>
                <a:effectLst/>
                <a:latin typeface="Segoe UI Light" pitchFamily="34" charset="0"/>
                <a:ea typeface="+mn-ea"/>
                <a:cs typeface="+mn-cs"/>
              </a:rPr>
              <a:t>, which increases the memory limit relative to Gen5 by 8x to nearly 4 TB.</a:t>
            </a:r>
          </a:p>
          <a:p>
            <a:r>
              <a:rPr lang="en-US" sz="800" b="0" i="0" kern="1200" dirty="0">
                <a:solidFill>
                  <a:schemeClr val="tx1"/>
                </a:solidFill>
                <a:effectLst/>
                <a:latin typeface="Segoe UI Light" pitchFamily="34" charset="0"/>
                <a:ea typeface="+mn-ea"/>
                <a:cs typeface="+mn-cs"/>
              </a:rPr>
              <a:t>To enable M-series hardware for a subscription and region, a support request must be open. If the support request is approved, then the selection and provisioning experience of M-series follows the same pattern as for other hardware generations. For regions where M-series is available, see </a:t>
            </a:r>
            <a:r>
              <a:rPr lang="en-US" sz="800" b="0" i="0" u="sng" kern="1200" dirty="0">
                <a:solidFill>
                  <a:schemeClr val="tx1"/>
                </a:solidFill>
                <a:effectLst/>
                <a:latin typeface="Segoe UI Light" pitchFamily="34" charset="0"/>
                <a:ea typeface="+mn-ea"/>
                <a:cs typeface="+mn-cs"/>
                <a:hlinkClick r:id="rId5"/>
              </a:rPr>
              <a:t>M-series availability</a:t>
            </a:r>
            <a:r>
              <a:rPr lang="en-US" sz="800" b="0" i="0" kern="1200" dirty="0">
                <a:solidFill>
                  <a:schemeClr val="tx1"/>
                </a:solidFill>
                <a:effectLst/>
                <a:latin typeface="Segoe UI Light" pitchFamily="34" charset="0"/>
                <a:ea typeface="+mn-ea"/>
                <a:cs typeface="+mn-cs"/>
              </a:rPr>
              <a:t>.</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a:p>
        </p:txBody>
      </p:sp>
    </p:spTree>
    <p:extLst>
      <p:ext uri="{BB962C8B-B14F-4D97-AF65-F5344CB8AC3E}">
        <p14:creationId xmlns:p14="http://schemas.microsoft.com/office/powerpoint/2010/main" val="39751141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mn-lt"/>
                <a:ea typeface="+mn-ea"/>
                <a:cs typeface="+mn-cs"/>
              </a:rPr>
              <a:t>Azure SQL Database serverless is our answer to cost-effectively resourcing these types of unpredictable and intermittent workloads.  It is a dynamically scaling, on-demand version of Azure SQL Database that </a:t>
            </a:r>
            <a:r>
              <a:rPr lang="en-US" sz="900" b="1" kern="1200">
                <a:solidFill>
                  <a:schemeClr val="tx1"/>
                </a:solidFill>
                <a:effectLst/>
                <a:latin typeface="+mn-lt"/>
                <a:ea typeface="+mn-ea"/>
                <a:cs typeface="+mn-cs"/>
              </a:rPr>
              <a:t>eliminates the complexity</a:t>
            </a:r>
            <a:r>
              <a:rPr lang="en-US" sz="900" kern="1200">
                <a:solidFill>
                  <a:schemeClr val="tx1"/>
                </a:solidFill>
                <a:effectLst/>
                <a:latin typeface="+mn-lt"/>
                <a:ea typeface="+mn-ea"/>
                <a:cs typeface="+mn-cs"/>
              </a:rPr>
              <a:t> of resourcing and managing unpredictable workloads.  Simply create a serverless database and connect your application, with no upfront resource configuration required.  Serverless SQL databases </a:t>
            </a:r>
            <a:r>
              <a:rPr lang="en-US" sz="900" b="1" kern="1200">
                <a:solidFill>
                  <a:schemeClr val="tx1"/>
                </a:solidFill>
                <a:effectLst/>
                <a:latin typeface="+mn-lt"/>
                <a:ea typeface="+mn-ea"/>
                <a:cs typeface="+mn-cs"/>
              </a:rPr>
              <a:t>automatically pause, resume and scale compute </a:t>
            </a:r>
            <a:r>
              <a:rPr lang="en-US" sz="900" kern="1200">
                <a:solidFill>
                  <a:schemeClr val="tx1"/>
                </a:solidFill>
                <a:effectLst/>
                <a:latin typeface="+mn-lt"/>
                <a:ea typeface="+mn-ea"/>
                <a:cs typeface="+mn-cs"/>
              </a:rPr>
              <a:t>based upon your app’s requirements, making them particularly cost effective for variable or unpredictable workloads – or when you’re simply unsure of your requirements.  </a:t>
            </a:r>
          </a:p>
          <a:p>
            <a:endParaRPr lang="en-US" sz="900" kern="1200">
              <a:solidFill>
                <a:schemeClr val="tx1"/>
              </a:solidFill>
              <a:effectLst/>
              <a:latin typeface="+mn-lt"/>
              <a:ea typeface="+mn-ea"/>
              <a:cs typeface="+mn-cs"/>
            </a:endParaRPr>
          </a:p>
          <a:p>
            <a:r>
              <a:rPr lang="en-US" sz="900" kern="1200">
                <a:solidFill>
                  <a:schemeClr val="tx1"/>
                </a:solidFill>
                <a:effectLst/>
                <a:latin typeface="+mn-lt"/>
                <a:ea typeface="+mn-ea"/>
                <a:cs typeface="+mn-cs"/>
              </a:rPr>
              <a:t>With resources available on-demand, serverless SQL databases optimize costs</a:t>
            </a:r>
            <a:r>
              <a:rPr lang="en-US" sz="900" b="1" kern="1200">
                <a:solidFill>
                  <a:schemeClr val="tx1"/>
                </a:solidFill>
                <a:effectLst/>
                <a:latin typeface="+mn-lt"/>
                <a:ea typeface="+mn-ea"/>
                <a:cs typeface="+mn-cs"/>
              </a:rPr>
              <a:t> with pay per-second billing </a:t>
            </a:r>
            <a:r>
              <a:rPr lang="en-US" sz="900" kern="1200">
                <a:solidFill>
                  <a:schemeClr val="tx1"/>
                </a:solidFill>
                <a:effectLst/>
                <a:latin typeface="+mn-lt"/>
                <a:ea typeface="+mn-ea"/>
                <a:cs typeface="+mn-cs"/>
              </a:rPr>
              <a:t>that</a:t>
            </a:r>
            <a:r>
              <a:rPr lang="en-US" sz="900" b="1" kern="1200">
                <a:solidFill>
                  <a:schemeClr val="tx1"/>
                </a:solidFill>
                <a:effectLst/>
                <a:latin typeface="+mn-lt"/>
                <a:ea typeface="+mn-ea"/>
                <a:cs typeface="+mn-cs"/>
              </a:rPr>
              <a:t> </a:t>
            </a:r>
            <a:r>
              <a:rPr lang="en-US" sz="900" kern="1200">
                <a:solidFill>
                  <a:schemeClr val="tx1"/>
                </a:solidFill>
                <a:effectLst/>
                <a:latin typeface="+mn-lt"/>
                <a:ea typeface="+mn-ea"/>
                <a:cs typeface="+mn-cs"/>
              </a:rPr>
              <a:t>aligns with the app’s performance, so you only pay for the compute resources you use .  </a:t>
            </a:r>
          </a:p>
          <a:p>
            <a:endParaRPr lang="en-US" sz="900" kern="1200">
              <a:solidFill>
                <a:schemeClr val="tx1"/>
              </a:solidFill>
              <a:effectLst/>
              <a:latin typeface="+mn-lt"/>
              <a:ea typeface="+mn-ea"/>
              <a:cs typeface="+mn-cs"/>
            </a:endParaRPr>
          </a:p>
          <a:p>
            <a:r>
              <a:rPr lang="en-US" sz="900" kern="1200">
                <a:solidFill>
                  <a:schemeClr val="tx1"/>
                </a:solidFill>
                <a:effectLst/>
                <a:latin typeface="+mn-lt"/>
                <a:ea typeface="+mn-ea"/>
                <a:cs typeface="+mn-cs"/>
              </a:rPr>
              <a:t>Built upon the SQL Server architecture, serverless SQL databases are </a:t>
            </a:r>
            <a:r>
              <a:rPr lang="en-US" sz="900" b="1" kern="1200">
                <a:solidFill>
                  <a:schemeClr val="tx1"/>
                </a:solidFill>
                <a:effectLst/>
                <a:latin typeface="+mn-lt"/>
                <a:ea typeface="+mn-ea"/>
                <a:cs typeface="+mn-cs"/>
              </a:rPr>
              <a:t>fully-managed</a:t>
            </a:r>
            <a:r>
              <a:rPr lang="en-US" sz="900" kern="1200">
                <a:solidFill>
                  <a:schemeClr val="tx1"/>
                </a:solidFill>
                <a:effectLst/>
                <a:latin typeface="+mn-lt"/>
                <a:ea typeface="+mn-ea"/>
                <a:cs typeface="+mn-cs"/>
              </a:rPr>
              <a:t>, </a:t>
            </a:r>
            <a:r>
              <a:rPr lang="en-US" sz="900" b="1" kern="1200">
                <a:solidFill>
                  <a:schemeClr val="tx1"/>
                </a:solidFill>
                <a:effectLst/>
                <a:latin typeface="+mn-lt"/>
                <a:ea typeface="+mn-ea"/>
                <a:cs typeface="+mn-cs"/>
              </a:rPr>
              <a:t>always up to date</a:t>
            </a:r>
            <a:r>
              <a:rPr lang="en-US" sz="900" kern="1200">
                <a:solidFill>
                  <a:schemeClr val="tx1"/>
                </a:solidFill>
                <a:effectLst/>
                <a:latin typeface="+mn-lt"/>
                <a:ea typeface="+mn-ea"/>
                <a:cs typeface="+mn-cs"/>
              </a:rPr>
              <a:t> and </a:t>
            </a:r>
            <a:r>
              <a:rPr lang="en-US" sz="900" b="1" kern="1200">
                <a:solidFill>
                  <a:schemeClr val="tx1"/>
                </a:solidFill>
                <a:effectLst/>
                <a:latin typeface="+mn-lt"/>
                <a:ea typeface="+mn-ea"/>
                <a:cs typeface="+mn-cs"/>
              </a:rPr>
              <a:t>highly available</a:t>
            </a:r>
            <a:r>
              <a:rPr lang="en-US" sz="900" kern="1200">
                <a:solidFill>
                  <a:schemeClr val="tx1"/>
                </a:solidFill>
                <a:effectLst/>
                <a:latin typeface="+mn-lt"/>
                <a:ea typeface="+mn-ea"/>
                <a:cs typeface="+mn-cs"/>
              </a:rPr>
              <a:t> with a 99.99% uptime guarantee.  Combined with </a:t>
            </a:r>
            <a:r>
              <a:rPr lang="en-US" sz="900" b="1" kern="1200">
                <a:solidFill>
                  <a:schemeClr val="tx1"/>
                </a:solidFill>
                <a:effectLst/>
                <a:latin typeface="+mn-lt"/>
                <a:ea typeface="+mn-ea"/>
                <a:cs typeface="+mn-cs"/>
              </a:rPr>
              <a:t>built-in intelligence </a:t>
            </a:r>
            <a:r>
              <a:rPr lang="en-US" sz="900" kern="1200">
                <a:solidFill>
                  <a:schemeClr val="tx1"/>
                </a:solidFill>
                <a:effectLst/>
                <a:latin typeface="+mn-lt"/>
                <a:ea typeface="+mn-ea"/>
                <a:cs typeface="+mn-cs"/>
              </a:rPr>
              <a:t>to optimize database performance and security, serverless SQL Databases help you be more productive so you can focus more on what you do best, building great apps faster and more cost effectively.</a:t>
            </a:r>
            <a:r>
              <a:rPr lang="en-US">
                <a:effectLst/>
              </a:rPr>
              <a:t> </a:t>
            </a:r>
            <a:r>
              <a:rPr lang="en-US" sz="900" kern="1200">
                <a:solidFill>
                  <a:schemeClr val="tx1"/>
                </a:solidFill>
                <a:effectLst/>
                <a:latin typeface="+mn-lt"/>
                <a:ea typeface="+mn-ea"/>
                <a:cs typeface="+mn-cs"/>
              </a:rPr>
              <a:t>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0</a:t>
            </a:fld>
            <a:endParaRPr lang="en-US" noProof="0"/>
          </a:p>
        </p:txBody>
      </p:sp>
    </p:spTree>
    <p:extLst>
      <p:ext uri="{BB962C8B-B14F-4D97-AF65-F5344CB8AC3E}">
        <p14:creationId xmlns:p14="http://schemas.microsoft.com/office/powerpoint/2010/main" val="27614064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Provisioned compute and serverless options meet different needs. Ultimately, you need to determine the option that will provide you with the best price and performance for the type(s) of workloads that you have.</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a:p>
        </p:txBody>
      </p:sp>
    </p:spTree>
    <p:extLst>
      <p:ext uri="{BB962C8B-B14F-4D97-AF65-F5344CB8AC3E}">
        <p14:creationId xmlns:p14="http://schemas.microsoft.com/office/powerpoint/2010/main" val="27832935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800" kern="1200">
                <a:solidFill>
                  <a:schemeClr val="tx1"/>
                </a:solidFill>
                <a:effectLst/>
                <a:latin typeface="Segoe UI Light" pitchFamily="34" charset="0"/>
                <a:ea typeface="+mn-ea"/>
                <a:cs typeface="+mn-cs"/>
              </a:rPr>
              <a:t>Serverless automatically scales compute for single databases based on workload demand and bills for compute used per second.  In serverless, compute scaling within configurable limits is managed by the service to continuously right-size resources. Serverless also provides an option to automatically pause the database during inactive usage periods and automatically resume when activity returns.  During periods of inactivity, you only pay for storage.</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a:p>
        </p:txBody>
      </p:sp>
    </p:spTree>
    <p:extLst>
      <p:ext uri="{BB962C8B-B14F-4D97-AF65-F5344CB8AC3E}">
        <p14:creationId xmlns:p14="http://schemas.microsoft.com/office/powerpoint/2010/main" val="1597686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a:solidFill>
                  <a:schemeClr val="tx1"/>
                </a:solidFill>
                <a:effectLst/>
                <a:latin typeface="Segoe UI Light" pitchFamily="34" charset="0"/>
                <a:ea typeface="+mn-ea"/>
                <a:cs typeface="+mn-cs"/>
              </a:rPr>
              <a:t>The Hyperscale service tier in Azure SQL Database is the newest service tier in the </a:t>
            </a:r>
            <a:r>
              <a:rPr lang="en-US" sz="800" b="0" i="0" u="none" strike="noStrike" kern="1200" err="1">
                <a:solidFill>
                  <a:schemeClr val="tx1"/>
                </a:solidFill>
                <a:effectLst/>
                <a:latin typeface="Segoe UI Light" pitchFamily="34" charset="0"/>
                <a:ea typeface="+mn-ea"/>
                <a:cs typeface="+mn-cs"/>
              </a:rPr>
              <a:t>vCore</a:t>
            </a:r>
            <a:r>
              <a:rPr lang="en-US" sz="800" b="0" i="0" u="none" strike="noStrike" kern="1200">
                <a:solidFill>
                  <a:schemeClr val="tx1"/>
                </a:solidFill>
                <a:effectLst/>
                <a:latin typeface="Segoe UI Light" pitchFamily="34" charset="0"/>
                <a:ea typeface="+mn-ea"/>
                <a:cs typeface="+mn-cs"/>
              </a:rPr>
              <a:t>-based purchasing model. This service tier is a highly scalable storage and compute performance tier that leverages the Azure architecture to scale out the storage and compute resources for an Azure SQL Database substantially beyond the limits available for the General Purpose and Business Critical service tiers.</a:t>
            </a:r>
          </a:p>
          <a:p>
            <a:endParaRPr lang="en-US" sz="800" b="0" i="0" u="none" strike="noStrike" kern="1200">
              <a:solidFill>
                <a:schemeClr val="tx1"/>
              </a:solidFill>
              <a:effectLst/>
              <a:latin typeface="Segoe UI Light" pitchFamily="34" charset="0"/>
              <a:ea typeface="+mn-ea"/>
              <a:cs typeface="+mn-cs"/>
            </a:endParaRPr>
          </a:p>
          <a:p>
            <a:r>
              <a:rPr lang="en-US" b="1" u="sng"/>
              <a:t>What are the Hyperscale capabilities</a:t>
            </a:r>
          </a:p>
          <a:p>
            <a:r>
              <a:rPr lang="en-US"/>
              <a:t>The Hyperscale service tier in Azure SQL Database provides the following additional capabilities:</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Support for up to 100 TB of database size</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Nearly instantaneous database backups (based on file snapshots stored in Azure Blob storage) regardless of size with no IO impact on compute resources</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Fast database restores (based on file snapshots) in minutes rather than hours or days (not a size of data operation)</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Higher overall performance due to higher log throughput and faster transaction commit times regardless of data volumes</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Rapid scale out - you can provision one or more read-only nodes for offloading your read workload and for use as hot-standbys</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Rapid Scale up - you can, in constant time, scale up your compute resources to accommodate heavy workloads as and when needed, and then scale the compute resources back down when not needed.</a:t>
            </a:r>
          </a:p>
          <a:p>
            <a:endParaRPr lang="en-US"/>
          </a:p>
          <a:p>
            <a:r>
              <a:rPr lang="en-US"/>
              <a:t>The Hyperscale service tier removes many of the practical limits traditionally seen in cloud databases. Where most other databases are limited by the resources available in a single node, databases in the Hyperscale service tier have no such limits. With its flexible storage architecture, storage grows as needed. In fact, Hyperscale databases aren’t created with a defined maximum size. A Hyperscale database grows as needed - and you are billed only for the capacity you use. For read-intensive workloads, the Hyperscale service tier provides rapid scale-out by provisioning additional read replicas as needed for offloading read workloads.</a:t>
            </a:r>
          </a:p>
          <a:p>
            <a:r>
              <a:rPr lang="en-US"/>
              <a:t>Additionally, the time required to create database backups or to scale up or down is no longer tied to the volume of data in the database. Hyperscale databases can be backed up virtually instantaneously. You can also scale a database in the tens of terabytes up or down in minutes. This capability frees you from concerns about being boxed in by your initial configuration choices.</a:t>
            </a:r>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3</a:t>
            </a:fld>
            <a:endParaRPr lang="en-US" noProof="0"/>
          </a:p>
        </p:txBody>
      </p:sp>
    </p:spTree>
    <p:extLst>
      <p:ext uri="{BB962C8B-B14F-4D97-AF65-F5344CB8AC3E}">
        <p14:creationId xmlns:p14="http://schemas.microsoft.com/office/powerpoint/2010/main" val="7889201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800"/>
              <a:t>https://azure.microsoft.com/en-us/global-infrastructure/reg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800"/>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a:t>Microsoft Azure is Microsoft's public cloud computing platform and infrastructure for building, deploying, and managing applications and services through a global network of Microsoft-managed datacenters. It provides both PaaS and IaaS services and supports many different programming languages, tools and frameworks, including both Microsoft-specific and third-party software and systems. It consists of over</a:t>
            </a:r>
            <a:r>
              <a:rPr lang="en-US" sz="800" baseline="0"/>
              <a:t> </a:t>
            </a:r>
            <a:r>
              <a:rPr lang="en-US" sz="800"/>
              <a:t>140 </a:t>
            </a:r>
            <a:r>
              <a:rPr lang="en-US" sz="800">
                <a:solidFill>
                  <a:schemeClr val="tx1"/>
                </a:solidFill>
                <a:latin typeface="Segoe UI Light" panose="020B0502040204020203" pitchFamily="34" charset="0"/>
                <a:cs typeface="Segoe UI Light" panose="020B0502040204020203" pitchFamily="34" charset="0"/>
              </a:rPr>
              <a:t>countries</a:t>
            </a:r>
            <a:r>
              <a:rPr lang="en-US" sz="800"/>
              <a:t> across 56 regions worldwide with more being added all the time. It provides hyper scale computing capabilities and makes up the top 3 networks in the world.</a:t>
            </a:r>
            <a:r>
              <a:rPr lang="en-US" sz="800" baseline="0"/>
              <a:t> </a:t>
            </a:r>
          </a:p>
          <a:p>
            <a:endParaRPr lang="en-US"/>
          </a:p>
          <a:p>
            <a:endParaRPr lang="en-US"/>
          </a:p>
          <a:p>
            <a:r>
              <a:rPr lang="en-US" sz="800" b="1" i="0" u="none" strike="noStrike" kern="1200">
                <a:solidFill>
                  <a:schemeClr val="tx1"/>
                </a:solidFill>
                <a:effectLst/>
                <a:latin typeface="Segoe UI Light" pitchFamily="34" charset="0"/>
                <a:ea typeface="+mn-ea"/>
                <a:cs typeface="+mn-cs"/>
              </a:rPr>
              <a:t>Azure regions</a:t>
            </a:r>
          </a:p>
          <a:p>
            <a:r>
              <a:rPr lang="en-US" sz="800" b="0" i="0" u="none" strike="noStrike" kern="1200">
                <a:solidFill>
                  <a:schemeClr val="tx1"/>
                </a:solidFill>
                <a:effectLst/>
                <a:latin typeface="Segoe UI Light" pitchFamily="34" charset="0"/>
                <a:ea typeface="+mn-ea"/>
                <a:cs typeface="+mn-cs"/>
              </a:rPr>
              <a:t>Azure has more global regions than any other cloud provider—offering the scale needed to bring applications closer to users around the world, preserving data residency, and offering comprehensive compliance and resiliency options for customers.</a:t>
            </a:r>
          </a:p>
          <a:p>
            <a:endParaRPr lang="en-US"/>
          </a:p>
          <a:p>
            <a:endParaRPr lang="en-US"/>
          </a:p>
          <a:p>
            <a:r>
              <a:rPr lang="en-US" sz="800" b="1" i="0" u="none" strike="noStrike" kern="1200">
                <a:solidFill>
                  <a:schemeClr val="tx1"/>
                </a:solidFill>
                <a:effectLst/>
                <a:latin typeface="Segoe UI Light" pitchFamily="34" charset="0"/>
                <a:ea typeface="+mn-ea"/>
                <a:cs typeface="+mn-cs"/>
              </a:rPr>
              <a:t>Scale globally</a:t>
            </a:r>
          </a:p>
          <a:p>
            <a:r>
              <a:rPr lang="en-US" sz="800" b="0" i="0" u="none" strike="noStrike" kern="1200">
                <a:solidFill>
                  <a:schemeClr val="tx1"/>
                </a:solidFill>
                <a:effectLst/>
                <a:latin typeface="Segoe UI Light" pitchFamily="34" charset="0"/>
                <a:ea typeface="+mn-ea"/>
                <a:cs typeface="+mn-cs"/>
              </a:rPr>
              <a:t>Reach more locations, faster, with the performance and reliability of a vast global infrastructure.</a:t>
            </a:r>
          </a:p>
          <a:p>
            <a:r>
              <a:rPr lang="en-US" sz="800" b="1" i="0" u="none" strike="noStrike" kern="1200">
                <a:solidFill>
                  <a:schemeClr val="tx1"/>
                </a:solidFill>
                <a:effectLst/>
                <a:latin typeface="Segoe UI Light" pitchFamily="34" charset="0"/>
                <a:ea typeface="+mn-ea"/>
                <a:cs typeface="+mn-cs"/>
              </a:rPr>
              <a:t>Safeguard data</a:t>
            </a:r>
          </a:p>
          <a:p>
            <a:r>
              <a:rPr lang="en-US" sz="800" b="0" i="0" u="none" strike="noStrike" kern="1200">
                <a:solidFill>
                  <a:schemeClr val="tx1"/>
                </a:solidFill>
                <a:effectLst/>
                <a:latin typeface="Segoe UI Light" pitchFamily="34" charset="0"/>
                <a:ea typeface="+mn-ea"/>
                <a:cs typeface="+mn-cs"/>
              </a:rPr>
              <a:t>Rely on industry-leading data security in the region and across our network.</a:t>
            </a:r>
          </a:p>
          <a:p>
            <a:r>
              <a:rPr lang="en-US" sz="800" b="1" i="0" u="none" strike="noStrike" kern="1200">
                <a:solidFill>
                  <a:schemeClr val="tx1"/>
                </a:solidFill>
                <a:effectLst/>
                <a:latin typeface="Segoe UI Light" pitchFamily="34" charset="0"/>
                <a:ea typeface="+mn-ea"/>
                <a:cs typeface="+mn-cs"/>
              </a:rPr>
              <a:t>Promote sustainability</a:t>
            </a:r>
          </a:p>
          <a:p>
            <a:r>
              <a:rPr lang="en-US" sz="800" b="0" i="0" u="none" strike="noStrike" kern="1200">
                <a:solidFill>
                  <a:schemeClr val="tx1"/>
                </a:solidFill>
                <a:effectLst/>
                <a:latin typeface="Segoe UI Light" pitchFamily="34" charset="0"/>
                <a:ea typeface="+mn-ea"/>
                <a:cs typeface="+mn-cs"/>
              </a:rPr>
              <a:t>Help build a clean-energy future and accelerate progress toward your sustainability goals.</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a:p>
        </p:txBody>
      </p:sp>
    </p:spTree>
    <p:extLst>
      <p:ext uri="{BB962C8B-B14F-4D97-AF65-F5344CB8AC3E}">
        <p14:creationId xmlns:p14="http://schemas.microsoft.com/office/powerpoint/2010/main" val="39644314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Bef>
                <a:spcPts val="600"/>
              </a:spcBef>
              <a:defRPr/>
            </a:pPr>
            <a:r>
              <a:rPr lang="en-US" sz="900" u="sng">
                <a:hlinkClick r:id="rId3"/>
              </a:rPr>
              <a:t>Azure SQL Database Hyperscale</a:t>
            </a:r>
            <a:r>
              <a:rPr lang="en-US" sz="900"/>
              <a:t> is a new, highly scalable service tier that adapts on-demand to your workload's needs</a:t>
            </a:r>
          </a:p>
          <a:p>
            <a:pPr marL="171450" lvl="0" indent="-171450">
              <a:spcBef>
                <a:spcPts val="600"/>
              </a:spcBef>
              <a:buFont typeface="Arial" panose="020B0604020202020204" pitchFamily="34" charset="0"/>
              <a:buChar char="•"/>
              <a:defRPr/>
            </a:pPr>
            <a:r>
              <a:rPr lang="en-US" sz="900" b="1"/>
              <a:t>Quickly auto-scaling up to 100TB per database </a:t>
            </a:r>
            <a:r>
              <a:rPr lang="en-US" sz="900"/>
              <a:t>eliminates the need to pre-provision storage resources, significantly expanding the potential for app growth without storage size limits. </a:t>
            </a:r>
          </a:p>
          <a:p>
            <a:pPr marL="171450" indent="-171450">
              <a:buFont typeface="Arial" panose="020B0604020202020204" pitchFamily="34" charset="0"/>
              <a:buChar char="•"/>
            </a:pPr>
            <a:r>
              <a:rPr lang="en-US" sz="900" u="none" strike="noStrike" kern="1200">
                <a:solidFill>
                  <a:schemeClr val="tx1"/>
                </a:solidFill>
                <a:effectLst/>
                <a:latin typeface="+mn-lt"/>
                <a:ea typeface="+mn-ea"/>
                <a:cs typeface="+mn-cs"/>
              </a:rPr>
              <a:t>Rapid scale up/down and point-in-time restore, regardless of the database size</a:t>
            </a:r>
          </a:p>
          <a:p>
            <a:pPr marL="171450" indent="-171450">
              <a:buFont typeface="Arial" panose="020B0604020202020204" pitchFamily="34" charset="0"/>
              <a:buChar char="•"/>
            </a:pPr>
            <a:r>
              <a:rPr lang="en-US" sz="900" u="none" strike="noStrike" kern="1200">
                <a:solidFill>
                  <a:schemeClr val="tx1"/>
                </a:solidFill>
                <a:effectLst/>
                <a:latin typeface="+mn-lt"/>
                <a:ea typeface="+mn-ea"/>
                <a:cs typeface="+mn-cs"/>
              </a:rPr>
              <a:t>Fewer size-of-data operations</a:t>
            </a:r>
          </a:p>
          <a:p>
            <a:pPr marL="171450" indent="-171450">
              <a:buFont typeface="Arial" panose="020B0604020202020204" pitchFamily="34" charset="0"/>
              <a:buChar char="•"/>
            </a:pPr>
            <a:r>
              <a:rPr lang="en-US" sz="900" u="none" strike="noStrike" kern="1200">
                <a:solidFill>
                  <a:schemeClr val="tx1"/>
                </a:solidFill>
                <a:effectLst/>
                <a:latin typeface="+mn-lt"/>
                <a:ea typeface="+mn-ea"/>
                <a:cs typeface="+mn-cs"/>
              </a:rPr>
              <a:t>Higher log throughput than current service tiers</a:t>
            </a:r>
          </a:p>
          <a:p>
            <a:pPr marL="171450" indent="-171450">
              <a:buFont typeface="Arial" panose="020B0604020202020204" pitchFamily="34" charset="0"/>
              <a:buChar char="•"/>
            </a:pPr>
            <a:r>
              <a:rPr lang="en-US" sz="900" u="none" strike="noStrike" kern="1200">
                <a:solidFill>
                  <a:schemeClr val="tx1"/>
                </a:solidFill>
                <a:effectLst/>
                <a:latin typeface="+mn-lt"/>
                <a:ea typeface="+mn-ea"/>
                <a:cs typeface="+mn-cs"/>
              </a:rPr>
              <a:t>Scale-out read-only workload with read-scale replicas without data copy</a:t>
            </a:r>
          </a:p>
          <a:p>
            <a:pPr lvl="0">
              <a:spcBef>
                <a:spcPts val="600"/>
              </a:spcBef>
              <a:defRPr/>
            </a:pPr>
            <a:endParaRPr lang="en-US" sz="900"/>
          </a:p>
          <a:p>
            <a:pPr marL="0" marR="0" lvl="0" indent="0" algn="l" defTabSz="914400" rtl="0" eaLnBrk="1" fontAlgn="auto" latinLnBrk="0" hangingPunct="1">
              <a:lnSpc>
                <a:spcPct val="100000"/>
              </a:lnSpc>
              <a:spcBef>
                <a:spcPts val="600"/>
              </a:spcBef>
              <a:spcAft>
                <a:spcPts val="0"/>
              </a:spcAft>
              <a:buClrTx/>
              <a:buSzTx/>
              <a:buFontTx/>
              <a:buNone/>
              <a:tabLst/>
              <a:defRPr/>
            </a:pPr>
            <a:endParaRPr lang="en-US" sz="800" kern="1200">
              <a:solidFill>
                <a:schemeClr val="tx1"/>
              </a:solidFill>
              <a:effectLst/>
              <a:latin typeface="+mn-lt"/>
              <a:ea typeface="+mn-ea"/>
              <a:cs typeface="+mn-cs"/>
            </a:endParaRPr>
          </a:p>
          <a:p>
            <a:endParaRPr lang="en-US" sz="800"/>
          </a:p>
          <a:p>
            <a:pPr defTabSz="685775"/>
            <a:r>
              <a:rPr lang="en-US" sz="800">
                <a:gradFill>
                  <a:gsLst>
                    <a:gs pos="2917">
                      <a:srgbClr val="1A1A1A"/>
                    </a:gs>
                    <a:gs pos="30000">
                      <a:srgbClr val="1A1A1A"/>
                    </a:gs>
                  </a:gsLst>
                  <a:lin ang="5400000" scaled="0"/>
                </a:gradFill>
                <a:latin typeface="+mn-lt"/>
              </a:rPr>
              <a:t>Why Hyperscale:</a:t>
            </a:r>
          </a:p>
          <a:p>
            <a:pPr marL="457189" indent="-457189" defTabSz="685775">
              <a:buFontTx/>
              <a:buAutoNum type="arabicPeriod"/>
            </a:pPr>
            <a:r>
              <a:rPr lang="en-US" sz="800">
                <a:gradFill>
                  <a:gsLst>
                    <a:gs pos="2917">
                      <a:srgbClr val="1A1A1A"/>
                    </a:gs>
                    <a:gs pos="30000">
                      <a:srgbClr val="1A1A1A"/>
                    </a:gs>
                  </a:gsLst>
                  <a:lin ang="5400000" scaled="0"/>
                </a:gradFill>
                <a:latin typeface="+mn-lt"/>
              </a:rPr>
              <a:t>Database size &gt; 4TB</a:t>
            </a:r>
          </a:p>
          <a:p>
            <a:pPr marL="457189" indent="-457189" defTabSz="685775">
              <a:buFontTx/>
              <a:buAutoNum type="arabicPeriod"/>
            </a:pPr>
            <a:r>
              <a:rPr lang="en-US" sz="800">
                <a:gradFill>
                  <a:gsLst>
                    <a:gs pos="2917">
                      <a:srgbClr val="1A1A1A"/>
                    </a:gs>
                    <a:gs pos="30000">
                      <a:srgbClr val="1A1A1A"/>
                    </a:gs>
                  </a:gsLst>
                  <a:lin ang="5400000" scaled="0"/>
                </a:gradFill>
                <a:latin typeface="+mn-lt"/>
              </a:rPr>
              <a:t>HTAP workload</a:t>
            </a:r>
          </a:p>
          <a:p>
            <a:pPr marL="457189" indent="-457189" defTabSz="685775">
              <a:buFontTx/>
              <a:buAutoNum type="arabicPeriod"/>
            </a:pPr>
            <a:r>
              <a:rPr lang="en-US" sz="800">
                <a:gradFill>
                  <a:gsLst>
                    <a:gs pos="2917">
                      <a:srgbClr val="1A1A1A"/>
                    </a:gs>
                    <a:gs pos="30000">
                      <a:srgbClr val="1A1A1A"/>
                    </a:gs>
                  </a:gsLst>
                  <a:lin ang="5400000" scaled="0"/>
                </a:gradFill>
                <a:latin typeface="+mn-lt"/>
              </a:rPr>
              <a:t>Support OLTP app and interactive BI</a:t>
            </a:r>
          </a:p>
          <a:p>
            <a:pPr marL="457189" indent="-457189" defTabSz="685775">
              <a:buFontTx/>
              <a:buAutoNum type="arabicPeriod"/>
            </a:pPr>
            <a:r>
              <a:rPr lang="en-US" sz="800">
                <a:gradFill>
                  <a:gsLst>
                    <a:gs pos="2917">
                      <a:srgbClr val="1A1A1A"/>
                    </a:gs>
                    <a:gs pos="30000">
                      <a:srgbClr val="1A1A1A"/>
                    </a:gs>
                  </a:gsLst>
                  <a:lin ang="5400000" scaled="0"/>
                </a:gradFill>
                <a:latin typeface="+mn-lt"/>
              </a:rPr>
              <a:t>Very high cost to change applications</a:t>
            </a:r>
          </a:p>
          <a:p>
            <a:pPr marL="457189" indent="-457189" defTabSz="685775">
              <a:buFontTx/>
              <a:buAutoNum type="arabicPeriod"/>
            </a:pPr>
            <a:r>
              <a:rPr lang="en-US" sz="800">
                <a:gradFill>
                  <a:gsLst>
                    <a:gs pos="2917">
                      <a:srgbClr val="1A1A1A"/>
                    </a:gs>
                    <a:gs pos="30000">
                      <a:srgbClr val="1A1A1A"/>
                    </a:gs>
                  </a:gsLst>
                  <a:lin ang="5400000" scaled="0"/>
                </a:gradFill>
                <a:latin typeface="+mn-lt"/>
              </a:rPr>
              <a:t>Higher data ingest throughput</a:t>
            </a:r>
          </a:p>
          <a:p>
            <a:pPr marL="457189" indent="-457189" defTabSz="685775">
              <a:buFontTx/>
              <a:buAutoNum type="arabicPeriod"/>
            </a:pPr>
            <a:r>
              <a:rPr lang="en-US" sz="800">
                <a:gradFill>
                  <a:gsLst>
                    <a:gs pos="2917">
                      <a:srgbClr val="1A1A1A"/>
                    </a:gs>
                    <a:gs pos="30000">
                      <a:srgbClr val="1A1A1A"/>
                    </a:gs>
                  </a:gsLst>
                  <a:lin ang="5400000" scaled="0"/>
                </a:gradFill>
                <a:latin typeface="+mn-lt"/>
              </a:rPr>
              <a:t>Grow beyond 8TB for General Purpose or beyond 4TB for Business Critical </a:t>
            </a:r>
          </a:p>
          <a:p>
            <a:pPr marL="457189" indent="-457189" defTabSz="685775">
              <a:buFontTx/>
              <a:buAutoNum type="arabicPeriod"/>
            </a:pPr>
            <a:r>
              <a:rPr lang="en-US" sz="800">
                <a:gradFill>
                  <a:gsLst>
                    <a:gs pos="2917">
                      <a:srgbClr val="1A1A1A"/>
                    </a:gs>
                    <a:gs pos="30000">
                      <a:srgbClr val="1A1A1A"/>
                    </a:gs>
                  </a:gsLst>
                  <a:lin ang="5400000" scaled="0"/>
                </a:gradFill>
                <a:latin typeface="+mn-lt"/>
              </a:rPr>
              <a:t>Fast copy and swap</a:t>
            </a:r>
          </a:p>
          <a:p>
            <a:pPr marL="457189" indent="-457189" defTabSz="685775">
              <a:buFontTx/>
              <a:buAutoNum type="arabicPeriod"/>
            </a:pPr>
            <a:r>
              <a:rPr lang="en-US" sz="800">
                <a:gradFill>
                  <a:gsLst>
                    <a:gs pos="2917">
                      <a:srgbClr val="1A1A1A"/>
                    </a:gs>
                    <a:gs pos="30000">
                      <a:srgbClr val="1A1A1A"/>
                    </a:gs>
                  </a:gsLst>
                  <a:lin ang="5400000" scaled="0"/>
                </a:gradFill>
                <a:latin typeface="+mn-lt"/>
              </a:rPr>
              <a:t>Fast scaling operations for cost saving</a:t>
            </a:r>
          </a:p>
          <a:p>
            <a:pPr marL="457189" indent="-457189" defTabSz="685775">
              <a:buFontTx/>
              <a:buAutoNum type="arabicPeriod"/>
            </a:pPr>
            <a:endParaRPr lang="en-US" sz="800">
              <a:gradFill>
                <a:gsLst>
                  <a:gs pos="2917">
                    <a:srgbClr val="1A1A1A"/>
                  </a:gs>
                  <a:gs pos="30000">
                    <a:srgbClr val="1A1A1A"/>
                  </a:gs>
                </a:gsLst>
                <a:lin ang="5400000" scaled="0"/>
              </a:gradFill>
              <a:latin typeface="+mn-lt"/>
            </a:endParaRP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4</a:t>
            </a:fld>
            <a:endParaRPr lang="en-US" noProof="0"/>
          </a:p>
        </p:txBody>
      </p:sp>
    </p:spTree>
    <p:extLst>
      <p:ext uri="{BB962C8B-B14F-4D97-AF65-F5344CB8AC3E}">
        <p14:creationId xmlns:p14="http://schemas.microsoft.com/office/powerpoint/2010/main" val="8829247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a:solidFill>
                  <a:srgbClr val="000000"/>
                </a:solidFill>
                <a:latin typeface="Calibri" panose="020F0502020204030204" pitchFamily="34" charset="0"/>
              </a:rPr>
              <a:t>Overview</a:t>
            </a:r>
            <a:r>
              <a:rPr lang="en-US" sz="800" i="0">
                <a:solidFill>
                  <a:srgbClr val="000000"/>
                </a:solidFill>
                <a:latin typeface="Calibri" panose="020F0502020204030204" pitchFamily="34" charset="0"/>
              </a:rPr>
              <a:t>: Here are the high-level components that make up Hyperscale</a:t>
            </a:r>
          </a:p>
          <a:p>
            <a:endParaRPr lang="en-US" sz="800" i="1">
              <a:solidFill>
                <a:srgbClr val="000000"/>
              </a:solidFill>
              <a:latin typeface="Calibri" panose="020F0502020204030204" pitchFamily="34" charset="0"/>
            </a:endParaRPr>
          </a:p>
          <a:p>
            <a:endParaRPr lang="en-US" sz="800" i="1">
              <a:solidFill>
                <a:srgbClr val="000000"/>
              </a:solidFill>
              <a:latin typeface="Calibri" panose="020F0502020204030204" pitchFamily="34" charset="0"/>
            </a:endParaRPr>
          </a:p>
          <a:p>
            <a:r>
              <a:rPr lang="en-US" b="1"/>
              <a:t>Talking Points: </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i="0">
                <a:solidFill>
                  <a:srgbClr val="000000"/>
                </a:solidFill>
                <a:latin typeface="Calibri" panose="020F0502020204030204" pitchFamily="34" charset="0"/>
              </a:rPr>
              <a:t>Hyperscale is built based on a new cloud-born architecture which decouples compute, log and storage. </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i="0">
              <a:solidFill>
                <a:srgbClr val="000000"/>
              </a:solidFill>
              <a:latin typeface="Calibri" panose="020F0502020204030204" pitchFamily="34" charset="0"/>
            </a:endParaRPr>
          </a:p>
          <a:p>
            <a:pPr marL="171450" indent="-171450">
              <a:buFont typeface="Arial" panose="020B0604020202020204" pitchFamily="34" charset="0"/>
              <a:buChar char="•"/>
            </a:pPr>
            <a:r>
              <a:rPr lang="en-US" b="1"/>
              <a:t>Compute. </a:t>
            </a:r>
            <a:r>
              <a:rPr lang="en-US" sz="800" b="0" i="0" u="none" strike="noStrike" kern="1200">
                <a:solidFill>
                  <a:schemeClr val="tx1"/>
                </a:solidFill>
                <a:effectLst/>
                <a:latin typeface="+mn-lt"/>
                <a:ea typeface="+mn-ea"/>
                <a:cs typeface="+mn-cs"/>
              </a:rPr>
              <a:t>The compute node is where the relational engine lives, so all the language elements, query processing, and so on, occur. All user interactions with a Hyperscale database happen through these compute nodes. Compute nodes have SSD-based caches (labeled RBPEX - Resilient Buffer Pool Extension in the preceding diagram) to minimize the number of network round trips required to fetch a page of data. There is one primary compute node where all the read-write workloads and transactions are processed. There are one or more secondary compute nodes that act as hot standby nodes for failover purposes, as well as act as read-only compute nodes for offloading read workloads (if this functionality is desired).</a:t>
            </a:r>
          </a:p>
          <a:p>
            <a:pPr marL="171450" indent="-171450">
              <a:buFont typeface="Arial" panose="020B0604020202020204" pitchFamily="34" charset="0"/>
              <a:buChar char="•"/>
            </a:pPr>
            <a:r>
              <a:rPr lang="en-US"/>
              <a:t>Log Service: Local SSD cache</a:t>
            </a:r>
          </a:p>
          <a:p>
            <a:pPr marL="171450" indent="-171450">
              <a:buFont typeface="Arial" panose="020B0604020202020204" pitchFamily="34" charset="0"/>
              <a:buChar char="•"/>
            </a:pPr>
            <a:r>
              <a:rPr lang="en-US" b="1"/>
              <a:t>Page Servers. </a:t>
            </a:r>
            <a:r>
              <a:rPr lang="en-US" sz="800" b="0" i="0" u="none" strike="noStrike" kern="1200">
                <a:solidFill>
                  <a:schemeClr val="tx1"/>
                </a:solidFill>
                <a:effectLst/>
                <a:latin typeface="+mn-lt"/>
                <a:ea typeface="+mn-ea"/>
                <a:cs typeface="+mn-cs"/>
              </a:rPr>
              <a:t>Page servers are systems representing a scaled-out storage engine. Each page server is responsible for a subset of the pages in the database. Nominally, each page server controls 1 terabyte of data. No data is shared on more than one page server (outside of replicas that are kept for redundancy and availability). The job of a page server is to serve database pages out to the compute nodes on demand, and to keep the pages updated as transactions update data. Page servers are kept up-to-date by playing log records from the log service. Page servers also maintain SSD-based caches to enhance performance. Long-term storage of data pages is kept in Azure Storage for additional reliability.</a:t>
            </a:r>
          </a:p>
          <a:p>
            <a:pPr marL="171450" indent="-171450">
              <a:buFont typeface="Arial" panose="020B0604020202020204" pitchFamily="34" charset="0"/>
              <a:buChar char="•"/>
            </a:pPr>
            <a:r>
              <a:rPr lang="en-US" sz="800" b="1" i="0" u="none" strike="noStrike" kern="1200">
                <a:solidFill>
                  <a:schemeClr val="tx1"/>
                </a:solidFill>
                <a:effectLst/>
                <a:latin typeface="+mn-lt"/>
                <a:ea typeface="+mn-ea"/>
                <a:cs typeface="+mn-cs"/>
              </a:rPr>
              <a:t>Log service</a:t>
            </a:r>
            <a:r>
              <a:rPr lang="en-US" sz="800" b="0" i="0" u="none" strike="noStrike" kern="1200">
                <a:solidFill>
                  <a:schemeClr val="tx1"/>
                </a:solidFill>
                <a:effectLst/>
                <a:latin typeface="+mn-lt"/>
                <a:ea typeface="+mn-ea"/>
                <a:cs typeface="+mn-cs"/>
              </a:rPr>
              <a:t>. The log service node accepts log records from the primary compute node, persists them in a durable cache, and forwards the log records to the rest of the compute nodes (so they can update their caches) as well as the relevant page server(s), so that the data can be updated there. In this way, all data changes from the primary compute node are propagated through the log service to all the secondary compute nodes and page servers. Finally, the log record(s) are pushed out to long-term storage in Azure Storage, which is an infinite storage repository. This mechanism removes the necessity for frequent log truncation. The log service also has local cache to speed up access.</a:t>
            </a:r>
            <a:endParaRPr lang="en-US"/>
          </a:p>
          <a:p>
            <a:pPr marL="171450" indent="-171450">
              <a:buFont typeface="Arial" panose="020B0604020202020204" pitchFamily="34" charset="0"/>
              <a:buChar char="•"/>
            </a:pPr>
            <a:r>
              <a:rPr lang="en-US" b="1"/>
              <a:t>Remote Data Storage. </a:t>
            </a:r>
            <a:r>
              <a:rPr lang="en-US" sz="800" b="0" i="0" u="none" strike="noStrike" kern="1200">
                <a:solidFill>
                  <a:schemeClr val="tx1"/>
                </a:solidFill>
                <a:effectLst/>
                <a:latin typeface="+mn-lt"/>
                <a:ea typeface="+mn-ea"/>
                <a:cs typeface="+mn-cs"/>
              </a:rPr>
              <a:t>The Azure storage node is the final destination of data from page servers. This storage is used for backup purposes as well as for replication between Azure regions. Backups consist of snapshots of data files. Restore operation are fast from these snapshots and data can be restored to any point in time.</a:t>
            </a:r>
            <a:endParaRPr lang="en-US"/>
          </a:p>
          <a:p>
            <a:endParaRPr lang="en-US"/>
          </a:p>
          <a:p>
            <a:endParaRPr lang="en-US"/>
          </a:p>
          <a:p>
            <a:endParaRPr lang="en-US"/>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5</a:t>
            </a:fld>
            <a:endParaRPr lang="en-US" noProof="0"/>
          </a:p>
        </p:txBody>
      </p:sp>
    </p:spTree>
    <p:extLst>
      <p:ext uri="{BB962C8B-B14F-4D97-AF65-F5344CB8AC3E}">
        <p14:creationId xmlns:p14="http://schemas.microsoft.com/office/powerpoint/2010/main" val="6943764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a:solidFill>
                  <a:srgbClr val="000000"/>
                </a:solidFill>
                <a:latin typeface="Calibri" panose="020F0502020204030204" pitchFamily="34" charset="0"/>
              </a:rPr>
              <a:t>Overview: </a:t>
            </a:r>
            <a:r>
              <a:rPr lang="en-US" sz="900" i="0">
                <a:solidFill>
                  <a:srgbClr val="000000"/>
                </a:solidFill>
                <a:latin typeface="Calibri" panose="020F0502020204030204" pitchFamily="34" charset="0"/>
              </a:rPr>
              <a:t>Architecture of Hyperscale</a:t>
            </a:r>
          </a:p>
          <a:p>
            <a:endParaRPr lang="en-US"/>
          </a:p>
          <a:p>
            <a:r>
              <a:rPr lang="en-US" b="1"/>
              <a:t>Talking points:</a:t>
            </a:r>
          </a:p>
          <a:p>
            <a:r>
              <a:rPr lang="en-US"/>
              <a:t>Hyperscale Approach:</a:t>
            </a:r>
          </a:p>
          <a:p>
            <a:pPr marL="514350" lvl="1" indent="-171450">
              <a:buFont typeface="Arial" panose="020B0604020202020204" pitchFamily="34" charset="0"/>
              <a:buChar char="•"/>
            </a:pPr>
            <a:r>
              <a:rPr lang="en-US"/>
              <a:t>Split the SQL Engine</a:t>
            </a:r>
          </a:p>
          <a:p>
            <a:pPr marL="514350" lvl="1" indent="-171450">
              <a:buFont typeface="Arial" panose="020B0604020202020204" pitchFamily="34" charset="0"/>
              <a:buChar char="•"/>
            </a:pPr>
            <a:r>
              <a:rPr lang="en-US"/>
              <a:t>Maintain the query engine for 100% compatibility</a:t>
            </a:r>
          </a:p>
          <a:p>
            <a:pPr marL="514350" lvl="1" indent="-171450">
              <a:buFont typeface="Arial" panose="020B0604020202020204" pitchFamily="34" charset="0"/>
              <a:buChar char="•"/>
            </a:pPr>
            <a:r>
              <a:rPr lang="en-US"/>
              <a:t>Re-architect the storage layer for the cloud</a:t>
            </a:r>
          </a:p>
          <a:p>
            <a:pPr marL="514350" lvl="1" indent="-171450">
              <a:buFont typeface="Arial" panose="020B0604020202020204" pitchFamily="34" charset="0"/>
              <a:buChar char="•"/>
            </a:pPr>
            <a:r>
              <a:rPr lang="en-US"/>
              <a:t>Physically split compute and storage </a:t>
            </a:r>
          </a:p>
          <a:p>
            <a:pPr marL="514350" lvl="1" indent="-171450">
              <a:buFont typeface="Arial" panose="020B0604020202020204" pitchFamily="34" charset="0"/>
              <a:buChar char="•"/>
            </a:pPr>
            <a:r>
              <a:rPr lang="en-US"/>
              <a:t>Scale out storage to 100TB and more</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trike="noStrike"/>
              <a:t>Scaling Compute a constant time oper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trike="noStrike"/>
              <a:t>Instantly spin up compute nodes for offloading read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trike="noStrike"/>
              <a:t>Adding Compute nodes is a constant time operation and </a:t>
            </a:r>
            <a:r>
              <a:rPr lang="en-US" b="1" strike="noStrike">
                <a:solidFill>
                  <a:srgbClr val="00B050"/>
                </a:solidFill>
              </a:rPr>
              <a:t>DOES NOT</a:t>
            </a:r>
            <a:r>
              <a:rPr lang="en-US" strike="noStrike"/>
              <a:t> impact Primary Compute perform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noStrike"/>
          </a:p>
          <a:p>
            <a:pPr marL="0" marR="0" lvl="0" indent="0" algn="l" defTabSz="914400" rtl="0" eaLnBrk="1" fontAlgn="auto" latinLnBrk="0" hangingPunct="1">
              <a:lnSpc>
                <a:spcPct val="100000"/>
              </a:lnSpc>
              <a:spcBef>
                <a:spcPts val="0"/>
              </a:spcBef>
              <a:spcAft>
                <a:spcPts val="0"/>
              </a:spcAft>
              <a:buClrTx/>
              <a:buSzTx/>
              <a:buFontTx/>
              <a:buNone/>
              <a:tabLst/>
              <a:defRPr/>
            </a:pPr>
            <a:r>
              <a:rPr lang="en-US" strike="noStrike"/>
              <a:t>Transaction Commit latency - few milliseconds (Initial Preview). Envisioned to be sub-milliseconds in the latter stages using ultra </a:t>
            </a:r>
            <a:r>
              <a:rPr lang="en-US" strike="noStrike" err="1"/>
              <a:t>ssd</a:t>
            </a:r>
            <a:endParaRPr lang="en-US" strike="noStrike"/>
          </a:p>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noStrike"/>
          </a:p>
          <a:p>
            <a:pPr marL="0" marR="0" lvl="0" indent="0" algn="l" defTabSz="914400" rtl="0" eaLnBrk="1" fontAlgn="auto" latinLnBrk="0" hangingPunct="1">
              <a:lnSpc>
                <a:spcPct val="100000"/>
              </a:lnSpc>
              <a:spcBef>
                <a:spcPts val="0"/>
              </a:spcBef>
              <a:spcAft>
                <a:spcPts val="0"/>
              </a:spcAft>
              <a:buClrTx/>
              <a:buSzTx/>
              <a:buFontTx/>
              <a:buNone/>
              <a:tabLst/>
              <a:defRPr/>
            </a:pPr>
            <a:r>
              <a:rPr lang="en-US" strike="noStrike"/>
              <a:t>Instantaneous [file-snapshot] backup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trike="noStrike"/>
              <a:t> Backup/Restore operations no longer impact the perf (IO). </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a:p>
        </p:txBody>
      </p:sp>
    </p:spTree>
    <p:extLst>
      <p:ext uri="{BB962C8B-B14F-4D97-AF65-F5344CB8AC3E}">
        <p14:creationId xmlns:p14="http://schemas.microsoft.com/office/powerpoint/2010/main" val="41772682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solidFill>
                  <a:srgbClr val="000000"/>
                </a:solidFill>
                <a:latin typeface="Calibri" panose="020F0502020204030204" pitchFamily="34" charset="0"/>
              </a:rPr>
              <a:t>Overview: </a:t>
            </a:r>
            <a:r>
              <a:rPr lang="en-US" sz="800" b="0" i="0">
                <a:solidFill>
                  <a:srgbClr val="000000"/>
                </a:solidFill>
                <a:latin typeface="Calibri" panose="020F0502020204030204" pitchFamily="34" charset="0"/>
              </a:rPr>
              <a:t>Click-through of architecture e</a:t>
            </a:r>
            <a:r>
              <a:rPr lang="en-US" sz="800" i="0">
                <a:solidFill>
                  <a:srgbClr val="000000"/>
                </a:solidFill>
                <a:latin typeface="Calibri" panose="020F0502020204030204" pitchFamily="34" charset="0"/>
              </a:rPr>
              <a:t>xplain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noStrike"/>
          </a:p>
          <a:p>
            <a:endParaRPr lang="en-US"/>
          </a:p>
          <a:p>
            <a:r>
              <a:rPr lang="en-US" b="1"/>
              <a:t>Talking point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000000"/>
                </a:solidFill>
                <a:effectLst/>
                <a:uLnTx/>
                <a:uFillTx/>
              </a:rPr>
              <a:t>Constant time scale up and down</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000000"/>
                </a:solidFill>
                <a:effectLst/>
                <a:uLnTx/>
                <a:uFillTx/>
              </a:rPr>
              <a:t>Offload read-only workload by adding read-scale replicas without data copy – constant time as well</a:t>
            </a:r>
            <a:endParaRPr lang="en-US"/>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000000"/>
                </a:solidFill>
                <a:effectLst/>
                <a:uLnTx/>
                <a:uFillTx/>
              </a:rPr>
              <a:t>Low log commit latency - &lt;2.5ms with Premium Storage; &lt; 0.5ms with Ultra SSD (future improvement)</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000000"/>
                </a:solidFill>
                <a:effectLst/>
                <a:uLnTx/>
                <a:uFillTx/>
              </a:rPr>
              <a:t>High log generation rate and fast data loading</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000000"/>
                </a:solidFill>
                <a:effectLst/>
                <a:uLnTx/>
                <a:uFillTx/>
              </a:rPr>
              <a:t>Page server instances work independently – infinite scale out</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000000"/>
                </a:solidFill>
                <a:effectLst/>
                <a:uLnTx/>
                <a:uFillTx/>
              </a:rPr>
              <a:t>Adding more page servers as your database grows – pay by usage (start with 5GB with 1GB increment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000000"/>
                </a:solidFill>
                <a:effectLst/>
                <a:uLnTx/>
                <a:uFillTx/>
              </a:rPr>
              <a:t>Snapshot backup + log offloading – zero impact to compute resourc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000000"/>
                </a:solidFill>
                <a:effectLst/>
                <a:uLnTx/>
                <a:uFillTx/>
              </a:rPr>
              <a:t>Restore database by copying snapshots and log records – constant time point in time restor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0" cap="none" spc="0" normalizeH="0" baseline="0" noProof="0">
                <a:ln>
                  <a:noFill/>
                </a:ln>
                <a:solidFill>
                  <a:srgbClr val="000000"/>
                </a:solidFill>
                <a:effectLst/>
                <a:uLnTx/>
                <a:uFillTx/>
              </a:rPr>
              <a:t>Checkpoints also offloaded to page servers</a:t>
            </a:r>
          </a:p>
          <a:p>
            <a:endParaRPr lang="en-US"/>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7</a:t>
            </a:fld>
            <a:endParaRPr lang="en-US" noProof="0"/>
          </a:p>
        </p:txBody>
      </p:sp>
    </p:spTree>
    <p:extLst>
      <p:ext uri="{BB962C8B-B14F-4D97-AF65-F5344CB8AC3E}">
        <p14:creationId xmlns:p14="http://schemas.microsoft.com/office/powerpoint/2010/main" val="35734972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solidFill>
                  <a:srgbClr val="000000"/>
                </a:solidFill>
                <a:latin typeface="Calibri" panose="020F0502020204030204" pitchFamily="34" charset="0"/>
              </a:rPr>
              <a:t>Overview: </a:t>
            </a:r>
            <a:r>
              <a:rPr lang="en-US" sz="800" b="0" i="0">
                <a:solidFill>
                  <a:srgbClr val="000000"/>
                </a:solidFill>
                <a:latin typeface="Calibri" panose="020F0502020204030204" pitchFamily="34" charset="0"/>
              </a:rPr>
              <a:t>IO performance is another differentiator between Hyperscale and General Purpose &amp; Business Critical.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a:solidFill>
                  <a:srgbClr val="000000"/>
                </a:solidFill>
                <a:latin typeface="Calibri" panose="020F0502020204030204" pitchFamily="34" charset="0"/>
              </a:rPr>
              <a:t>Hyperscale has a higher log throughput because you don’t need the round trip anymo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trike="noStrike"/>
          </a:p>
          <a:p>
            <a:endParaRPr lang="en-US"/>
          </a:p>
          <a:p>
            <a:r>
              <a:rPr lang="en-US" b="1"/>
              <a:t>Talking points</a:t>
            </a:r>
          </a:p>
          <a:p>
            <a:pPr marL="171450" indent="-171450">
              <a:buFont typeface="Arial" panose="020B0604020202020204" pitchFamily="34" charset="0"/>
              <a:buChar char="•"/>
            </a:pPr>
            <a:r>
              <a:rPr lang="en-US"/>
              <a:t>Primary compute write log to the log landing zone - &lt;2.5ms latency</a:t>
            </a:r>
          </a:p>
          <a:p>
            <a:pPr marL="171450" indent="-171450">
              <a:buFont typeface="Arial" panose="020B0604020202020204" pitchFamily="34" charset="0"/>
              <a:buChar char="•"/>
            </a:pPr>
            <a:r>
              <a:rPr lang="en-US"/>
              <a:t>Commit transactions after hardening the log</a:t>
            </a:r>
          </a:p>
          <a:p>
            <a:pPr marL="171450" indent="-171450">
              <a:buFont typeface="Arial" panose="020B0604020202020204" pitchFamily="34" charset="0"/>
              <a:buChar char="•"/>
            </a:pPr>
            <a:r>
              <a:rPr lang="en-US"/>
              <a:t>Async log apply to the secondary compute</a:t>
            </a:r>
          </a:p>
          <a:p>
            <a:pPr marL="171450" indent="-171450">
              <a:buFont typeface="Arial" panose="020B0604020202020204" pitchFamily="34" charset="0"/>
              <a:buChar char="•"/>
            </a:pPr>
            <a:r>
              <a:rPr lang="en-US"/>
              <a:t>Async log apply to page servers</a:t>
            </a:r>
          </a:p>
          <a:p>
            <a:pPr marL="171450" indent="-171450">
              <a:buFont typeface="Arial" panose="020B0604020202020204" pitchFamily="34" charset="0"/>
              <a:buChar char="•"/>
            </a:pPr>
            <a:r>
              <a:rPr lang="en-US"/>
              <a:t>Page server writes data to data files at checkpoints</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8</a:t>
            </a:fld>
            <a:endParaRPr lang="en-US" noProof="0"/>
          </a:p>
        </p:txBody>
      </p:sp>
    </p:spTree>
    <p:extLst>
      <p:ext uri="{BB962C8B-B14F-4D97-AF65-F5344CB8AC3E}">
        <p14:creationId xmlns:p14="http://schemas.microsoft.com/office/powerpoint/2010/main" val="16418889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solidFill>
                  <a:srgbClr val="000000"/>
                </a:solidFill>
                <a:latin typeface="Calibri" panose="020F0502020204030204" pitchFamily="34" charset="0"/>
              </a:rPr>
              <a:t>Overview: </a:t>
            </a:r>
            <a:r>
              <a:rPr lang="en-US" sz="800" b="0" i="0">
                <a:solidFill>
                  <a:srgbClr val="000000"/>
                </a:solidFill>
                <a:latin typeface="Calibri" panose="020F0502020204030204" pitchFamily="34" charset="0"/>
              </a:rPr>
              <a:t>IO performance is another differentiator between Hyperscale and General Purpose &amp; Business Critical.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a:solidFill>
                  <a:srgbClr val="000000"/>
                </a:solidFill>
                <a:latin typeface="Calibri" panose="020F0502020204030204" pitchFamily="34" charset="0"/>
              </a:rPr>
              <a:t>Hyperscale provides different layers of cache. The read IO performance is somewhere between General Purpose and Business Critical tiers.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trike="noStrike"/>
          </a:p>
          <a:p>
            <a:pPr marL="0" marR="0" lvl="0" indent="0" algn="l" defTabSz="685800" rtl="0" eaLnBrk="1" fontAlgn="auto" latinLnBrk="0" hangingPunct="1">
              <a:lnSpc>
                <a:spcPct val="100000"/>
              </a:lnSpc>
              <a:spcBef>
                <a:spcPts val="0"/>
              </a:spcBef>
              <a:spcAft>
                <a:spcPts val="0"/>
              </a:spcAft>
              <a:buClrTx/>
              <a:buSzTx/>
              <a:buFontTx/>
              <a:buNone/>
              <a:tabLst/>
              <a:defRPr/>
            </a:pPr>
            <a:r>
              <a:rPr lang="en-US" b="1"/>
              <a:t>Talking points</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trike="noStrike"/>
              <a:t>Compute nodes have a local persistent storage/cache</a:t>
            </a:r>
          </a:p>
          <a:p>
            <a:pPr marL="171450" indent="-171450">
              <a:buFont typeface="Arial" panose="020B0604020202020204" pitchFamily="34" charset="0"/>
              <a:buChar char="•"/>
            </a:pPr>
            <a:r>
              <a:rPr lang="en-US" sz="800"/>
              <a:t>Pre-build RBPEX when page server instance started</a:t>
            </a:r>
          </a:p>
          <a:p>
            <a:pPr marL="171450" indent="-171450">
              <a:buFont typeface="Arial" panose="020B0604020202020204" pitchFamily="34" charset="0"/>
              <a:buChar char="•"/>
            </a:pPr>
            <a:r>
              <a:rPr lang="en-US" sz="800"/>
              <a:t>Two page-server replicas guarantee IO latency</a:t>
            </a:r>
          </a:p>
          <a:p>
            <a:pPr marL="171450" indent="-171450">
              <a:buFont typeface="Arial" panose="020B0604020202020204" pitchFamily="34" charset="0"/>
              <a:buChar char="•"/>
            </a:pPr>
            <a:r>
              <a:rPr lang="en-US" sz="800"/>
              <a:t>RBPEX on compute nodes is proportional to # of </a:t>
            </a:r>
            <a:r>
              <a:rPr lang="en-US" sz="800" err="1"/>
              <a:t>vCores</a:t>
            </a:r>
            <a:endParaRPr lang="en-US" sz="800"/>
          </a:p>
          <a:p>
            <a:pPr marL="171450" indent="-171450">
              <a:buFont typeface="Arial" panose="020B0604020202020204" pitchFamily="34" charset="0"/>
              <a:buChar char="•"/>
            </a:pPr>
            <a:r>
              <a:rPr lang="en-US" sz="800"/>
              <a:t>Hit local RBPEX - &lt; 0.5ms</a:t>
            </a:r>
          </a:p>
          <a:p>
            <a:pPr marL="171450" indent="-171450">
              <a:buFont typeface="Arial" panose="020B0604020202020204" pitchFamily="34" charset="0"/>
              <a:buChar char="•"/>
            </a:pPr>
            <a:r>
              <a:rPr lang="en-US" sz="800"/>
              <a:t>Hit page server RBPEX - &lt; 2ms</a:t>
            </a:r>
          </a:p>
          <a:p>
            <a:pPr marL="171450" indent="-171450">
              <a:buFont typeface="Arial" panose="020B0604020202020204" pitchFamily="34" charset="0"/>
              <a:buChar char="•"/>
            </a:pPr>
            <a:r>
              <a:rPr lang="en-US" sz="800"/>
              <a:t>Optimized for OLTP workload – operating on hot data</a:t>
            </a:r>
          </a:p>
          <a:p>
            <a:pPr marL="171450" indent="-171450">
              <a:buFont typeface="Arial" panose="020B0604020202020204" pitchFamily="34" charset="0"/>
              <a:buChar char="•"/>
            </a:pPr>
            <a:r>
              <a:rPr lang="en-US" sz="800"/>
              <a:t>Use Column Store index to optimize HTAP/OLAP workload</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9</a:t>
            </a:fld>
            <a:endParaRPr lang="en-US" noProof="0"/>
          </a:p>
        </p:txBody>
      </p:sp>
    </p:spTree>
    <p:extLst>
      <p:ext uri="{BB962C8B-B14F-4D97-AF65-F5344CB8AC3E}">
        <p14:creationId xmlns:p14="http://schemas.microsoft.com/office/powerpoint/2010/main" val="34855553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a:effectLst/>
                <a:latin typeface="Segoe UI" panose="020B0502040204020203" pitchFamily="34" charset="0"/>
                <a:cs typeface="Segoe UI" panose="020B0502040204020203" pitchFamily="34" charset="0"/>
              </a:rPr>
              <a:t>Objective: </a:t>
            </a:r>
            <a:r>
              <a:rPr lang="en-US" sz="1000">
                <a:effectLst/>
                <a:latin typeface="Segoe UI" panose="020B0502040204020203" pitchFamily="34" charset="0"/>
                <a:cs typeface="Segoe UI" panose="020B0502040204020203" pitchFamily="34" charset="0"/>
              </a:rPr>
              <a:t>Use Microsoft Azure SQL Database service tiers (editions) to dial in cloud database performance and capabilities to suit your application. For more about the pricing of different service tiers, see </a:t>
            </a:r>
            <a:r>
              <a:rPr lang="en-US" sz="1000">
                <a:effectLst/>
                <a:latin typeface="Segoe UI" panose="020B0502040204020203" pitchFamily="34" charset="0"/>
                <a:cs typeface="Segoe UI" panose="020B0502040204020203" pitchFamily="34" charset="0"/>
                <a:hlinkClick r:id="rId3"/>
              </a:rPr>
              <a:t>SQL Database pricing </a:t>
            </a:r>
            <a:r>
              <a:rPr lang="en-US" sz="1000">
                <a:latin typeface="Segoe UI" panose="020B0502040204020203" pitchFamily="34" charset="0"/>
                <a:cs typeface="Segoe UI" panose="020B0502040204020203" pitchFamily="34" charset="0"/>
                <a:hlinkClick r:id="rId3"/>
              </a:rPr>
              <a:t>d</a:t>
            </a:r>
            <a:r>
              <a:rPr lang="en-US" sz="1000">
                <a:effectLst/>
                <a:latin typeface="Segoe UI" panose="020B0502040204020203" pitchFamily="34" charset="0"/>
                <a:cs typeface="Segoe UI" panose="020B0502040204020203" pitchFamily="34" charset="0"/>
                <a:hlinkClick r:id="rId3"/>
              </a:rPr>
              <a:t>etails</a:t>
            </a:r>
            <a:r>
              <a:rPr lang="en-US" sz="1000">
                <a:effectLst/>
                <a:latin typeface="Segoe UI" panose="020B0502040204020203" pitchFamily="34" charset="0"/>
                <a:cs typeface="Segoe UI" panose="020B0502040204020203" pitchFamily="34" charset="0"/>
              </a:rPr>
              <a:t>. </a:t>
            </a:r>
          </a:p>
          <a:p>
            <a:endParaRPr lang="en-US" sz="1000" b="1">
              <a:effectLst/>
              <a:latin typeface="Segoe UI" panose="020B0502040204020203" pitchFamily="34" charset="0"/>
              <a:cs typeface="Segoe UI" panose="020B0502040204020203" pitchFamily="34" charset="0"/>
            </a:endParaRPr>
          </a:p>
          <a:p>
            <a:r>
              <a:rPr lang="en-US" sz="1000" b="1">
                <a:effectLst/>
                <a:latin typeface="Segoe UI" panose="020B0502040204020203" pitchFamily="34" charset="0"/>
                <a:cs typeface="Segoe UI" panose="020B0502040204020203" pitchFamily="34" charset="0"/>
              </a:rPr>
              <a:t>Talking Points:</a:t>
            </a:r>
            <a:endParaRPr lang="en-US" sz="1000">
              <a:effectLst/>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00">
                <a:effectLst/>
                <a:latin typeface="Segoe UI" panose="020B0502040204020203" pitchFamily="34" charset="0"/>
                <a:cs typeface="Segoe UI" panose="020B0502040204020203" pitchFamily="34" charset="0"/>
              </a:rPr>
              <a:t>Basic, Standard, Premium, and Premium RS service tiers offer predictable performance, flexible business continuity options, and streamlined billing. In addition, with multiple performance levels, you can have the flexibility to choose the level that best meet your workload demands. Since Web and Business service tiers (editions) were retired in September 2015, consider using Basic, Standard, Premium, or Premium RS for newly created databases. For more information, see </a:t>
            </a:r>
            <a:r>
              <a:rPr lang="en-US" sz="1000">
                <a:effectLst/>
                <a:latin typeface="Segoe UI" panose="020B0502040204020203" pitchFamily="34" charset="0"/>
                <a:cs typeface="Segoe UI" panose="020B0502040204020203" pitchFamily="34" charset="0"/>
                <a:hlinkClick r:id="rId4"/>
              </a:rPr>
              <a:t>Web and Business Edition Sunset FAQ</a:t>
            </a:r>
            <a:r>
              <a:rPr lang="en-US" sz="1000">
                <a:effectLst/>
                <a:latin typeface="Segoe UI" panose="020B0502040204020203" pitchFamily="34" charset="0"/>
                <a:cs typeface="Segoe UI" panose="020B0502040204020203" pitchFamily="34" charset="0"/>
              </a:rPr>
              <a:t>.</a:t>
            </a:r>
          </a:p>
          <a:p>
            <a:pPr marL="171450" indent="-171450">
              <a:buFont typeface="Arial" panose="020B0604020202020204" pitchFamily="34" charset="0"/>
              <a:buChar char="•"/>
            </a:pPr>
            <a:r>
              <a:rPr lang="en-US" sz="1000"/>
              <a:t>Premium RS tier provides the same performance levels, security features and business continuity features as the Premium tier albeit at a reduced SLA</a:t>
            </a:r>
            <a:endParaRPr lang="en-US" sz="1000">
              <a:effectLst/>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00">
                <a:effectLst/>
                <a:latin typeface="Segoe UI" panose="020B0502040204020203" pitchFamily="34" charset="0"/>
                <a:cs typeface="Segoe UI" panose="020B0502040204020203" pitchFamily="34" charset="0"/>
              </a:rPr>
              <a:t>Should your workload increase or decrease, you can easily change the performance characteristics of a database in the Microsoft Azure Management Portal. Select your database, click </a:t>
            </a:r>
            <a:r>
              <a:rPr lang="en-US" sz="1000" b="1">
                <a:effectLst/>
                <a:latin typeface="Segoe UI" panose="020B0502040204020203" pitchFamily="34" charset="0"/>
                <a:cs typeface="Segoe UI" panose="020B0502040204020203" pitchFamily="34" charset="0"/>
              </a:rPr>
              <a:t>Scale</a:t>
            </a:r>
            <a:r>
              <a:rPr lang="en-US" sz="1000">
                <a:effectLst/>
                <a:latin typeface="Segoe UI" panose="020B0502040204020203" pitchFamily="34" charset="0"/>
                <a:cs typeface="Segoe UI" panose="020B0502040204020203" pitchFamily="34" charset="0"/>
              </a:rPr>
              <a:t>, and then choose a new service tier. For more information, see </a:t>
            </a:r>
            <a:r>
              <a:rPr lang="en-US" sz="1000">
                <a:effectLst/>
                <a:latin typeface="Segoe UI" panose="020B0502040204020203" pitchFamily="34" charset="0"/>
                <a:cs typeface="Segoe UI" panose="020B0502040204020203" pitchFamily="34" charset="0"/>
                <a:hlinkClick r:id="rId5"/>
              </a:rPr>
              <a:t>Changing Database Service Tiers and Performance Levels</a:t>
            </a:r>
            <a:r>
              <a:rPr lang="en-US" sz="1000">
                <a:effectLst/>
                <a:latin typeface="Segoe UI" panose="020B0502040204020203" pitchFamily="34" charset="0"/>
                <a:cs typeface="Segoe UI" panose="020B0502040204020203" pitchFamily="34" charset="0"/>
              </a:rPr>
              <a:t>.</a:t>
            </a:r>
          </a:p>
          <a:p>
            <a:pPr marL="171450" indent="-171450">
              <a:buFont typeface="Arial" panose="020B0604020202020204" pitchFamily="34" charset="0"/>
              <a:buChar char="•"/>
            </a:pPr>
            <a:r>
              <a:rPr lang="en-US" sz="1000">
                <a:effectLst/>
                <a:latin typeface="Segoe UI" panose="020B0502040204020203" pitchFamily="34" charset="0"/>
                <a:cs typeface="Segoe UI" panose="020B0502040204020203" pitchFamily="34" charset="0"/>
              </a:rPr>
              <a:t>The features available with each service tier fall into the following categories:</a:t>
            </a:r>
          </a:p>
          <a:p>
            <a:pPr marL="628650" lvl="1" indent="-171450">
              <a:buFont typeface="Arial" panose="020B0604020202020204" pitchFamily="34" charset="0"/>
              <a:buChar char="•"/>
            </a:pPr>
            <a:r>
              <a:rPr lang="en-US" sz="1000" b="1">
                <a:effectLst/>
                <a:latin typeface="Segoe UI" panose="020B0502040204020203" pitchFamily="34" charset="0"/>
                <a:cs typeface="Segoe UI" panose="020B0502040204020203" pitchFamily="34" charset="0"/>
              </a:rPr>
              <a:t>Performance and scalability:</a:t>
            </a:r>
            <a:r>
              <a:rPr lang="en-US" sz="1000">
                <a:effectLst/>
                <a:latin typeface="Segoe UI" panose="020B0502040204020203" pitchFamily="34" charset="0"/>
                <a:cs typeface="Segoe UI" panose="020B0502040204020203" pitchFamily="34" charset="0"/>
              </a:rPr>
              <a:t> Basic, Standard, Premium, and Premium RS service tiers have one or more performance levels that offer predictable performance. Performance levels are expressed in Database Throughput </a:t>
            </a:r>
            <a:r>
              <a:rPr lang="en-US" sz="1000">
                <a:latin typeface="Segoe UI" panose="020B0502040204020203" pitchFamily="34" charset="0"/>
                <a:cs typeface="Segoe UI" panose="020B0502040204020203" pitchFamily="34" charset="0"/>
              </a:rPr>
              <a:t>U</a:t>
            </a:r>
            <a:r>
              <a:rPr lang="en-US" sz="1000">
                <a:effectLst/>
                <a:latin typeface="Segoe UI" panose="020B0502040204020203" pitchFamily="34" charset="0"/>
                <a:cs typeface="Segoe UI" panose="020B0502040204020203" pitchFamily="34" charset="0"/>
              </a:rPr>
              <a:t>nits (DTUs), which provide a quick way to compare the relative performance of a database. For more detailed information about performance levels and DTUs, see </a:t>
            </a:r>
            <a:r>
              <a:rPr lang="en-US" sz="1000">
                <a:effectLst/>
                <a:latin typeface="Segoe UI" panose="020B0502040204020203" pitchFamily="34" charset="0"/>
                <a:cs typeface="Segoe UI" panose="020B0502040204020203" pitchFamily="34" charset="0"/>
                <a:hlinkClick r:id="rId6"/>
              </a:rPr>
              <a:t>Azure SQL Database Service Tiers and Performance Levels</a:t>
            </a:r>
            <a:r>
              <a:rPr lang="en-US" sz="1000">
                <a:effectLst/>
                <a:latin typeface="Segoe UI" panose="020B0502040204020203" pitchFamily="34" charset="0"/>
                <a:cs typeface="Segoe UI" panose="020B0502040204020203" pitchFamily="34" charset="0"/>
              </a:rPr>
              <a:t>. In addition to the performance level, for all database service tiers, you also pick a maximum database size supported by the service tier. For more information on the supported database sizes, see </a:t>
            </a:r>
            <a:r>
              <a:rPr lang="en-US" sz="1000">
                <a:effectLst/>
                <a:latin typeface="Segoe UI" panose="020B0502040204020203" pitchFamily="34" charset="0"/>
                <a:cs typeface="Segoe UI" panose="020B0502040204020203" pitchFamily="34" charset="0"/>
                <a:hlinkClick r:id="rId7"/>
              </a:rPr>
              <a:t>CREATE DATABASE</a:t>
            </a:r>
            <a:r>
              <a:rPr lang="en-US" sz="1000">
                <a:effectLst/>
                <a:latin typeface="Segoe UI" panose="020B0502040204020203" pitchFamily="34" charset="0"/>
                <a:cs typeface="Segoe UI" panose="020B0502040204020203" pitchFamily="34" charset="0"/>
              </a:rPr>
              <a:t>.</a:t>
            </a:r>
          </a:p>
          <a:p>
            <a:pPr marL="628650" lvl="1" indent="-171450">
              <a:buFont typeface="Arial" panose="020B0604020202020204" pitchFamily="34" charset="0"/>
              <a:buChar char="•"/>
            </a:pPr>
            <a:r>
              <a:rPr lang="en-US" sz="1000" b="1">
                <a:effectLst/>
                <a:latin typeface="Segoe UI" panose="020B0502040204020203" pitchFamily="34" charset="0"/>
                <a:cs typeface="Segoe UI" panose="020B0502040204020203" pitchFamily="34" charset="0"/>
              </a:rPr>
              <a:t>Business continuity:</a:t>
            </a:r>
            <a:r>
              <a:rPr lang="en-US" sz="1000">
                <a:effectLst/>
                <a:latin typeface="Segoe UI" panose="020B0502040204020203" pitchFamily="34" charset="0"/>
                <a:cs typeface="Segoe UI" panose="020B0502040204020203" pitchFamily="34" charset="0"/>
              </a:rPr>
              <a:t> These features help you recover your database from human and application errors, or datacenter failures. Many built-in features, such as</a:t>
            </a:r>
            <a:br>
              <a:rPr lang="en-US" sz="1000">
                <a:effectLst/>
                <a:latin typeface="Segoe UI" panose="020B0502040204020203" pitchFamily="34" charset="0"/>
                <a:cs typeface="Segoe UI" panose="020B0502040204020203" pitchFamily="34" charset="0"/>
              </a:rPr>
            </a:br>
            <a:r>
              <a:rPr lang="en-US" sz="1000">
                <a:effectLst/>
                <a:latin typeface="Segoe UI" panose="020B0502040204020203" pitchFamily="34" charset="0"/>
                <a:cs typeface="Segoe UI" panose="020B0502040204020203" pitchFamily="34" charset="0"/>
              </a:rPr>
              <a:t>geo-restore, are available with Basic, Standard, Premium, and Premium RS service tiers. For more information, see </a:t>
            </a:r>
            <a:r>
              <a:rPr lang="en-US" sz="1000">
                <a:effectLst/>
                <a:latin typeface="Segoe UI" panose="020B0502040204020203" pitchFamily="34" charset="0"/>
                <a:cs typeface="Segoe UI" panose="020B0502040204020203" pitchFamily="34" charset="0"/>
                <a:hlinkClick r:id="rId8"/>
              </a:rPr>
              <a:t>Azure SQL Database Business Continuity</a:t>
            </a:r>
            <a:r>
              <a:rPr lang="en-US" sz="1000">
                <a:effectLst/>
                <a:latin typeface="Segoe UI" panose="020B0502040204020203" pitchFamily="34" charset="0"/>
                <a:cs typeface="Segoe UI" panose="020B0502040204020203" pitchFamily="34" charset="0"/>
              </a:rPr>
              <a:t>.</a:t>
            </a:r>
          </a:p>
          <a:p>
            <a:pPr marL="628650" lvl="1" indent="-171450">
              <a:buFont typeface="Arial" panose="020B0604020202020204" pitchFamily="34" charset="0"/>
              <a:buChar char="•"/>
            </a:pPr>
            <a:r>
              <a:rPr lang="en-US" sz="1000" b="1">
                <a:effectLst/>
                <a:latin typeface="Segoe UI" panose="020B0502040204020203" pitchFamily="34" charset="0"/>
                <a:cs typeface="Segoe UI" panose="020B0502040204020203" pitchFamily="34" charset="0"/>
              </a:rPr>
              <a:t>Auditing:</a:t>
            </a:r>
            <a:r>
              <a:rPr lang="en-US" sz="1000">
                <a:effectLst/>
                <a:latin typeface="Segoe UI" panose="020B0502040204020203" pitchFamily="34" charset="0"/>
                <a:cs typeface="Segoe UI" panose="020B0502040204020203" pitchFamily="34" charset="0"/>
              </a:rPr>
              <a:t> With Basic, Standard, Premium, and Premium RS service tiers, you can track logs and events that occur in a database. For more information, see </a:t>
            </a:r>
            <a:r>
              <a:rPr lang="en-US" sz="1000">
                <a:effectLst/>
                <a:latin typeface="Segoe UI" panose="020B0502040204020203" pitchFamily="34" charset="0"/>
                <a:cs typeface="Segoe UI" panose="020B0502040204020203" pitchFamily="34" charset="0"/>
                <a:hlinkClick r:id="rId9"/>
              </a:rPr>
              <a:t>Azure SQL Database Performance Guidance</a:t>
            </a:r>
            <a:r>
              <a:rPr lang="en-US" sz="1000">
                <a:effectLst/>
                <a:latin typeface="Segoe UI" panose="020B0502040204020203" pitchFamily="34" charset="0"/>
                <a:cs typeface="Segoe UI" panose="020B0502040204020203" pitchFamily="34" charset="0"/>
              </a:rPr>
              <a:t>.</a:t>
            </a:r>
            <a:endParaRPr lang="en-US" sz="1200">
              <a:effectLst/>
              <a:cs typeface="+mn-cs"/>
            </a:endParaRPr>
          </a:p>
          <a:p>
            <a:pPr marL="457200" lvl="1" indent="0">
              <a:buFont typeface="Arial" panose="020B0604020202020204" pitchFamily="34" charset="0"/>
              <a:buNone/>
            </a:pPr>
            <a:endParaRPr lang="en-US" sz="1200">
              <a:effectLst/>
              <a:cs typeface="+mn-cs"/>
            </a:endParaRPr>
          </a:p>
          <a:p>
            <a:pPr marL="0" lvl="0" indent="0">
              <a:buFont typeface="Arial" panose="020B0604020202020204" pitchFamily="34" charset="0"/>
              <a:buNone/>
            </a:pPr>
            <a:r>
              <a:rPr lang="en-US" i="1">
                <a:solidFill>
                  <a:schemeClr val="bg1">
                    <a:lumMod val="65000"/>
                  </a:schemeClr>
                </a:solidFill>
                <a:effectLst/>
                <a:cs typeface="+mn-cs"/>
              </a:rPr>
              <a:t>Source:</a:t>
            </a:r>
            <a:r>
              <a:rPr lang="en-US" i="1" baseline="0">
                <a:solidFill>
                  <a:schemeClr val="bg1">
                    <a:lumMod val="65000"/>
                  </a:schemeClr>
                </a:solidFill>
                <a:effectLst/>
                <a:cs typeface="+mn-cs"/>
              </a:rPr>
              <a:t> https://azure.microsoft.com/en-us/pricing/details/sql-database/</a:t>
            </a:r>
            <a:endParaRPr lang="en-US" i="1">
              <a:solidFill>
                <a:schemeClr val="bg1">
                  <a:lumMod val="65000"/>
                </a:schemeClr>
              </a:solidFill>
              <a:effectLst/>
            </a:endParaRPr>
          </a:p>
          <a:p>
            <a:endParaRPr lang="en-US"/>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a:p>
        </p:txBody>
      </p:sp>
    </p:spTree>
    <p:extLst>
      <p:ext uri="{BB962C8B-B14F-4D97-AF65-F5344CB8AC3E}">
        <p14:creationId xmlns:p14="http://schemas.microsoft.com/office/powerpoint/2010/main" val="9490606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kern="1200">
                <a:solidFill>
                  <a:schemeClr val="tx1"/>
                </a:solidFill>
                <a:effectLst/>
                <a:latin typeface="Segoe UI Light" pitchFamily="34" charset="0"/>
                <a:ea typeface="+mn-ea"/>
                <a:cs typeface="+mn-cs"/>
              </a:rPr>
              <a:t>Migrating databases to the cloud can be complicated, especially when trying to select the best Azure database target and SKU for your database. Our goal with the Database Migration Assistant (DMA) is to help address these questions and make your database migration experience easier by providing these SKU recommendations in a user-friendly output.</a:t>
            </a:r>
          </a:p>
          <a:p>
            <a:r>
              <a:rPr lang="en-US" sz="800" b="0" i="0" kern="1200">
                <a:solidFill>
                  <a:schemeClr val="tx1"/>
                </a:solidFill>
                <a:effectLst/>
                <a:latin typeface="Segoe UI Light" pitchFamily="34" charset="0"/>
                <a:ea typeface="+mn-ea"/>
                <a:cs typeface="+mn-cs"/>
              </a:rPr>
              <a:t>DMA's Azure SQL Database SKU recommendations feature. Azure SQL Database has several deployment options, including:</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Single database</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Elastic pools</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Managed instance</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1</a:t>
            </a:fld>
            <a:endParaRPr lang="en-US" noProof="0"/>
          </a:p>
        </p:txBody>
      </p:sp>
    </p:spTree>
    <p:extLst>
      <p:ext uri="{BB962C8B-B14F-4D97-AF65-F5344CB8AC3E}">
        <p14:creationId xmlns:p14="http://schemas.microsoft.com/office/powerpoint/2010/main" val="15471445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0" i="0" kern="1200">
                <a:solidFill>
                  <a:schemeClr val="tx1"/>
                </a:solidFill>
                <a:effectLst/>
                <a:latin typeface="Segoe UI Light" pitchFamily="34" charset="0"/>
                <a:ea typeface="+mn-ea"/>
                <a:cs typeface="+mn-cs"/>
              </a:rPr>
              <a:t>The SKU Recommendations feature allows you to identify both the minimum recommended Azure SQL Database single database or managed instance SKU based on performance counters collected from the computer(s) hosting your databases. The feature provides recommendations related to pricing tier, compute level, and max data size, as well as estimated cost per month. It also offers the ability to bulk provision single databases and managed instances in Azure for all recommended databases.</a:t>
            </a:r>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a:p>
        </p:txBody>
      </p:sp>
    </p:spTree>
    <p:extLst>
      <p:ext uri="{BB962C8B-B14F-4D97-AF65-F5344CB8AC3E}">
        <p14:creationId xmlns:p14="http://schemas.microsoft.com/office/powerpoint/2010/main" val="58202513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43</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2/7/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4814905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 and Off</a:t>
            </a:r>
          </a:p>
          <a:p>
            <a:pPr marL="0" lvl="1" defTabSz="1002183" fontAlgn="base">
              <a:spcAft>
                <a:spcPct val="0"/>
              </a:spcAft>
              <a:defRPr/>
            </a:pPr>
            <a:r>
              <a:rPr lang="en-US" sz="1122" kern="0">
                <a:solidFill>
                  <a:srgbClr val="292929">
                    <a:alpha val="99000"/>
                  </a:srgbClr>
                </a:solidFill>
                <a:latin typeface="+mn-lt"/>
                <a:ea typeface="Kozuka Gothic Pro R" pitchFamily="34" charset="-128"/>
              </a:rPr>
              <a:t>On and off workloads (for example: batch job).</a:t>
            </a:r>
          </a:p>
          <a:p>
            <a:pPr marL="0" lvl="1" defTabSz="1002183" fontAlgn="base">
              <a:spcAft>
                <a:spcPct val="0"/>
              </a:spcAft>
              <a:defRPr/>
            </a:pPr>
            <a:r>
              <a:rPr lang="en-US" sz="1122" kern="0">
                <a:solidFill>
                  <a:srgbClr val="292929">
                    <a:alpha val="99000"/>
                  </a:srgbClr>
                </a:solidFill>
                <a:latin typeface="+mn-lt"/>
                <a:ea typeface="Kozuka Gothic Pro R" pitchFamily="34" charset="-128"/>
              </a:rPr>
              <a:t>Over provisioned capacity is wasted.</a:t>
            </a:r>
          </a:p>
          <a:p>
            <a:pPr marL="0" lvl="1" defTabSz="1002183" fontAlgn="base">
              <a:spcAft>
                <a:spcPct val="0"/>
              </a:spcAft>
              <a:defRPr/>
            </a:pPr>
            <a:r>
              <a:rPr lang="en-US" sz="1122" kern="0">
                <a:solidFill>
                  <a:srgbClr val="292929">
                    <a:alpha val="99000"/>
                  </a:srgbClr>
                </a:solidFill>
                <a:latin typeface="+mn-lt"/>
                <a:ea typeface="Kozuka Gothic Pro R" pitchFamily="34" charset="-128"/>
              </a:rPr>
              <a:t>Time to market can be cumbersome. </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kern="0">
                <a:solidFill>
                  <a:srgbClr val="00AEEF">
                    <a:alpha val="99000"/>
                  </a:srgbClr>
                </a:solidFill>
                <a:latin typeface="Segoe UI" pitchFamily="34" charset="0"/>
                <a:ea typeface="Segoe UI" pitchFamily="34" charset="0"/>
                <a:cs typeface="Segoe UI" pitchFamily="34" charset="0"/>
              </a:rPr>
              <a:t>Growing Fast</a:t>
            </a:r>
          </a:p>
          <a:p>
            <a:pPr marL="0" lvl="1" defTabSz="1002183" fontAlgn="base">
              <a:spcAft>
                <a:spcPct val="0"/>
              </a:spcAft>
              <a:defRPr/>
            </a:pPr>
            <a:r>
              <a:rPr lang="en-US" sz="1122" kern="0">
                <a:solidFill>
                  <a:srgbClr val="292929">
                    <a:alpha val="99000"/>
                  </a:srgbClr>
                </a:solidFill>
                <a:latin typeface="+mn-lt"/>
                <a:ea typeface="Kozuka Gothic Pro R" pitchFamily="34" charset="-128"/>
              </a:rPr>
              <a:t>Successful services needs to grow/scale.   </a:t>
            </a:r>
          </a:p>
          <a:p>
            <a:pPr marL="0" lvl="1" defTabSz="1002183" fontAlgn="base">
              <a:spcAft>
                <a:spcPct val="0"/>
              </a:spcAft>
              <a:defRPr/>
            </a:pPr>
            <a:r>
              <a:rPr lang="en-US" sz="1122" kern="0">
                <a:solidFill>
                  <a:srgbClr val="292929">
                    <a:alpha val="99000"/>
                  </a:srgbClr>
                </a:solidFill>
                <a:latin typeface="+mn-lt"/>
                <a:ea typeface="Kozuka Gothic Pro R" pitchFamily="34" charset="-128"/>
              </a:rPr>
              <a:t>Keeping up with growth is a big IT challenge. </a:t>
            </a:r>
          </a:p>
          <a:p>
            <a:pPr marL="0" lvl="1" defTabSz="1002183" fontAlgn="base">
              <a:spcAft>
                <a:spcPct val="0"/>
              </a:spcAft>
              <a:defRPr/>
            </a:pPr>
            <a:r>
              <a:rPr lang="en-US" sz="1122" kern="0">
                <a:solidFill>
                  <a:srgbClr val="292929">
                    <a:alpha val="99000"/>
                  </a:srgbClr>
                </a:solidFill>
                <a:latin typeface="+mn-lt"/>
                <a:ea typeface="Kozuka Gothic Pro R" pitchFamily="34" charset="-128"/>
              </a:rPr>
              <a:t>Cannot provision hardware fast enough.</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kern="0">
                <a:solidFill>
                  <a:srgbClr val="00AEEF">
                    <a:alpha val="99000"/>
                  </a:srgbClr>
                </a:solidFill>
                <a:latin typeface="Segoe UI" pitchFamily="34" charset="0"/>
                <a:ea typeface="Segoe UI" pitchFamily="34" charset="0"/>
                <a:cs typeface="Segoe UI" pitchFamily="34" charset="0"/>
              </a:rPr>
              <a:t>Unpredictable Bursting</a:t>
            </a:r>
          </a:p>
          <a:p>
            <a:pPr marL="0" lvl="1" defTabSz="1002183" fontAlgn="base">
              <a:spcAft>
                <a:spcPct val="0"/>
              </a:spcAft>
              <a:defRPr/>
            </a:pPr>
            <a:r>
              <a:rPr lang="en-US" sz="1122" kern="0">
                <a:solidFill>
                  <a:srgbClr val="292929">
                    <a:alpha val="99000"/>
                  </a:srgbClr>
                </a:solidFill>
                <a:latin typeface="+mn-lt"/>
                <a:ea typeface="Kozuka Gothic Pro R" pitchFamily="34" charset="-128"/>
              </a:rPr>
              <a:t>Unexpected/unplanned peak in demand.  </a:t>
            </a:r>
          </a:p>
          <a:p>
            <a:pPr marL="0" lvl="1" defTabSz="1002183" fontAlgn="base">
              <a:spcAft>
                <a:spcPct val="0"/>
              </a:spcAft>
              <a:defRPr/>
            </a:pPr>
            <a:r>
              <a:rPr lang="en-US" sz="1122" kern="0">
                <a:solidFill>
                  <a:srgbClr val="292929">
                    <a:alpha val="99000"/>
                  </a:srgbClr>
                </a:solidFill>
                <a:latin typeface="+mn-lt"/>
                <a:ea typeface="Kozuka Gothic Pro R" pitchFamily="34" charset="-128"/>
              </a:rPr>
              <a:t>Sudden spike impacts performance. </a:t>
            </a:r>
          </a:p>
          <a:p>
            <a:pPr marL="0" lvl="1" defTabSz="1002183" fontAlgn="base">
              <a:spcAft>
                <a:spcPct val="0"/>
              </a:spcAft>
              <a:defRPr/>
            </a:pPr>
            <a:r>
              <a:rPr lang="en-US" sz="1122" kern="0">
                <a:solidFill>
                  <a:srgbClr val="292929">
                    <a:alpha val="99000"/>
                  </a:srgbClr>
                </a:solidFill>
                <a:latin typeface="+mn-lt"/>
                <a:ea typeface="Kozuka Gothic Pro R" pitchFamily="34" charset="-128"/>
              </a:rPr>
              <a:t>Cannot over provision for extreme case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kern="0">
                <a:solidFill>
                  <a:srgbClr val="00AEEF">
                    <a:alpha val="99000"/>
                  </a:srgbClr>
                </a:solidFill>
                <a:latin typeface="Segoe UI" pitchFamily="34" charset="0"/>
                <a:ea typeface="Segoe UI" pitchFamily="34" charset="0"/>
                <a:cs typeface="Segoe UI" pitchFamily="34" charset="0"/>
              </a:rPr>
              <a:t>Predictable Bursting</a:t>
            </a:r>
          </a:p>
          <a:p>
            <a:pPr marL="0" lvl="1" defTabSz="1002183" fontAlgn="base">
              <a:spcAft>
                <a:spcPct val="0"/>
              </a:spcAft>
              <a:defRPr/>
            </a:pPr>
            <a:r>
              <a:rPr lang="en-US" sz="1122" kern="0">
                <a:solidFill>
                  <a:srgbClr val="292929">
                    <a:alpha val="99000"/>
                  </a:srgbClr>
                </a:solidFill>
                <a:latin typeface="+mn-lt"/>
                <a:ea typeface="Kozuka Gothic Pro R" pitchFamily="34" charset="-128"/>
              </a:rPr>
              <a:t>Services with micro seasonality trends.   </a:t>
            </a:r>
          </a:p>
          <a:p>
            <a:pPr marL="0" lvl="1" defTabSz="1002183" fontAlgn="base">
              <a:spcAft>
                <a:spcPct val="0"/>
              </a:spcAft>
              <a:defRPr/>
            </a:pPr>
            <a:r>
              <a:rPr lang="en-US" sz="1122" kern="0">
                <a:solidFill>
                  <a:srgbClr val="292929">
                    <a:alpha val="99000"/>
                  </a:srgbClr>
                </a:solidFill>
                <a:latin typeface="+mn-lt"/>
                <a:ea typeface="Kozuka Gothic Pro R" pitchFamily="34" charset="-128"/>
              </a:rPr>
              <a:t>Peaks due to periodic increased demand.</a:t>
            </a:r>
          </a:p>
          <a:p>
            <a:pPr marL="0" lvl="1" defTabSz="1002183" fontAlgn="base">
              <a:spcAft>
                <a:spcPct val="0"/>
              </a:spcAft>
              <a:defRPr/>
            </a:pPr>
            <a:r>
              <a:rPr lang="en-US" sz="1122" kern="0">
                <a:solidFill>
                  <a:srgbClr val="292929">
                    <a:alpha val="99000"/>
                  </a:srgbClr>
                </a:solidFill>
                <a:latin typeface="+mn-lt"/>
                <a:ea typeface="Kozuka Gothic Pro R" pitchFamily="34" charset="-128"/>
              </a:rPr>
              <a:t>IT complexity and wasted capacity.</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a:p>
        </p:txBody>
      </p:sp>
    </p:spTree>
    <p:extLst>
      <p:ext uri="{BB962C8B-B14F-4D97-AF65-F5344CB8AC3E}">
        <p14:creationId xmlns:p14="http://schemas.microsoft.com/office/powerpoint/2010/main" val="16255814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Q1: </a:t>
            </a:r>
            <a:r>
              <a:rPr kumimoji="0" lang="en-US" sz="900" b="0" i="0" u="none" strike="noStrike" kern="1200" cap="none" spc="0" normalizeH="0" baseline="0" noProof="0" dirty="0">
                <a:ln>
                  <a:noFill/>
                </a:ln>
                <a:solidFill>
                  <a:srgbClr val="FFFFFF"/>
                </a:solidFill>
                <a:effectLst/>
                <a:uLnTx/>
                <a:uFillTx/>
                <a:latin typeface="+mn-lt"/>
                <a:ea typeface="+mn-ea"/>
                <a:cs typeface="+mn-cs"/>
              </a:rPr>
              <a:t>What are the differences between IaaS, PaaS, SaaS and where should you position Azure SQL Databas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nswer 1</a:t>
            </a:r>
            <a:r>
              <a:rPr lang="en-US" baseline="0" dirty="0"/>
              <a:t>:</a:t>
            </a:r>
          </a:p>
          <a:p>
            <a:r>
              <a:rPr lang="en-US" b="1" dirty="0"/>
              <a:t>Infrastructure as a Service (IaaS) </a:t>
            </a:r>
            <a:r>
              <a:rPr lang="en-US" dirty="0"/>
              <a:t>is similar to traditional hosting, where a business will use the hosted environment as a logical extension of the on-premises datacenter. The servers (physical and virtual) are rented on an as-needed basis, and the IT professionals who manage the infrastructure have full control of the software configuration.</a:t>
            </a:r>
            <a:endParaRPr lang="en-US" baseline="0" dirty="0"/>
          </a:p>
          <a:p>
            <a:r>
              <a:rPr lang="en-US" b="1" dirty="0"/>
              <a:t>Platform as a Service (PaaS) </a:t>
            </a:r>
            <a:r>
              <a:rPr lang="en-US" dirty="0"/>
              <a:t>offers hosted application servers that have near-infinite scalability resulting from the large resource pools they rely on. PaaS also offers necessary supporting services like storage, security, integration infrastructure and development tools for a complete platform.</a:t>
            </a:r>
            <a:endParaRPr lang="en-US" baseline="0" dirty="0"/>
          </a:p>
          <a:p>
            <a:r>
              <a:rPr lang="en-US" b="1" dirty="0"/>
              <a:t>Software as a Service (SaaS) </a:t>
            </a:r>
            <a:r>
              <a:rPr lang="en-US" dirty="0"/>
              <a:t>is a software delivery business model in which a provider or third party hosts an application and makes it available to customers on a subscription basis.</a:t>
            </a:r>
          </a:p>
          <a:p>
            <a:r>
              <a:rPr lang="en-US" b="1" baseline="0" dirty="0"/>
              <a:t>Azure SQL Database is positioned under a PaaS solution</a:t>
            </a:r>
          </a:p>
          <a:p>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Q2: What are the two</a:t>
            </a:r>
            <a:r>
              <a:rPr kumimoji="0" lang="en-US" sz="900" b="0" i="0" u="none" strike="noStrike" kern="1200" cap="none" spc="0" normalizeH="0" noProof="0" dirty="0">
                <a:ln>
                  <a:noFill/>
                </a:ln>
                <a:solidFill>
                  <a:srgbClr val="FFFFFF"/>
                </a:solidFill>
                <a:effectLst/>
                <a:uLnTx/>
                <a:uFillTx/>
                <a:latin typeface="+mn-lt"/>
                <a:ea typeface="+mn-ea"/>
                <a:cs typeface="+mn-cs"/>
              </a:rPr>
              <a:t> Purchasing models?</a:t>
            </a:r>
            <a:endParaRPr kumimoji="0" lang="en-US" sz="900" b="0" i="0" u="none" strike="noStrike" kern="1200" cap="none" spc="0" normalizeH="0" baseline="0" noProof="0" dirty="0">
              <a:ln>
                <a:noFill/>
              </a:ln>
              <a:solidFill>
                <a:srgbClr val="FFFFFF"/>
              </a:solidFill>
              <a:effectLst/>
              <a:uLnTx/>
              <a:uFillTx/>
              <a:latin typeface="+mn-lt"/>
              <a:ea typeface="+mn-ea"/>
              <a:cs typeface="+mn-cs"/>
            </a:endParaRPr>
          </a:p>
          <a:p>
            <a:r>
              <a:rPr lang="en-US" baseline="0" dirty="0"/>
              <a:t>Answer 2:</a:t>
            </a:r>
          </a:p>
          <a:p>
            <a:r>
              <a:rPr lang="en-US" b="1" dirty="0">
                <a:effectLst/>
              </a:rPr>
              <a:t>DTU-based</a:t>
            </a:r>
            <a:r>
              <a:rPr lang="en-US" dirty="0">
                <a:effectLst/>
              </a:rPr>
              <a:t> model</a:t>
            </a:r>
            <a:r>
              <a:rPr lang="en-US" dirty="0"/>
              <a:t> and </a:t>
            </a:r>
            <a:r>
              <a:rPr lang="en-US" b="1" dirty="0"/>
              <a:t>v-Core</a:t>
            </a:r>
            <a:r>
              <a:rPr lang="en-US" dirty="0"/>
              <a:t> Based</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Q3: </a:t>
            </a:r>
            <a:r>
              <a:rPr lang="en-US" sz="900" dirty="0">
                <a:solidFill>
                  <a:srgbClr val="FFFFFF"/>
                </a:solidFill>
                <a:latin typeface="+mn-lt"/>
              </a:rPr>
              <a:t>What are the three vCore-based purchasing models that Azure SQL Database offers?</a:t>
            </a:r>
          </a:p>
          <a:p>
            <a:r>
              <a:rPr lang="en-US" baseline="0" dirty="0"/>
              <a:t>Answer 3:</a:t>
            </a:r>
          </a:p>
          <a:p>
            <a:r>
              <a:rPr lang="en-US" sz="900" b="1" i="0" kern="1200" dirty="0">
                <a:solidFill>
                  <a:schemeClr val="tx1"/>
                </a:solidFill>
                <a:effectLst/>
                <a:latin typeface="Segoe UI Light" pitchFamily="34" charset="0"/>
                <a:ea typeface="+mn-ea"/>
                <a:cs typeface="+mn-cs"/>
              </a:rPr>
              <a:t>General</a:t>
            </a:r>
            <a:r>
              <a:rPr lang="en-US" sz="900" b="0" i="0" kern="1200" dirty="0">
                <a:solidFill>
                  <a:schemeClr val="tx1"/>
                </a:solidFill>
                <a:effectLst/>
                <a:latin typeface="Segoe UI Light" pitchFamily="34" charset="0"/>
                <a:ea typeface="+mn-ea"/>
                <a:cs typeface="+mn-cs"/>
              </a:rPr>
              <a:t> purpose, </a:t>
            </a:r>
            <a:r>
              <a:rPr lang="en-US" sz="900" b="1" i="0" kern="1200" dirty="0">
                <a:solidFill>
                  <a:schemeClr val="tx1"/>
                </a:solidFill>
                <a:effectLst/>
                <a:latin typeface="Segoe UI Light" pitchFamily="34" charset="0"/>
                <a:ea typeface="+mn-ea"/>
                <a:cs typeface="+mn-cs"/>
              </a:rPr>
              <a:t>hyperscale</a:t>
            </a:r>
            <a:r>
              <a:rPr lang="en-US" sz="900" b="0" i="0" kern="1200" dirty="0">
                <a:solidFill>
                  <a:schemeClr val="tx1"/>
                </a:solidFill>
                <a:effectLst/>
                <a:latin typeface="Segoe UI Light" pitchFamily="34" charset="0"/>
                <a:ea typeface="+mn-ea"/>
                <a:cs typeface="+mn-cs"/>
              </a:rPr>
              <a:t>, and </a:t>
            </a:r>
            <a:r>
              <a:rPr lang="en-US" sz="900" b="1" i="0" kern="1200" dirty="0">
                <a:solidFill>
                  <a:schemeClr val="tx1"/>
                </a:solidFill>
                <a:effectLst/>
                <a:latin typeface="Segoe UI Light" pitchFamily="34" charset="0"/>
                <a:ea typeface="+mn-ea"/>
                <a:cs typeface="+mn-cs"/>
              </a:rPr>
              <a:t>business critical</a:t>
            </a:r>
          </a:p>
          <a:p>
            <a:r>
              <a:rPr lang="en-US" sz="900" b="0" i="0" kern="1200" dirty="0">
                <a:solidFill>
                  <a:schemeClr val="tx1"/>
                </a:solidFill>
                <a:effectLst/>
                <a:latin typeface="Segoe UI Light" pitchFamily="34" charset="0"/>
                <a:ea typeface="+mn-ea"/>
                <a:cs typeface="+mn-cs"/>
              </a:rPr>
              <a:t>These service tiers are differentiated by a range of compute sizes, high-availability designs, fault-isolation methods, types and sizes of storage, and I/O ranges.</a:t>
            </a:r>
          </a:p>
          <a:p>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Q4: </a:t>
            </a:r>
            <a:r>
              <a:rPr lang="en-US" sz="900" dirty="0">
                <a:solidFill>
                  <a:srgbClr val="FFFFFF"/>
                </a:solidFill>
                <a:latin typeface="+mn-lt"/>
              </a:rPr>
              <a:t>What are the differences between provisioned compute tier and a serverless compute tier?</a:t>
            </a:r>
            <a:endParaRPr kumimoji="0" lang="en-US" sz="900" b="0" i="0" u="none" strike="noStrike" kern="1200" cap="none" spc="0" normalizeH="0" baseline="0" noProof="0" dirty="0">
              <a:ln>
                <a:noFill/>
              </a:ln>
              <a:solidFill>
                <a:srgbClr val="FFFFFF"/>
              </a:solidFill>
              <a:effectLst/>
              <a:uLnTx/>
              <a:uFillTx/>
              <a:latin typeface="+mn-lt"/>
              <a:ea typeface="+mn-ea"/>
              <a:cs typeface="+mn-cs"/>
            </a:endParaRPr>
          </a:p>
          <a:p>
            <a:r>
              <a:rPr lang="en-US" baseline="0" dirty="0"/>
              <a:t>Answer 4:</a:t>
            </a:r>
          </a:p>
          <a:p>
            <a:r>
              <a:rPr lang="en-US" sz="900" b="0" i="0" kern="1200" dirty="0">
                <a:solidFill>
                  <a:schemeClr val="tx1"/>
                </a:solidFill>
                <a:effectLst/>
                <a:latin typeface="Segoe UI Light" pitchFamily="34" charset="0"/>
                <a:ea typeface="+mn-ea"/>
                <a:cs typeface="+mn-cs"/>
              </a:rPr>
              <a:t>With the </a:t>
            </a:r>
            <a:r>
              <a:rPr lang="en-US" sz="900" b="1" i="0" kern="1200" dirty="0">
                <a:solidFill>
                  <a:schemeClr val="tx1"/>
                </a:solidFill>
                <a:effectLst/>
                <a:latin typeface="Segoe UI Light" pitchFamily="34" charset="0"/>
                <a:ea typeface="+mn-ea"/>
                <a:cs typeface="+mn-cs"/>
              </a:rPr>
              <a:t>provisioned compute tier</a:t>
            </a:r>
            <a:r>
              <a:rPr lang="en-US" sz="900" b="0" i="0" kern="1200" dirty="0">
                <a:solidFill>
                  <a:schemeClr val="tx1"/>
                </a:solidFill>
                <a:effectLst/>
                <a:latin typeface="Segoe UI Light" pitchFamily="34" charset="0"/>
                <a:ea typeface="+mn-ea"/>
                <a:cs typeface="+mn-cs"/>
              </a:rPr>
              <a:t>, you choose </a:t>
            </a:r>
            <a:r>
              <a:rPr lang="en-US" sz="900" b="1" i="0" kern="1200" dirty="0">
                <a:solidFill>
                  <a:schemeClr val="tx1"/>
                </a:solidFill>
                <a:effectLst/>
                <a:latin typeface="Segoe UI Light" pitchFamily="34" charset="0"/>
                <a:ea typeface="+mn-ea"/>
                <a:cs typeface="+mn-cs"/>
              </a:rPr>
              <a:t>the exact amount of compute resources that are always provisioned </a:t>
            </a:r>
            <a:r>
              <a:rPr lang="en-US" sz="900" b="0" i="0" kern="1200" dirty="0">
                <a:solidFill>
                  <a:schemeClr val="tx1"/>
                </a:solidFill>
                <a:effectLst/>
                <a:latin typeface="Segoe UI Light" pitchFamily="34" charset="0"/>
                <a:ea typeface="+mn-ea"/>
                <a:cs typeface="+mn-cs"/>
              </a:rPr>
              <a:t>for your workload. With the </a:t>
            </a:r>
            <a:r>
              <a:rPr lang="en-US" sz="900" b="1" i="0" kern="1200" dirty="0">
                <a:solidFill>
                  <a:schemeClr val="tx1"/>
                </a:solidFill>
                <a:effectLst/>
                <a:latin typeface="Segoe UI Light" pitchFamily="34" charset="0"/>
                <a:ea typeface="+mn-ea"/>
                <a:cs typeface="+mn-cs"/>
              </a:rPr>
              <a:t>serverless compute tier</a:t>
            </a:r>
            <a:r>
              <a:rPr lang="en-US" sz="900" b="0" i="0" kern="1200" dirty="0">
                <a:solidFill>
                  <a:schemeClr val="tx1"/>
                </a:solidFill>
                <a:effectLst/>
                <a:latin typeface="Segoe UI Light" pitchFamily="34" charset="0"/>
                <a:ea typeface="+mn-ea"/>
                <a:cs typeface="+mn-cs"/>
              </a:rPr>
              <a:t>, you specify the </a:t>
            </a:r>
            <a:r>
              <a:rPr lang="en-US" sz="900" b="1" i="0" kern="1200" dirty="0">
                <a:solidFill>
                  <a:schemeClr val="tx1"/>
                </a:solidFill>
                <a:effectLst/>
                <a:latin typeface="Segoe UI Light" pitchFamily="34" charset="0"/>
                <a:ea typeface="+mn-ea"/>
                <a:cs typeface="+mn-cs"/>
              </a:rPr>
              <a:t>autoscaling of the compute resources over a configurable compute range</a:t>
            </a:r>
            <a:r>
              <a:rPr lang="en-US" sz="900" b="0" i="0" kern="1200" dirty="0">
                <a:solidFill>
                  <a:schemeClr val="tx1"/>
                </a:solidFill>
                <a:effectLst/>
                <a:latin typeface="Segoe UI Light" pitchFamily="34" charset="0"/>
                <a:ea typeface="+mn-ea"/>
                <a:cs typeface="+mn-cs"/>
              </a:rPr>
              <a:t>. </a:t>
            </a:r>
          </a:p>
          <a:p>
            <a:r>
              <a:rPr lang="en-US" sz="900" b="0" i="0" kern="1200" dirty="0">
                <a:solidFill>
                  <a:schemeClr val="tx1"/>
                </a:solidFill>
                <a:effectLst/>
                <a:latin typeface="Segoe UI Light" pitchFamily="34" charset="0"/>
                <a:ea typeface="+mn-ea"/>
                <a:cs typeface="+mn-cs"/>
              </a:rPr>
              <a:t>With this </a:t>
            </a:r>
            <a:r>
              <a:rPr lang="en-US" sz="900" b="1" i="0" kern="1200" dirty="0">
                <a:solidFill>
                  <a:schemeClr val="tx1"/>
                </a:solidFill>
                <a:effectLst/>
                <a:latin typeface="Segoe UI Light" pitchFamily="34" charset="0"/>
                <a:ea typeface="+mn-ea"/>
                <a:cs typeface="+mn-cs"/>
              </a:rPr>
              <a:t>serverless</a:t>
            </a:r>
            <a:r>
              <a:rPr lang="en-US" sz="900" b="0" i="0" kern="1200" dirty="0">
                <a:solidFill>
                  <a:schemeClr val="tx1"/>
                </a:solidFill>
                <a:effectLst/>
                <a:latin typeface="Segoe UI Light" pitchFamily="34" charset="0"/>
                <a:ea typeface="+mn-ea"/>
                <a:cs typeface="+mn-cs"/>
              </a:rPr>
              <a:t> compute tier, you can also </a:t>
            </a:r>
            <a:r>
              <a:rPr lang="en-US" sz="900" b="1" i="0" kern="1200" dirty="0">
                <a:solidFill>
                  <a:schemeClr val="tx1"/>
                </a:solidFill>
                <a:effectLst/>
                <a:latin typeface="Segoe UI Light" pitchFamily="34" charset="0"/>
                <a:ea typeface="+mn-ea"/>
                <a:cs typeface="+mn-cs"/>
              </a:rPr>
              <a:t>automatically pause and resume the database based on workload activity</a:t>
            </a:r>
            <a:r>
              <a:rPr lang="en-US" sz="900" b="0" i="0" kern="1200" dirty="0">
                <a:solidFill>
                  <a:schemeClr val="tx1"/>
                </a:solidFill>
                <a:effectLst/>
                <a:latin typeface="Segoe UI Light" pitchFamily="34" charset="0"/>
                <a:ea typeface="+mn-ea"/>
                <a:cs typeface="+mn-cs"/>
              </a:rPr>
              <a:t>. </a:t>
            </a:r>
          </a:p>
          <a:p>
            <a:r>
              <a:rPr lang="en-US" sz="900" b="0" i="0" kern="1200" dirty="0">
                <a:solidFill>
                  <a:schemeClr val="tx1"/>
                </a:solidFill>
                <a:effectLst/>
                <a:latin typeface="Segoe UI Light" pitchFamily="34" charset="0"/>
                <a:ea typeface="+mn-ea"/>
                <a:cs typeface="+mn-cs"/>
              </a:rPr>
              <a:t>The vCore unit price per unit of time is lower in the provisioned compute tier than it is in the serverless compute tier.</a:t>
            </a:r>
            <a:endParaRPr lang="en-US" sz="900" b="0" i="0" kern="1200" baseline="0" dirty="0">
              <a:solidFill>
                <a:schemeClr val="tx1"/>
              </a:solidFill>
              <a:effectLst/>
              <a:latin typeface="Segoe UI Light" pitchFamily="34" charset="0"/>
              <a:ea typeface="+mn-ea"/>
              <a:cs typeface="+mn-cs"/>
            </a:endParaRPr>
          </a:p>
          <a:p>
            <a:pPr marL="0" lvl="0" indent="0">
              <a:buFont typeface="Arial" panose="020B0604020202020204" pitchFamily="34" charset="0"/>
              <a:buNone/>
              <a:defRPr/>
            </a:pPr>
            <a:endParaRPr lang="en-US" sz="900" b="0" i="0" kern="1200" baseline="0" dirty="0">
              <a:solidFill>
                <a:schemeClr val="tx1"/>
              </a:solidFill>
              <a:effectLst/>
              <a:latin typeface="Segoe UI Light" pitchFamily="34" charset="0"/>
              <a:ea typeface="+mn-ea"/>
              <a:cs typeface="+mn-cs"/>
            </a:endParaRPr>
          </a:p>
          <a:p>
            <a:pPr marL="0" lvl="0" indent="0">
              <a:buFont typeface="Arial" panose="020B0604020202020204" pitchFamily="34" charset="0"/>
              <a:buNone/>
              <a:defRPr/>
            </a:pPr>
            <a:r>
              <a:rPr lang="en-US" baseline="0" dirty="0"/>
              <a:t>Q5: </a:t>
            </a:r>
            <a:r>
              <a:rPr lang="en-US" sz="900" dirty="0">
                <a:solidFill>
                  <a:srgbClr val="FFFFFF"/>
                </a:solidFill>
                <a:latin typeface="+mn-lt"/>
              </a:rPr>
              <a:t>Which are the </a:t>
            </a:r>
            <a:r>
              <a:rPr lang="en-US" sz="900" dirty="0">
                <a:solidFill>
                  <a:srgbClr val="FFFFFF"/>
                </a:solidFill>
              </a:rPr>
              <a:t>two deployment options that can use DTU-based or the vCore-based purchasing model?</a:t>
            </a:r>
            <a:endParaRPr lang="en-US" sz="900" dirty="0">
              <a:solidFill>
                <a:srgbClr val="FFFFFF"/>
              </a:solidFill>
              <a:latin typeface="+mn-lt"/>
            </a:endParaRPr>
          </a:p>
          <a:p>
            <a:pPr marL="0" lvl="0" indent="0">
              <a:buFont typeface="Arial" panose="020B0604020202020204" pitchFamily="34" charset="0"/>
              <a:buNone/>
              <a:defRPr/>
            </a:pPr>
            <a:r>
              <a:rPr lang="en-US" sz="900" dirty="0">
                <a:solidFill>
                  <a:srgbClr val="FFFFFF"/>
                </a:solidFill>
                <a:latin typeface="+mn-lt"/>
              </a:rPr>
              <a:t>Answer 5: </a:t>
            </a:r>
          </a:p>
          <a:p>
            <a:r>
              <a:rPr lang="en-US" sz="900" b="1" dirty="0">
                <a:solidFill>
                  <a:srgbClr val="FFFFFF"/>
                </a:solidFill>
                <a:latin typeface="+mn-lt"/>
              </a:rPr>
              <a:t>Single database </a:t>
            </a:r>
            <a:r>
              <a:rPr lang="en-US" sz="900" dirty="0">
                <a:solidFill>
                  <a:srgbClr val="FFFFFF"/>
                </a:solidFill>
                <a:latin typeface="+mn-lt"/>
              </a:rPr>
              <a:t>and </a:t>
            </a:r>
            <a:r>
              <a:rPr lang="en-US" sz="900" b="1" dirty="0">
                <a:solidFill>
                  <a:srgbClr val="FFFFFF"/>
                </a:solidFill>
                <a:latin typeface="+mn-lt"/>
              </a:rPr>
              <a:t>Elastic pool </a:t>
            </a:r>
          </a:p>
          <a:p>
            <a:pPr marL="217262" lvl="1" indent="0">
              <a:buNone/>
            </a:pPr>
            <a:endParaRPr lang="en-AU" dirty="0"/>
          </a:p>
          <a:p>
            <a:pPr marL="217262" lvl="1" indent="0">
              <a:buNone/>
            </a:pPr>
            <a:endParaRPr lang="en-AU" dirty="0"/>
          </a:p>
          <a:p>
            <a:pPr marL="217262" lvl="1" indent="0">
              <a:buNone/>
            </a:pPr>
            <a:endParaRPr lang="en-AU"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4</a:t>
            </a:fld>
            <a:endParaRPr lang="en-US" noProof="0"/>
          </a:p>
        </p:txBody>
      </p:sp>
    </p:spTree>
    <p:extLst>
      <p:ext uri="{BB962C8B-B14F-4D97-AF65-F5344CB8AC3E}">
        <p14:creationId xmlns:p14="http://schemas.microsoft.com/office/powerpoint/2010/main" val="15192162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nl-BE"/>
              <a:t>In this lesson we will be covering the prerequisites for Azure SQL Database and how to create a database.</a:t>
            </a:r>
          </a:p>
          <a:p>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5</a:t>
            </a:fld>
            <a:endParaRPr lang="en-US" noProof="0"/>
          </a:p>
        </p:txBody>
      </p:sp>
    </p:spTree>
    <p:extLst>
      <p:ext uri="{BB962C8B-B14F-4D97-AF65-F5344CB8AC3E}">
        <p14:creationId xmlns:p14="http://schemas.microsoft.com/office/powerpoint/2010/main" val="13365049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baseline="0">
                <a:solidFill>
                  <a:schemeClr val="tx1"/>
                </a:solidFill>
                <a:effectLst/>
                <a:latin typeface="Segoe UI Light" pitchFamily="34" charset="0"/>
                <a:ea typeface="+mn-ea"/>
                <a:cs typeface="+mn-cs"/>
              </a:rPr>
              <a:t>A SQL Server is typically hosted on a physical or virtual machine and is referred to as an “instance” of SQL Server. </a:t>
            </a:r>
          </a:p>
          <a:p>
            <a:r>
              <a:rPr lang="en-US" sz="800" kern="1200" baseline="0">
                <a:solidFill>
                  <a:schemeClr val="tx1"/>
                </a:solidFill>
                <a:effectLst/>
                <a:latin typeface="Segoe UI Light" pitchFamily="34" charset="0"/>
                <a:ea typeface="+mn-ea"/>
                <a:cs typeface="+mn-cs"/>
              </a:rPr>
              <a:t>An Azure SQL Database Server is referred to as a logical server. It looks like a SQL Server instance, but it is technically a TDS (Tabular Data Stream) endpoint running as a microservice. Azure routes your requests to the physical primary replica of the database. </a:t>
            </a:r>
          </a:p>
          <a:p>
            <a:endParaRPr lang="en-US" sz="800" kern="1200" baseline="0">
              <a:solidFill>
                <a:schemeClr val="tx1"/>
              </a:solidFill>
              <a:effectLst/>
              <a:latin typeface="Segoe UI Light" pitchFamily="34" charset="0"/>
              <a:ea typeface="+mn-ea"/>
              <a:cs typeface="+mn-cs"/>
            </a:endParaRP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7</a:t>
            </a:fld>
            <a:endParaRPr lang="en-US" noProof="0"/>
          </a:p>
        </p:txBody>
      </p:sp>
    </p:spTree>
    <p:extLst>
      <p:ext uri="{BB962C8B-B14F-4D97-AF65-F5344CB8AC3E}">
        <p14:creationId xmlns:p14="http://schemas.microsoft.com/office/powerpoint/2010/main" val="17052451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0">
                <a:effectLst/>
                <a:latin typeface="Segoe UI" panose="020B0502040204020203" pitchFamily="34" charset="0"/>
              </a:rPr>
              <a:t>We</a:t>
            </a:r>
            <a:r>
              <a:rPr lang="en-US" b="0" baseline="0">
                <a:effectLst/>
                <a:latin typeface="Segoe UI" panose="020B0502040204020203" pitchFamily="34" charset="0"/>
              </a:rPr>
              <a:t> have the concept of a logical SQL </a:t>
            </a:r>
            <a:r>
              <a:rPr lang="en-US">
                <a:latin typeface="Segoe UI" panose="020B0502040204020203" pitchFamily="34" charset="0"/>
              </a:rPr>
              <a:t>S</a:t>
            </a:r>
            <a:r>
              <a:rPr lang="en-US" b="0" baseline="0">
                <a:effectLst/>
                <a:latin typeface="Segoe UI" panose="020B0502040204020203" pitchFamily="34" charset="0"/>
              </a:rPr>
              <a:t>erver but it’s just a logical grouping of databases.</a:t>
            </a:r>
          </a:p>
          <a:p>
            <a:pPr rtl="0"/>
            <a:r>
              <a:rPr lang="en-US" b="0" baseline="0">
                <a:effectLst/>
                <a:latin typeface="Segoe UI" panose="020B0502040204020203" pitchFamily="34" charset="0"/>
              </a:rPr>
              <a:t>You get a Fully Qualified Domain Name (FQDN) from Azure. That’s included in your connections string as normal and initially the only database visible is the master system database</a:t>
            </a:r>
          </a:p>
          <a:p>
            <a:pPr rtl="0"/>
            <a:endParaRPr lang="en-US" b="0" baseline="0">
              <a:effectLst/>
              <a:latin typeface="Segoe UI" panose="020B0502040204020203" pitchFamily="34" charset="0"/>
            </a:endParaRPr>
          </a:p>
          <a:p>
            <a:pPr rtl="0"/>
            <a:r>
              <a:rPr lang="en-US" b="0" baseline="0">
                <a:effectLst/>
                <a:latin typeface="Segoe UI" panose="020B0502040204020203" pitchFamily="34" charset="0"/>
              </a:rPr>
              <a:t>To provision a logical SQL Server using the Azure Portal:</a:t>
            </a:r>
          </a:p>
          <a:p>
            <a:pPr marL="228600" indent="-228600" rtl="0">
              <a:buFont typeface="+mj-lt"/>
              <a:buAutoNum type="arabicPeriod"/>
            </a:pPr>
            <a:r>
              <a:rPr lang="en-US" b="0" baseline="0">
                <a:effectLst/>
                <a:latin typeface="Segoe UI" panose="020B0502040204020203" pitchFamily="34" charset="0"/>
              </a:rPr>
              <a:t>Log on to the portal</a:t>
            </a:r>
          </a:p>
          <a:p>
            <a:pPr marL="228600" indent="-228600" rtl="0">
              <a:buFont typeface="+mj-lt"/>
              <a:buAutoNum type="arabicPeriod"/>
            </a:pPr>
            <a:r>
              <a:rPr lang="en-US" b="0" baseline="0">
                <a:effectLst/>
                <a:latin typeface="Segoe UI" panose="020B0502040204020203" pitchFamily="34" charset="0"/>
              </a:rPr>
              <a:t>Select ‘</a:t>
            </a:r>
            <a:r>
              <a:rPr lang="en-US" b="1" baseline="0">
                <a:effectLst/>
                <a:latin typeface="Segoe UI" panose="020B0502040204020203" pitchFamily="34" charset="0"/>
              </a:rPr>
              <a:t>Create a resource</a:t>
            </a:r>
            <a:r>
              <a:rPr lang="en-US" b="0" baseline="0">
                <a:effectLst/>
                <a:latin typeface="Segoe UI" panose="020B0502040204020203" pitchFamily="34" charset="0"/>
              </a:rPr>
              <a: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0" baseline="0">
                <a:effectLst/>
                <a:latin typeface="Segoe UI" panose="020B0502040204020203" pitchFamily="34" charset="0"/>
              </a:rPr>
              <a:t>Search the Marketplace box for ‘</a:t>
            </a:r>
            <a:r>
              <a:rPr lang="en-US" sz="800" b="1" i="0" kern="1200">
                <a:solidFill>
                  <a:schemeClr val="tx1"/>
                </a:solidFill>
                <a:effectLst/>
                <a:latin typeface="Segoe UI Light" pitchFamily="34" charset="0"/>
                <a:ea typeface="+mn-ea"/>
                <a:cs typeface="+mn-cs"/>
              </a:rPr>
              <a:t>SQL server (logical server)</a:t>
            </a:r>
            <a:r>
              <a:rPr lang="en-US" b="0" baseline="0">
                <a:effectLst/>
                <a:latin typeface="Segoe UI" panose="020B0502040204020203" pitchFamily="34" charset="0"/>
              </a:rPr>
              <a:t>’</a:t>
            </a:r>
          </a:p>
          <a:p>
            <a:pPr marL="228600" indent="-228600" rtl="0">
              <a:buFont typeface="+mj-lt"/>
              <a:buAutoNum type="arabicPeriod"/>
            </a:pPr>
            <a:r>
              <a:rPr lang="en-US" b="0" baseline="0">
                <a:effectLst/>
                <a:latin typeface="Segoe UI" panose="020B0502040204020203" pitchFamily="34" charset="0"/>
              </a:rPr>
              <a:t>Click </a:t>
            </a:r>
            <a:r>
              <a:rPr lang="en-US" b="1" baseline="0">
                <a:effectLst/>
                <a:latin typeface="Segoe UI" panose="020B0502040204020203" pitchFamily="34" charset="0"/>
              </a:rPr>
              <a:t>Create</a:t>
            </a:r>
          </a:p>
          <a:p>
            <a:pPr marL="228600" indent="-228600" rtl="0">
              <a:buFont typeface="+mj-lt"/>
              <a:buAutoNum type="arabicPeriod"/>
            </a:pPr>
            <a:r>
              <a:rPr lang="en-US" b="0" baseline="0">
                <a:effectLst/>
                <a:latin typeface="Segoe UI" panose="020B0502040204020203" pitchFamily="34" charset="0"/>
              </a:rPr>
              <a:t>Specify the following parameters:</a:t>
            </a:r>
          </a:p>
          <a:p>
            <a:pPr marL="0" indent="0" rtl="0">
              <a:buFont typeface="Arial" panose="020B0604020202020204" pitchFamily="34" charset="0"/>
              <a:buNone/>
            </a:pPr>
            <a:r>
              <a:rPr lang="en-US" b="1" baseline="0">
                <a:effectLst/>
                <a:latin typeface="Segoe UI" panose="020B0502040204020203" pitchFamily="34" charset="0"/>
              </a:rPr>
              <a:t>Basics</a:t>
            </a:r>
          </a:p>
          <a:p>
            <a:pPr marL="228600" indent="-228600" rtl="0">
              <a:buFont typeface="Arial" panose="020B0604020202020204" pitchFamily="34" charset="0"/>
              <a:buChar char="•"/>
            </a:pPr>
            <a:r>
              <a:rPr lang="en-US" b="0" baseline="0">
                <a:effectLst/>
                <a:latin typeface="Segoe UI" panose="020B0502040204020203" pitchFamily="34" charset="0"/>
              </a:rPr>
              <a:t>Subscription</a:t>
            </a:r>
          </a:p>
          <a:p>
            <a:pPr marL="228600" indent="-228600" rtl="0">
              <a:buFont typeface="Arial" panose="020B0604020202020204" pitchFamily="34" charset="0"/>
              <a:buChar char="•"/>
            </a:pPr>
            <a:r>
              <a:rPr lang="en-US" b="0" baseline="0">
                <a:effectLst/>
                <a:latin typeface="Segoe UI" panose="020B0502040204020203" pitchFamily="34" charset="0"/>
              </a:rPr>
              <a:t>Resource group</a:t>
            </a:r>
          </a:p>
          <a:p>
            <a:pPr marL="228600" indent="-228600" rtl="0">
              <a:buFont typeface="Arial" panose="020B0604020202020204" pitchFamily="34" charset="0"/>
              <a:buChar char="•"/>
            </a:pPr>
            <a:r>
              <a:rPr lang="en-US" b="0" baseline="0">
                <a:effectLst/>
                <a:latin typeface="Segoe UI" panose="020B0502040204020203" pitchFamily="34" charset="0"/>
              </a:rPr>
              <a:t>Server name</a:t>
            </a:r>
          </a:p>
          <a:p>
            <a:pPr marL="228600" indent="-228600" rtl="0">
              <a:buFont typeface="Arial" panose="020B0604020202020204" pitchFamily="34" charset="0"/>
              <a:buChar char="•"/>
            </a:pPr>
            <a:r>
              <a:rPr lang="en-US" b="0" baseline="0">
                <a:effectLst/>
                <a:latin typeface="Segoe UI" panose="020B0502040204020203" pitchFamily="34" charset="0"/>
              </a:rPr>
              <a:t>Location</a:t>
            </a:r>
          </a:p>
          <a:p>
            <a:pPr marL="228600" indent="-228600" rtl="0">
              <a:buFont typeface="Arial" panose="020B0604020202020204" pitchFamily="34" charset="0"/>
              <a:buChar char="•"/>
            </a:pPr>
            <a:r>
              <a:rPr lang="en-US" b="0" baseline="0">
                <a:effectLst/>
                <a:latin typeface="Segoe UI" panose="020B0502040204020203" pitchFamily="34" charset="0"/>
              </a:rPr>
              <a:t>Server admin login</a:t>
            </a:r>
          </a:p>
          <a:p>
            <a:pPr marL="228600" indent="-228600" rtl="0">
              <a:buFont typeface="Arial" panose="020B0604020202020204" pitchFamily="34" charset="0"/>
              <a:buChar char="•"/>
            </a:pPr>
            <a:r>
              <a:rPr lang="en-US" b="0" baseline="0">
                <a:effectLst/>
                <a:latin typeface="Segoe UI" panose="020B0502040204020203" pitchFamily="34" charset="0"/>
              </a:rPr>
              <a:t>Password</a:t>
            </a:r>
          </a:p>
          <a:p>
            <a:pPr rtl="0"/>
            <a:r>
              <a:rPr lang="en-US" b="1" baseline="0">
                <a:effectLst/>
                <a:latin typeface="Segoe UI" panose="020B0502040204020203" pitchFamily="34" charset="0"/>
              </a:rPr>
              <a:t>Networking</a:t>
            </a:r>
          </a:p>
          <a:p>
            <a:pPr rtl="0"/>
            <a:r>
              <a:rPr lang="en-US" b="0" baseline="0">
                <a:effectLst/>
                <a:latin typeface="Segoe UI" panose="020B0502040204020203" pitchFamily="34" charset="0"/>
              </a:rPr>
              <a:t>Firewall rules, allow Azure services and resources to access this server (Yes/No)</a:t>
            </a:r>
          </a:p>
          <a:p>
            <a:pPr rtl="0"/>
            <a:r>
              <a:rPr lang="en-US" sz="800" b="1" i="0" kern="1200">
                <a:solidFill>
                  <a:schemeClr val="tx1"/>
                </a:solidFill>
                <a:effectLst/>
                <a:latin typeface="Segoe UI Light" pitchFamily="34" charset="0"/>
                <a:ea typeface="+mn-ea"/>
                <a:cs typeface="+mn-cs"/>
              </a:rPr>
              <a:t>Advanced data security</a:t>
            </a:r>
          </a:p>
          <a:p>
            <a:pPr rtl="0"/>
            <a:r>
              <a:rPr lang="en-US" b="0" baseline="0">
                <a:effectLst/>
                <a:latin typeface="Segoe UI" panose="020B0502040204020203" pitchFamily="34" charset="0"/>
              </a:rPr>
              <a:t>Enable advanced data security (Start free trial/Not now)</a:t>
            </a:r>
          </a:p>
          <a:p>
            <a:pPr rtl="0"/>
            <a:endParaRPr lang="en-US" b="0" baseline="0">
              <a:effectLst/>
              <a:latin typeface="Segoe UI" panose="020B0502040204020203" pitchFamily="34" charset="0"/>
            </a:endParaRPr>
          </a:p>
          <a:p>
            <a:pPr rtl="0"/>
            <a:r>
              <a:rPr lang="en-US" b="0" baseline="0">
                <a:effectLst/>
                <a:latin typeface="Segoe UI" panose="020B0502040204020203" pitchFamily="34" charset="0"/>
              </a:rPr>
              <a:t>You can also use Azure PowerShell or Command Line Interface (CLI) to provision the logical SQL Server.</a:t>
            </a:r>
            <a:endParaRPr lang="en-US" b="0">
              <a:effectLst/>
            </a:endParaRPr>
          </a:p>
          <a:p>
            <a:endParaRPr lang="nl-BE"/>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8</a:t>
            </a:fld>
            <a:endParaRPr lang="en-US" noProof="0"/>
          </a:p>
        </p:txBody>
      </p:sp>
    </p:spTree>
    <p:extLst>
      <p:ext uri="{BB962C8B-B14F-4D97-AF65-F5344CB8AC3E}">
        <p14:creationId xmlns:p14="http://schemas.microsoft.com/office/powerpoint/2010/main" val="25740171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Firewall overview</a:t>
            </a:r>
          </a:p>
          <a:p>
            <a:r>
              <a:rPr lang="en-US"/>
              <a:t>Initially, all Transact-SQL access to your Azure SQL Server is blocked by the firewall. To begin using your Azure SQL Server, you can specify one or more server-level firewall rules that enable access. Use the firewall rules to specify which IP address ranges from the Internet are allowed, and whether Azure applications can attempt to connect to your Azure SQL Server. Of course, additionally, a login and password is still required for access.</a:t>
            </a:r>
          </a:p>
          <a:p>
            <a:r>
              <a:rPr lang="en-US"/>
              <a:t>To selectively grant access to just one of the databases in your Azure SQL Server, you must create a database-level rule for the required database. Specify an IP address range for the database firewall rule that is outside the IP address range specified in the server-level firewall rule, and ensure that the IP address of the client falls in the range specified in the database-level rule.</a:t>
            </a:r>
          </a:p>
          <a:p>
            <a:r>
              <a:rPr lang="en-US"/>
              <a:t>Connection attempts from the Internet and Azure must first pass through the firewall before they can reach your Azure SQL Server or SQL Database, as shown in the diagram:</a:t>
            </a:r>
          </a:p>
          <a:p>
            <a:endParaRPr lang="en-US"/>
          </a:p>
          <a:p>
            <a:pPr rtl="0"/>
            <a:r>
              <a:rPr lang="en-US" b="1"/>
              <a:t>Server-level firewall rules:</a:t>
            </a:r>
            <a:r>
              <a:rPr lang="en-US"/>
              <a:t> These rules enable clients to access your entire Azure SQL Server, that is, all the databases within the same logical server. These rules are stored in the </a:t>
            </a:r>
            <a:r>
              <a:rPr lang="en-US" b="1"/>
              <a:t>master</a:t>
            </a:r>
            <a:r>
              <a:rPr lang="en-US"/>
              <a:t> database. Server-level firewall rules can be configured by using the portal or by using Transact-SQL statements. To create server-level firewall rules using the Azure portal or PowerShell, you must be the subscription owner or a subscription contributor. To create a server-level firewall rule using Transact-SQL, you must connect to the SQL Database instance as the server-level principal login or the Azure Active Directory administrator (which means that a server-level firewall rule must first be created by a user with Azure-level permissions).</a:t>
            </a:r>
          </a:p>
          <a:p>
            <a:pPr rtl="0"/>
            <a:r>
              <a:rPr lang="en-US" b="1"/>
              <a:t>Database-level firewall rules:</a:t>
            </a:r>
            <a:r>
              <a:rPr lang="en-US"/>
              <a:t> These rules enable clients to access certain (secure) databases within the same logical server. You can create these rules for each database (including the </a:t>
            </a:r>
            <a:r>
              <a:rPr lang="en-US" b="1"/>
              <a:t>master</a:t>
            </a:r>
            <a:r>
              <a:rPr lang="en-US"/>
              <a:t> database) and they are stored in the individual databases. Database-level firewall rules for master and user databases can only be created and managed by using Transact-SQL statements and only after you have configured the first server-level firewall. If you specify an IP address range in the database-level firewall rule that is outside the range specified in the server-level firewall rule, only those clients that have IP addresses in the database-level range can access the database. You can have a maximum of 128 database-level firewall rules for a database. For more information on configuring database-level firewall rules, see the example later in this article and see </a:t>
            </a:r>
            <a:r>
              <a:rPr lang="en-US" err="1">
                <a:hlinkClick r:id="rId3"/>
              </a:rPr>
              <a:t>sp_set_database_firewall_rule</a:t>
            </a:r>
            <a:r>
              <a:rPr lang="en-US">
                <a:hlinkClick r:id="rId3"/>
              </a:rPr>
              <a:t> (Azure SQL Databases)</a:t>
            </a:r>
            <a:r>
              <a:rPr lang="en-US"/>
              <a:t>.</a:t>
            </a:r>
          </a:p>
          <a:p>
            <a:pPr rtl="0"/>
            <a:endParaRPr lang="en-US" b="1"/>
          </a:p>
          <a:p>
            <a:pPr rtl="0"/>
            <a:r>
              <a:rPr lang="en-US" b="1"/>
              <a:t>Recommendation:</a:t>
            </a:r>
            <a:r>
              <a:rPr lang="en-US"/>
              <a:t> Microsoft recommends using database-level firewall rules whenever possible to enhance security and to make your database more portable. Use server-level firewall rules for administrators and when you have many databases that have the same access requirements and you don't want to spend time configuring each database individually.</a:t>
            </a:r>
          </a:p>
          <a:p>
            <a:pPr rtl="0"/>
            <a:endParaRPr lang="en-US"/>
          </a:p>
          <a:p>
            <a:pPr rtl="0"/>
            <a:r>
              <a:rPr lang="en-US"/>
              <a:t>Further details will be discussed in the security module.</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9</a:t>
            </a:fld>
            <a:endParaRPr lang="en-US" noProof="0"/>
          </a:p>
        </p:txBody>
      </p:sp>
    </p:spTree>
    <p:extLst>
      <p:ext uri="{BB962C8B-B14F-4D97-AF65-F5344CB8AC3E}">
        <p14:creationId xmlns:p14="http://schemas.microsoft.com/office/powerpoint/2010/main" val="27048991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wn on the slide are 3 example ways to create an Azure SQL Database:</a:t>
            </a:r>
          </a:p>
          <a:p>
            <a:pPr marL="228600" indent="-228600">
              <a:buAutoNum type="arabicPeriod"/>
            </a:pPr>
            <a:r>
              <a:rPr lang="en-US"/>
              <a:t>Azure Portal</a:t>
            </a:r>
          </a:p>
          <a:p>
            <a:pPr marL="228600" indent="-228600">
              <a:buAutoNum type="arabicPeriod"/>
            </a:pPr>
            <a:r>
              <a:rPr lang="en-US"/>
              <a:t>Azure PowerShell</a:t>
            </a:r>
          </a:p>
          <a:p>
            <a:pPr marL="228600" indent="-228600">
              <a:buAutoNum type="arabicPeriod"/>
            </a:pPr>
            <a:r>
              <a:rPr lang="en-US"/>
              <a:t>Transact-SQL</a:t>
            </a:r>
          </a:p>
          <a:p>
            <a:pPr marL="0" indent="0">
              <a:buNone/>
            </a:pPr>
            <a:endParaRPr lang="en-US" sz="800" b="0" i="0" kern="1200">
              <a:solidFill>
                <a:schemeClr val="tx1"/>
              </a:solidFill>
              <a:effectLst/>
              <a:latin typeface="Segoe UI Light" pitchFamily="34" charset="0"/>
              <a:ea typeface="+mn-ea"/>
              <a:cs typeface="+mn-cs"/>
            </a:endParaRPr>
          </a:p>
          <a:p>
            <a:pPr marL="0" indent="0">
              <a:buNone/>
            </a:pPr>
            <a:r>
              <a:rPr lang="en-US" sz="800" b="0" i="0" kern="1200">
                <a:solidFill>
                  <a:schemeClr val="tx1"/>
                </a:solidFill>
                <a:effectLst/>
                <a:latin typeface="Segoe UI Light" pitchFamily="34" charset="0"/>
                <a:ea typeface="+mn-ea"/>
                <a:cs typeface="+mn-cs"/>
              </a:rPr>
              <a:t>It can also be created with a JSON file, example </a:t>
            </a:r>
            <a:r>
              <a:rPr lang="en-US">
                <a:hlinkClick r:id="rId3"/>
              </a:rPr>
              <a:t>https://raw.githubusercontent.com/Azure/azure-docs-json-samples/master/SQLServerAndDatabase/azuredeploy.json</a:t>
            </a:r>
            <a:r>
              <a:rPr lang="en-US" sz="800" b="0" i="0" kern="1200">
                <a:solidFill>
                  <a:schemeClr val="tx1"/>
                </a:solidFill>
                <a:effectLst/>
                <a:latin typeface="Segoe UI Light" pitchFamily="34" charset="0"/>
                <a:ea typeface="+mn-ea"/>
                <a:cs typeface="+mn-cs"/>
              </a:rPr>
              <a:t>. </a:t>
            </a:r>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0</a:t>
            </a:fld>
            <a:endParaRPr lang="en-US" noProof="0"/>
          </a:p>
        </p:txBody>
      </p:sp>
    </p:spTree>
    <p:extLst>
      <p:ext uri="{BB962C8B-B14F-4D97-AF65-F5344CB8AC3E}">
        <p14:creationId xmlns:p14="http://schemas.microsoft.com/office/powerpoint/2010/main" val="18757459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a:solidFill>
                  <a:srgbClr val="000000"/>
                </a:solidFill>
                <a:latin typeface="Consolas" panose="020B0609020204030204" pitchFamily="49" charset="0"/>
              </a:rPr>
              <a:t>M01L02Demo01</a:t>
            </a:r>
          </a:p>
          <a:p>
            <a:endParaRPr lang="en-US" b="1"/>
          </a:p>
          <a:p>
            <a:r>
              <a:rPr lang="en-US" b="1"/>
              <a:t>Demo setup instructions</a:t>
            </a:r>
          </a:p>
          <a:p>
            <a:pPr marL="171450" indent="-171450">
              <a:buFont typeface="Arial" panose="020B0604020202020204" pitchFamily="34" charset="0"/>
              <a:buChar char="•"/>
            </a:pPr>
            <a:r>
              <a:rPr lang="en-US"/>
              <a:t>The latest version of the SQL Server Management Studio</a:t>
            </a:r>
          </a:p>
          <a:p>
            <a:pPr marL="0" indent="0">
              <a:buFont typeface="Arial" panose="020B0604020202020204" pitchFamily="34" charset="0"/>
              <a:buNone/>
            </a:pPr>
            <a:r>
              <a:rPr lang="en-US" b="1"/>
              <a:t>Steps</a:t>
            </a:r>
          </a:p>
          <a:p>
            <a:pPr marL="228600" indent="-228600">
              <a:buFont typeface="Arial" panose="020B0604020202020204" pitchFamily="34" charset="0"/>
              <a:buAutoNum type="arabicPeriod"/>
            </a:pPr>
            <a:r>
              <a:rPr lang="en-US" b="1"/>
              <a:t>Connect to the Azure Portal, click on “Create a resource” and search for SQL Server (logical server)</a:t>
            </a:r>
          </a:p>
          <a:p>
            <a:pPr marL="228600" indent="-228600">
              <a:buFont typeface="Arial" panose="020B0604020202020204" pitchFamily="34" charset="0"/>
              <a:buAutoNum type="arabicPeriod"/>
            </a:pPr>
            <a:r>
              <a:rPr lang="en-US" b="1"/>
              <a:t>Create a logical server</a:t>
            </a:r>
          </a:p>
          <a:p>
            <a:pPr marL="217262" lvl="1" indent="0">
              <a:buFont typeface="Arial" panose="020B0604020202020204" pitchFamily="34" charset="0"/>
              <a:buNone/>
            </a:pPr>
            <a:r>
              <a:rPr lang="en-US" sz="900" b="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Server Name	</a:t>
            </a:r>
            <a:r>
              <a:rPr lang="en-US" sz="900" err="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myazuresrv</a:t>
            </a:r>
            <a:r>
              <a:rPr lang="en-US"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 (if the name is already in use, try another name until you notice that it’s not yet in use)</a:t>
            </a:r>
            <a:endParaRPr lang="nl-BE"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217262" lvl="1" indent="0">
              <a:buFont typeface="Arial" panose="020B0604020202020204" pitchFamily="34" charset="0"/>
              <a:buNone/>
            </a:pPr>
            <a:r>
              <a:rPr lang="en-US" sz="900" b="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Server Admin Login	</a:t>
            </a:r>
            <a:r>
              <a:rPr lang="en-US" sz="900" err="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AzureAdmin</a:t>
            </a:r>
            <a:endParaRPr lang="nl-BE"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217262" lvl="1" indent="0">
              <a:buFont typeface="Arial" panose="020B0604020202020204" pitchFamily="34" charset="0"/>
              <a:buNone/>
            </a:pPr>
            <a:r>
              <a:rPr lang="en-US" sz="900" b="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Password		</a:t>
            </a:r>
            <a:r>
              <a:rPr lang="en-US"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Passw0rd1</a:t>
            </a:r>
            <a:endParaRPr lang="nl-BE"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217262" lvl="1" indent="0">
              <a:buFont typeface="Arial" panose="020B0604020202020204" pitchFamily="34" charset="0"/>
              <a:buNone/>
            </a:pPr>
            <a:r>
              <a:rPr lang="en-US" sz="900" b="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Confirm password	</a:t>
            </a:r>
            <a:r>
              <a:rPr lang="en-US"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Passw0rd1</a:t>
            </a:r>
          </a:p>
          <a:p>
            <a:pPr marL="217262" lvl="1" indent="0">
              <a:buFont typeface="Arial" panose="020B0604020202020204" pitchFamily="34" charset="0"/>
              <a:buNone/>
            </a:pPr>
            <a:r>
              <a:rPr lang="en-US" sz="900" b="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Subscription	</a:t>
            </a:r>
            <a:r>
              <a:rPr lang="en-US"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Select your subscription</a:t>
            </a:r>
            <a:endParaRPr lang="nl-BE"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217262" lvl="1" indent="0">
              <a:buFont typeface="Arial" panose="020B0604020202020204" pitchFamily="34" charset="0"/>
              <a:buNone/>
            </a:pPr>
            <a:r>
              <a:rPr lang="en-US" sz="900" b="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Resource Group	</a:t>
            </a:r>
            <a:r>
              <a:rPr lang="en-US"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Create New and specify the name </a:t>
            </a:r>
            <a:r>
              <a:rPr lang="en-US" sz="900" err="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AzureDB</a:t>
            </a:r>
            <a:r>
              <a:rPr lang="en-US"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RG</a:t>
            </a:r>
            <a:endParaRPr lang="nl-BE"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217262" lvl="1" indent="0">
              <a:buFont typeface="Arial" panose="020B0604020202020204" pitchFamily="34" charset="0"/>
              <a:buNone/>
            </a:pPr>
            <a:r>
              <a:rPr lang="en-US" sz="900" b="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Location		</a:t>
            </a:r>
            <a:r>
              <a:rPr lang="en-US"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Select the location that is the closest to your location</a:t>
            </a:r>
            <a:endParaRPr lang="nl-BE"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0" indent="0">
              <a:buFont typeface="Arial" panose="020B0604020202020204" pitchFamily="34" charset="0"/>
              <a:buNone/>
            </a:pPr>
            <a:endParaRPr lang="en-US" b="1"/>
          </a:p>
          <a:p>
            <a:pPr marL="0" indent="0">
              <a:buFont typeface="Arial" panose="020B0604020202020204" pitchFamily="34" charset="0"/>
              <a:buNone/>
            </a:pPr>
            <a:r>
              <a:rPr lang="en-US" b="1"/>
              <a:t>3. Examine the different server options (Failover Groups, Manage backups, AD Admin, Security, Automatic Tuning…) Give a short overview, not in detail because this will be discussed later in the Workshop.</a:t>
            </a:r>
          </a:p>
          <a:p>
            <a:pPr marL="0" indent="0">
              <a:buFont typeface="Arial" panose="020B0604020202020204" pitchFamily="34" charset="0"/>
              <a:buNone/>
            </a:pPr>
            <a:endParaRPr lang="en-US" b="1"/>
          </a:p>
          <a:p>
            <a:pPr marL="0" indent="0">
              <a:buFont typeface="+mj-lt"/>
              <a:buNone/>
            </a:pPr>
            <a:r>
              <a:rPr lang="en-US" sz="900" b="1" kern="1200">
                <a:solidFill>
                  <a:schemeClr val="tx1"/>
                </a:solidFill>
                <a:effectLst/>
                <a:latin typeface="Segoe UI Light" pitchFamily="34" charset="0"/>
                <a:ea typeface="+mn-ea"/>
                <a:cs typeface="+mn-cs"/>
              </a:rPr>
              <a:t>4. Create the firewall rules on the logical server. Add the Client IP address.</a:t>
            </a:r>
          </a:p>
          <a:p>
            <a:pPr marL="0" indent="0">
              <a:buFont typeface="+mj-lt"/>
              <a:buNone/>
            </a:pPr>
            <a:r>
              <a:rPr lang="en-US" b="1"/>
              <a:t>5. Create Azure SQL Database with the portal. Go to your logical server – Overview – Click on New database</a:t>
            </a:r>
          </a:p>
          <a:p>
            <a:pPr marL="217262" lvl="1" indent="0">
              <a:buFontTx/>
              <a:buNone/>
            </a:pPr>
            <a:r>
              <a:rPr lang="en-US" sz="900" b="1" kern="1200">
                <a:solidFill>
                  <a:schemeClr val="tx1"/>
                </a:solidFill>
                <a:effectLst/>
                <a:latin typeface="Segoe UI Light" pitchFamily="34" charset="0"/>
                <a:ea typeface="+mn-ea"/>
                <a:cs typeface="+mn-cs"/>
              </a:rPr>
              <a:t>Database name	</a:t>
            </a:r>
            <a:r>
              <a:rPr lang="en-US" sz="900" b="1" kern="1200" err="1">
                <a:solidFill>
                  <a:schemeClr val="tx1"/>
                </a:solidFill>
                <a:effectLst/>
                <a:latin typeface="Segoe UI Light" pitchFamily="34" charset="0"/>
                <a:ea typeface="+mn-ea"/>
                <a:cs typeface="+mn-cs"/>
              </a:rPr>
              <a:t>Salesdb</a:t>
            </a:r>
            <a:endParaRPr lang="en-US" sz="900" b="1" kern="1200">
              <a:solidFill>
                <a:schemeClr val="tx1"/>
              </a:solidFill>
              <a:effectLst/>
              <a:latin typeface="Segoe UI Light" pitchFamily="34" charset="0"/>
              <a:ea typeface="+mn-ea"/>
              <a:cs typeface="+mn-cs"/>
            </a:endParaRPr>
          </a:p>
          <a:p>
            <a:pPr marL="217262" lvl="1" indent="0">
              <a:buFontTx/>
              <a:buNone/>
            </a:pPr>
            <a:r>
              <a:rPr lang="en-US" sz="900" b="1" kern="1200">
                <a:solidFill>
                  <a:schemeClr val="tx1"/>
                </a:solidFill>
                <a:effectLst/>
                <a:latin typeface="Segoe UI Light" pitchFamily="34" charset="0"/>
                <a:ea typeface="+mn-ea"/>
                <a:cs typeface="+mn-cs"/>
              </a:rPr>
              <a:t>Source Database	</a:t>
            </a:r>
            <a:r>
              <a:rPr lang="en-US" sz="900" b="0" kern="1200">
                <a:solidFill>
                  <a:schemeClr val="tx1"/>
                </a:solidFill>
                <a:effectLst/>
                <a:latin typeface="Segoe UI Light" pitchFamily="34" charset="0"/>
                <a:ea typeface="+mn-ea"/>
                <a:cs typeface="+mn-cs"/>
              </a:rPr>
              <a:t>Blank Database</a:t>
            </a:r>
            <a:endParaRPr lang="nl-BE" sz="900" b="0" kern="1200">
              <a:solidFill>
                <a:schemeClr val="tx1"/>
              </a:solidFill>
              <a:effectLst/>
              <a:latin typeface="Segoe UI Light" pitchFamily="34" charset="0"/>
              <a:ea typeface="+mn-ea"/>
              <a:cs typeface="+mn-cs"/>
            </a:endParaRPr>
          </a:p>
          <a:p>
            <a:pPr marL="217262" lvl="1" indent="0">
              <a:buFontTx/>
              <a:buNone/>
            </a:pPr>
            <a:r>
              <a:rPr lang="nl-BE" sz="900" b="1" kern="1200">
                <a:solidFill>
                  <a:schemeClr val="tx1"/>
                </a:solidFill>
                <a:effectLst/>
                <a:latin typeface="Segoe UI Light" pitchFamily="34" charset="0"/>
                <a:ea typeface="+mn-ea"/>
                <a:cs typeface="+mn-cs"/>
              </a:rPr>
              <a:t>Server		</a:t>
            </a:r>
            <a:r>
              <a:rPr lang="nl-BE" sz="900" b="0" kern="1200">
                <a:solidFill>
                  <a:schemeClr val="tx1"/>
                </a:solidFill>
                <a:effectLst/>
                <a:latin typeface="Segoe UI Light" pitchFamily="34" charset="0"/>
                <a:ea typeface="+mn-ea"/>
                <a:cs typeface="+mn-cs"/>
              </a:rPr>
              <a:t>This should be your logical server name</a:t>
            </a:r>
          </a:p>
          <a:p>
            <a:pPr marL="217262" marR="0" lvl="1" indent="0" algn="l" defTabSz="932742" rtl="0" eaLnBrk="1" fontAlgn="auto" latinLnBrk="0" hangingPunct="1">
              <a:lnSpc>
                <a:spcPct val="90000"/>
              </a:lnSpc>
              <a:spcBef>
                <a:spcPts val="0"/>
              </a:spcBef>
              <a:spcAft>
                <a:spcPts val="340"/>
              </a:spcAft>
              <a:buClrTx/>
              <a:buSzTx/>
              <a:buFontTx/>
              <a:buNone/>
              <a:tabLst/>
              <a:defRPr/>
            </a:pPr>
            <a:r>
              <a:rPr lang="en-US" sz="900" b="1" kern="1200">
                <a:solidFill>
                  <a:schemeClr val="tx1"/>
                </a:solidFill>
                <a:effectLst/>
                <a:latin typeface="Segoe UI Light" pitchFamily="34" charset="0"/>
                <a:ea typeface="+mn-ea"/>
                <a:cs typeface="+mn-cs"/>
              </a:rPr>
              <a:t>Want to use SQL elastic pool?	</a:t>
            </a:r>
            <a:r>
              <a:rPr lang="en-US" sz="900" kern="1200">
                <a:solidFill>
                  <a:schemeClr val="tx1"/>
                </a:solidFill>
                <a:effectLst/>
                <a:latin typeface="Segoe UI Light" pitchFamily="34" charset="0"/>
                <a:ea typeface="+mn-ea"/>
                <a:cs typeface="+mn-cs"/>
              </a:rPr>
              <a:t>Not now</a:t>
            </a:r>
            <a:endParaRPr lang="nl-BE" sz="900" kern="1200">
              <a:solidFill>
                <a:schemeClr val="tx1"/>
              </a:solidFill>
              <a:effectLst/>
              <a:latin typeface="Segoe UI Light" pitchFamily="34" charset="0"/>
              <a:ea typeface="+mn-ea"/>
              <a:cs typeface="+mn-cs"/>
            </a:endParaRPr>
          </a:p>
          <a:p>
            <a:pPr marL="217262" lvl="1" indent="0">
              <a:buFontTx/>
              <a:buNone/>
            </a:pPr>
            <a:r>
              <a:rPr lang="nl-BE" sz="900" b="1" kern="1200">
                <a:solidFill>
                  <a:schemeClr val="tx1"/>
                </a:solidFill>
                <a:effectLst/>
                <a:latin typeface="Segoe UI Light" pitchFamily="34" charset="0"/>
                <a:ea typeface="+mn-ea"/>
                <a:cs typeface="+mn-cs"/>
              </a:rPr>
              <a:t>Pricing Tier		</a:t>
            </a:r>
            <a:r>
              <a:rPr lang="nl-BE" sz="900" b="0" kern="1200">
                <a:solidFill>
                  <a:schemeClr val="tx1"/>
                </a:solidFill>
                <a:effectLst/>
                <a:latin typeface="Segoe UI Light" pitchFamily="34" charset="0"/>
                <a:ea typeface="+mn-ea"/>
                <a:cs typeface="+mn-cs"/>
              </a:rPr>
              <a:t>Basic</a:t>
            </a:r>
            <a:endParaRPr lang="nl-BE" sz="900" b="1" kern="1200">
              <a:solidFill>
                <a:schemeClr val="tx1"/>
              </a:solidFill>
              <a:effectLst/>
              <a:latin typeface="Segoe UI Light" pitchFamily="34" charset="0"/>
              <a:ea typeface="+mn-ea"/>
              <a:cs typeface="+mn-cs"/>
            </a:endParaRPr>
          </a:p>
          <a:p>
            <a:pPr marL="217262" lvl="1" indent="0">
              <a:buFontTx/>
              <a:buNone/>
            </a:pPr>
            <a:r>
              <a:rPr lang="en-US" sz="900" b="1" kern="1200">
                <a:solidFill>
                  <a:schemeClr val="tx1"/>
                </a:solidFill>
                <a:effectLst/>
                <a:latin typeface="Segoe UI Light" pitchFamily="34" charset="0"/>
                <a:ea typeface="+mn-ea"/>
                <a:cs typeface="+mn-cs"/>
              </a:rPr>
              <a:t>Collation		</a:t>
            </a:r>
            <a:r>
              <a:rPr lang="en-US" sz="900" kern="1200">
                <a:solidFill>
                  <a:schemeClr val="tx1"/>
                </a:solidFill>
                <a:effectLst/>
                <a:latin typeface="Segoe UI Light" pitchFamily="34" charset="0"/>
                <a:ea typeface="+mn-ea"/>
                <a:cs typeface="+mn-cs"/>
              </a:rPr>
              <a:t>SQL_Latin1_General_CP1_CI_AS</a:t>
            </a:r>
            <a:endParaRPr lang="nl-BE" sz="900" kern="1200">
              <a:solidFill>
                <a:schemeClr val="tx1"/>
              </a:solidFill>
              <a:effectLst/>
              <a:latin typeface="Segoe UI Light" pitchFamily="34" charset="0"/>
              <a:ea typeface="+mn-ea"/>
              <a:cs typeface="+mn-cs"/>
            </a:endParaRPr>
          </a:p>
          <a:p>
            <a:pPr marL="228600" indent="-228600">
              <a:buFont typeface="+mj-lt"/>
              <a:buAutoNum type="arabicPeriod" startAt="3"/>
            </a:pPr>
            <a:endParaRPr lang="en-US" b="1"/>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1321166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800">
                <a:solidFill>
                  <a:srgbClr val="000000"/>
                </a:solidFill>
                <a:latin typeface="Consolas" panose="020B0609020204030204" pitchFamily="49" charset="0"/>
              </a:rPr>
              <a:t>M01L02Lab01</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19918335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159812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0" i="0" u="none" strike="noStrike" kern="1200">
                <a:solidFill>
                  <a:schemeClr val="tx1"/>
                </a:solidFill>
                <a:effectLst/>
                <a:latin typeface="Segoe UI Light" pitchFamily="34" charset="0"/>
                <a:ea typeface="+mn-ea"/>
                <a:cs typeface="+mn-cs"/>
              </a:rPr>
              <a:t>After this section, the attendee should be able to explain differences between IaaS, PaaS, SaaS and position Azure SQL Database</a:t>
            </a:r>
            <a:r>
              <a:rPr lang="en-US"/>
              <a:t> under Platform-as-a-Service (PaaS). Within PaaS, managed databases are sometimes referred to as Database-as-a-service (DBaaS).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21710495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800" b="0" i="0" u="none" strike="noStrike" kern="1200" cap="none" spc="0" normalizeH="0" baseline="0" noProof="0">
                <a:ln>
                  <a:noFill/>
                </a:ln>
                <a:solidFill>
                  <a:srgbClr val="FFFFFF"/>
                </a:solidFill>
                <a:effectLst/>
                <a:uLnTx/>
                <a:uFillTx/>
                <a:latin typeface="+mn-lt"/>
                <a:ea typeface="+mn-ea"/>
                <a:cs typeface="+mn-cs"/>
              </a:rPr>
              <a:t>Q1: Why do you need to configure the Azure SQL Database Firewall and why is it important?</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a:t>Answer 1</a:t>
            </a:r>
            <a:r>
              <a:rPr lang="en-US" baseline="0"/>
              <a:t>:</a:t>
            </a:r>
          </a:p>
          <a:p>
            <a:r>
              <a:rPr lang="en-US"/>
              <a:t>Initially, all Transact-SQL access to your Azure SQL server is blocked by the firewall. To begin using your Azure SQL Server, you can specify one or more </a:t>
            </a:r>
            <a:r>
              <a:rPr lang="en-US" b="1"/>
              <a:t>server-level firewall rules </a:t>
            </a:r>
            <a:r>
              <a:rPr lang="en-US"/>
              <a:t>that enable access to your Azure SQL server. Use the firewall rules to specify which IP address ranges from the Internet are allowed, and whether Azure applications can attempt to connect to your Azure SQL server.</a:t>
            </a:r>
          </a:p>
          <a:p>
            <a:r>
              <a:rPr lang="en-US"/>
              <a:t>To </a:t>
            </a:r>
            <a:r>
              <a:rPr lang="en-US" b="1"/>
              <a:t>selectively grant access to just one of the databases</a:t>
            </a:r>
            <a:r>
              <a:rPr lang="en-US"/>
              <a:t> in your Azure SQL server, you must create a </a:t>
            </a:r>
            <a:r>
              <a:rPr lang="en-US" b="1"/>
              <a:t>database-level rule </a:t>
            </a:r>
            <a:r>
              <a:rPr lang="en-US"/>
              <a:t>for the required database. Specify an IP address range for the database firewall rule that is outside the IP address range specified in the server-level firewall rule, and ensure that the IP address of the client falls in the range specified in the database-level rule.</a:t>
            </a: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800" b="0" i="0" u="none" strike="noStrike" kern="1200" cap="none" spc="0" normalizeH="0" baseline="0" noProof="0">
                <a:ln>
                  <a:noFill/>
                </a:ln>
                <a:solidFill>
                  <a:srgbClr val="FFFFFF"/>
                </a:solidFill>
                <a:effectLst/>
                <a:uLnTx/>
                <a:uFillTx/>
                <a:latin typeface="+mn-lt"/>
                <a:ea typeface="+mn-ea"/>
                <a:cs typeface="+mn-cs"/>
              </a:rPr>
              <a:t>hat options do you need to specify to create an Azure SQL Database?</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800" b="0" i="0" u="none" strike="noStrike" kern="1200" cap="none" spc="0" normalizeH="0" baseline="0" noProof="0">
                <a:ln>
                  <a:noFill/>
                </a:ln>
                <a:solidFill>
                  <a:srgbClr val="FFFFFF"/>
                </a:solidFill>
                <a:effectLst/>
                <a:uLnTx/>
                <a:uFillTx/>
                <a:latin typeface="+mn-lt"/>
                <a:ea typeface="+mn-ea"/>
                <a:cs typeface="+mn-cs"/>
              </a:rPr>
              <a:t>Q2: What options do you need to specify to create an Azure SQL Database?</a:t>
            </a:r>
            <a:endParaRPr kumimoji="0" lang="en-US" sz="800" b="0" i="0" u="none" strike="noStrike" kern="1200" cap="none" spc="0" normalizeH="0" baseline="0" noProof="0">
              <a:ln>
                <a:noFill/>
              </a:ln>
              <a:solidFill>
                <a:srgbClr val="505050"/>
              </a:solidFill>
              <a:effectLst/>
              <a:uLnTx/>
              <a:uFillTx/>
              <a:latin typeface="+mn-lt"/>
              <a:ea typeface="+mn-ea"/>
              <a:cs typeface="+mn-cs"/>
            </a:endParaRPr>
          </a:p>
          <a:p>
            <a:r>
              <a:rPr lang="en-US" baseline="0"/>
              <a:t>Answer 2:</a:t>
            </a:r>
          </a:p>
          <a:p>
            <a:pPr marL="228600" indent="-228600">
              <a:buFont typeface="+mj-lt"/>
              <a:buAutoNum type="arabicPeriod"/>
            </a:pPr>
            <a:r>
              <a:rPr lang="en-US" b="1" baseline="0"/>
              <a:t>Database Name</a:t>
            </a:r>
          </a:p>
          <a:p>
            <a:pPr marL="228600" indent="-228600">
              <a:buFont typeface="+mj-lt"/>
              <a:buAutoNum type="arabicPeriod"/>
            </a:pPr>
            <a:r>
              <a:rPr lang="en-US" b="1" baseline="0"/>
              <a:t>Source</a:t>
            </a:r>
          </a:p>
          <a:p>
            <a:pPr marL="228600" indent="-228600">
              <a:buFont typeface="+mj-lt"/>
              <a:buAutoNum type="arabicPeriod"/>
            </a:pPr>
            <a:r>
              <a:rPr lang="en-US" b="1" baseline="0"/>
              <a:t>Resource Group</a:t>
            </a:r>
          </a:p>
          <a:p>
            <a:pPr marL="228600" indent="-228600">
              <a:buFont typeface="+mj-lt"/>
              <a:buAutoNum type="arabicPeriod"/>
            </a:pPr>
            <a:r>
              <a:rPr lang="en-US" b="1" baseline="0"/>
              <a:t>Server Admin and password</a:t>
            </a:r>
          </a:p>
          <a:p>
            <a:pPr marL="228600" indent="-228600">
              <a:buFont typeface="+mj-lt"/>
              <a:buAutoNum type="arabicPeriod"/>
            </a:pPr>
            <a:r>
              <a:rPr lang="en-US" b="1" baseline="0"/>
              <a:t>Pricing Tier</a:t>
            </a:r>
          </a:p>
          <a:p>
            <a:pPr marL="228600" indent="-228600">
              <a:buFont typeface="+mj-lt"/>
              <a:buAutoNum type="arabicPeriod"/>
            </a:pPr>
            <a:r>
              <a:rPr lang="en-US" b="1" baseline="0"/>
              <a:t>Collation</a:t>
            </a:r>
          </a:p>
          <a:p>
            <a:pPr marL="228600" indent="-228600">
              <a:buFont typeface="+mj-lt"/>
              <a:buAutoNum type="arabicPeriod"/>
            </a:pPr>
            <a:endParaRPr lang="en-US" baseline="0"/>
          </a:p>
          <a:p>
            <a:pPr marL="0" indent="0">
              <a:buFont typeface="+mj-lt"/>
              <a:buNone/>
            </a:pPr>
            <a:r>
              <a:rPr lang="en-US" baseline="0"/>
              <a:t>Q3: </a:t>
            </a:r>
            <a:r>
              <a:rPr lang="en-US" sz="800">
                <a:solidFill>
                  <a:srgbClr val="FFFFFF"/>
                </a:solidFill>
                <a:latin typeface="+mn-lt"/>
              </a:rPr>
              <a:t>What is a SQL server (logical server)?</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en-US" baseline="0"/>
              <a:t>Answer 3:</a:t>
            </a:r>
            <a:endParaRPr lang="en-US" sz="800">
              <a:solidFill>
                <a:srgbClr val="FFFFFF"/>
              </a:solidFill>
              <a:latin typeface="+mn-lt"/>
            </a:endParaRPr>
          </a:p>
          <a:p>
            <a:pPr marL="0" indent="0">
              <a:buFont typeface="+mj-lt"/>
              <a:buNone/>
            </a:pPr>
            <a:r>
              <a:rPr lang="en-US" sz="800">
                <a:solidFill>
                  <a:srgbClr val="FFFFFF"/>
                </a:solidFill>
                <a:latin typeface="+mn-lt"/>
              </a:rPr>
              <a:t>It is a logical construct that acts as a </a:t>
            </a:r>
            <a:r>
              <a:rPr lang="en-US" sz="800" b="1">
                <a:solidFill>
                  <a:srgbClr val="FFFFFF"/>
                </a:solidFill>
                <a:latin typeface="+mn-lt"/>
              </a:rPr>
              <a:t>central administrative point for multiple single or pooled databases, logins, firewall rules, auditing rules, threat detection policies, and failover groups</a:t>
            </a:r>
            <a:r>
              <a:rPr lang="en-US" sz="800">
                <a:solidFill>
                  <a:srgbClr val="FFFFFF"/>
                </a:solidFill>
                <a:latin typeface="+mn-lt"/>
              </a:rPr>
              <a:t>. </a:t>
            </a:r>
          </a:p>
          <a:p>
            <a:pPr marL="0" indent="0">
              <a:buFont typeface="+mj-lt"/>
              <a:buNone/>
            </a:pPr>
            <a:r>
              <a:rPr lang="en-US" sz="800">
                <a:solidFill>
                  <a:srgbClr val="FFFFFF"/>
                </a:solidFill>
                <a:latin typeface="+mn-lt"/>
              </a:rPr>
              <a:t>The SQL logical server must exist before you can create the Azure SQL database</a:t>
            </a:r>
            <a:r>
              <a:rPr lang="en-US" sz="800" b="1">
                <a:solidFill>
                  <a:srgbClr val="FFFFFF"/>
                </a:solidFill>
                <a:latin typeface="+mn-lt"/>
              </a:rPr>
              <a:t>. All databases managed by a SQL logical server are created within the same region as the SQL logical server.</a:t>
            </a:r>
          </a:p>
          <a:p>
            <a:pPr marL="0" indent="0">
              <a:buFont typeface="+mj-lt"/>
              <a:buNone/>
            </a:pPr>
            <a:endParaRPr lang="en-US" baseline="0"/>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4</a:t>
            </a:fld>
            <a:endParaRPr lang="en-US" noProof="0"/>
          </a:p>
        </p:txBody>
      </p:sp>
    </p:spTree>
    <p:extLst>
      <p:ext uri="{BB962C8B-B14F-4D97-AF65-F5344CB8AC3E}">
        <p14:creationId xmlns:p14="http://schemas.microsoft.com/office/powerpoint/2010/main" val="10460636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a:t>In this lesson we will be covering the </a:t>
            </a:r>
            <a:r>
              <a:rPr lang="en-IN" sz="800">
                <a:solidFill>
                  <a:schemeClr val="bg1"/>
                </a:solidFill>
                <a:latin typeface="Segoe UI Light" pitchFamily="34" charset="0"/>
                <a:cs typeface="Segoe UI"/>
              </a:rPr>
              <a:t>to Elastic Database Pools in Azure SQL Database</a:t>
            </a:r>
            <a:r>
              <a:rPr lang="nl-BE"/>
              <a:t>.</a:t>
            </a:r>
          </a:p>
          <a:p>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5</a:t>
            </a:fld>
            <a:endParaRPr lang="en-US" noProof="0"/>
          </a:p>
        </p:txBody>
      </p:sp>
    </p:spTree>
    <p:extLst>
      <p:ext uri="{BB962C8B-B14F-4D97-AF65-F5344CB8AC3E}">
        <p14:creationId xmlns:p14="http://schemas.microsoft.com/office/powerpoint/2010/main" val="30061984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https://docs.microsoft.com/en-us/azure/sql-database/sql-database-elastic-pool</a:t>
            </a:r>
            <a:endParaRPr lang="en-US"/>
          </a:p>
          <a:p>
            <a:endParaRPr lang="en-US"/>
          </a:p>
          <a:p>
            <a:r>
              <a:rPr lang="en-US"/>
              <a:t>Show the following overview Video to the class:</a:t>
            </a:r>
          </a:p>
          <a:p>
            <a:r>
              <a:rPr lang="en-US"/>
              <a:t> </a:t>
            </a:r>
            <a:r>
              <a:rPr lang="en-US">
                <a:hlinkClick r:id="rId4"/>
              </a:rPr>
              <a:t>https://sec.ch9.ms/ch9/5022/64e0e193-2792-4a62-854e-31ae76365022/ElasticDatabasePools_mid.mp4</a:t>
            </a:r>
            <a:r>
              <a:rPr lang="en-US"/>
              <a:t> </a:t>
            </a:r>
          </a:p>
          <a:p>
            <a:endParaRPr lang="en-US"/>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7</a:t>
            </a:fld>
            <a:endParaRPr lang="en-US" noProof="0"/>
          </a:p>
        </p:txBody>
      </p:sp>
    </p:spTree>
    <p:extLst>
      <p:ext uri="{BB962C8B-B14F-4D97-AF65-F5344CB8AC3E}">
        <p14:creationId xmlns:p14="http://schemas.microsoft.com/office/powerpoint/2010/main" val="362645501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a:solidFill>
                  <a:schemeClr val="tx1"/>
                </a:solidFill>
                <a:effectLst/>
                <a:latin typeface="Segoe UI Light" pitchFamily="34" charset="0"/>
                <a:ea typeface="+mn-ea"/>
                <a:cs typeface="+mn-cs"/>
              </a:rPr>
              <a:t>SQL Database elastic pools are a simple, cost-effective solution for managing and scaling multiple databases that have varying and unpredictable usage demands. The databases in an elastic pool are on a single Azure SQL Database server and share a set number of resources at a set price. Elastic pools in Azure SQL Database enable SaaS developers to optimize the price performance for a group of databases within a prescribed budget while delivering performance elasticity for each database.</a:t>
            </a:r>
          </a:p>
          <a:p>
            <a:endParaRPr lang="en-US" sz="800" b="0" i="0" u="none" strike="noStrike" kern="1200">
              <a:solidFill>
                <a:schemeClr val="tx1"/>
              </a:solidFill>
              <a:effectLst/>
              <a:latin typeface="Segoe UI Light" pitchFamily="34" charset="0"/>
              <a:ea typeface="+mn-ea"/>
              <a:cs typeface="+mn-cs"/>
            </a:endParaRPr>
          </a:p>
          <a:p>
            <a:r>
              <a:rPr lang="en-US" sz="800" b="0" i="0" u="none" strike="noStrike" kern="1200">
                <a:solidFill>
                  <a:schemeClr val="tx1"/>
                </a:solidFill>
                <a:effectLst/>
                <a:latin typeface="Segoe UI Light" pitchFamily="34" charset="0"/>
                <a:ea typeface="+mn-ea"/>
                <a:cs typeface="+mn-cs"/>
              </a:rPr>
              <a:t>Elastic pools enable the developer to purchase resources for a pool shared by multiple databases to accommodate unpredictable periods of usage by individual databases. You can configure resources for the pool based either on the </a:t>
            </a:r>
            <a:r>
              <a:rPr lang="en-US" sz="800" b="0" i="0" u="sng" strike="noStrike" kern="1200">
                <a:solidFill>
                  <a:schemeClr val="tx1"/>
                </a:solidFill>
                <a:effectLst/>
                <a:latin typeface="Segoe UI Light" pitchFamily="34" charset="0"/>
                <a:ea typeface="+mn-ea"/>
                <a:cs typeface="+mn-cs"/>
                <a:hlinkClick r:id="rId3"/>
              </a:rPr>
              <a:t>DTU-based purchasing model</a:t>
            </a:r>
            <a:r>
              <a:rPr lang="en-US" sz="800" b="0" i="0" u="none" strike="noStrike" kern="1200">
                <a:solidFill>
                  <a:schemeClr val="tx1"/>
                </a:solidFill>
                <a:effectLst/>
                <a:latin typeface="Segoe UI Light" pitchFamily="34" charset="0"/>
                <a:ea typeface="+mn-ea"/>
                <a:cs typeface="+mn-cs"/>
              </a:rPr>
              <a:t> or the </a:t>
            </a:r>
            <a:r>
              <a:rPr lang="en-US" sz="800" b="0" i="0" u="sng" strike="noStrike" kern="1200" err="1">
                <a:solidFill>
                  <a:schemeClr val="tx1"/>
                </a:solidFill>
                <a:effectLst/>
                <a:latin typeface="Segoe UI Light" pitchFamily="34" charset="0"/>
                <a:ea typeface="+mn-ea"/>
                <a:cs typeface="+mn-cs"/>
                <a:hlinkClick r:id="rId4"/>
              </a:rPr>
              <a:t>vCore</a:t>
            </a:r>
            <a:r>
              <a:rPr lang="en-US" sz="800" b="0" i="0" u="sng" strike="noStrike" kern="1200">
                <a:solidFill>
                  <a:schemeClr val="tx1"/>
                </a:solidFill>
                <a:effectLst/>
                <a:latin typeface="Segoe UI Light" pitchFamily="34" charset="0"/>
                <a:ea typeface="+mn-ea"/>
                <a:cs typeface="+mn-cs"/>
                <a:hlinkClick r:id="rId4"/>
              </a:rPr>
              <a:t>-based purchasing model</a:t>
            </a:r>
            <a:r>
              <a:rPr lang="en-US" sz="800" b="0" i="0" u="none" strike="noStrike" kern="1200">
                <a:solidFill>
                  <a:schemeClr val="tx1"/>
                </a:solidFill>
                <a:effectLst/>
                <a:latin typeface="Segoe UI Light" pitchFamily="34" charset="0"/>
                <a:ea typeface="+mn-ea"/>
                <a:cs typeface="+mn-cs"/>
              </a:rPr>
              <a:t>. The resource requirement for a pool is determined by the aggregate utilization of its databases. The amount of resources available to the pool is controlled by the developer budget. The developer simply adds databases to the pool, sets the minimum and maximum resources for the databases (either minimum and maximum DTUs or minimum or maximum </a:t>
            </a:r>
            <a:r>
              <a:rPr lang="en-US" sz="800" b="0" i="0" u="none" strike="noStrike" kern="1200" err="1">
                <a:solidFill>
                  <a:schemeClr val="tx1"/>
                </a:solidFill>
                <a:effectLst/>
                <a:latin typeface="Segoe UI Light" pitchFamily="34" charset="0"/>
                <a:ea typeface="+mn-ea"/>
                <a:cs typeface="+mn-cs"/>
              </a:rPr>
              <a:t>vCores</a:t>
            </a:r>
            <a:r>
              <a:rPr lang="en-US" sz="800" b="0" i="0" u="none" strike="noStrike" kern="1200">
                <a:solidFill>
                  <a:schemeClr val="tx1"/>
                </a:solidFill>
                <a:effectLst/>
                <a:latin typeface="Segoe UI Light" pitchFamily="34" charset="0"/>
                <a:ea typeface="+mn-ea"/>
                <a:cs typeface="+mn-cs"/>
              </a:rPr>
              <a:t> depending on your choice of resourcing model), and then sets the resources of the pool based on their budget. A developer can use pools to seamlessly grow their service from a lean startup to a mature business at ever-increasing scale.</a:t>
            </a:r>
          </a:p>
          <a:p>
            <a:r>
              <a:rPr lang="en-US" sz="800" b="0" i="0" u="none" strike="noStrike" kern="1200">
                <a:solidFill>
                  <a:schemeClr val="tx1"/>
                </a:solidFill>
                <a:effectLst/>
                <a:latin typeface="Segoe UI Light" pitchFamily="34" charset="0"/>
                <a:ea typeface="+mn-ea"/>
                <a:cs typeface="+mn-cs"/>
              </a:rPr>
              <a:t>Within the pool, individual databases are given the flexibility to auto-scale within set parameters. Under heavy load, a database can consume more resources to meet demand. Databases under light loads consume less, and databases under no load consume no resources. Provisioning resources for the entire pool rather than for single databases simplifies your management tasks. Plus, you have a predictable budget for the pool. Additional resources can be added to an existing pool with no database downtime, except that the databases may need to be moved to provide the additional compute resources for the new </a:t>
            </a:r>
            <a:r>
              <a:rPr lang="en-US" sz="800" b="0" i="0" u="none" strike="noStrike" kern="1200" err="1">
                <a:solidFill>
                  <a:schemeClr val="tx1"/>
                </a:solidFill>
                <a:effectLst/>
                <a:latin typeface="Segoe UI Light" pitchFamily="34" charset="0"/>
                <a:ea typeface="+mn-ea"/>
                <a:cs typeface="+mn-cs"/>
              </a:rPr>
              <a:t>eDTU</a:t>
            </a:r>
            <a:r>
              <a:rPr lang="en-US" sz="800" b="0" i="0" u="none" strike="noStrike" kern="1200">
                <a:solidFill>
                  <a:schemeClr val="tx1"/>
                </a:solidFill>
                <a:effectLst/>
                <a:latin typeface="Segoe UI Light" pitchFamily="34" charset="0"/>
                <a:ea typeface="+mn-ea"/>
                <a:cs typeface="+mn-cs"/>
              </a:rPr>
              <a:t> reservation. Similarly, if extra resources are no longer needed they can be removed from an existing pool at any point in time. And you can add or subtract databases to the pool. If a database is predictably under-utilizing resources, move it out.</a:t>
            </a:r>
          </a:p>
          <a:p>
            <a:endParaRPr lang="en-US" sz="800" b="0" i="0" u="none" strike="noStrike" kern="1200">
              <a:solidFill>
                <a:schemeClr val="tx1"/>
              </a:solidFill>
              <a:effectLst/>
              <a:latin typeface="Segoe UI Light" pitchFamily="34" charset="0"/>
              <a:ea typeface="+mn-ea"/>
              <a:cs typeface="+mn-cs"/>
            </a:endParaRP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8</a:t>
            </a:fld>
            <a:endParaRPr lang="en-US" noProof="0"/>
          </a:p>
        </p:txBody>
      </p:sp>
    </p:spTree>
    <p:extLst>
      <p:ext uri="{BB962C8B-B14F-4D97-AF65-F5344CB8AC3E}">
        <p14:creationId xmlns:p14="http://schemas.microsoft.com/office/powerpoint/2010/main" val="11172829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sources limits for elastic pools using the DTU-based purchasing model:</a:t>
            </a:r>
          </a:p>
          <a:p>
            <a:r>
              <a:rPr lang="en-US">
                <a:hlinkClick r:id="rId3"/>
              </a:rPr>
              <a:t>https://docs.microsoft.com/en-us/azure/sql-database/sql-database-dtu-resource-limits-elastic-pools</a:t>
            </a:r>
            <a:r>
              <a:rPr lang="en-US"/>
              <a:t>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9</a:t>
            </a:fld>
            <a:endParaRPr lang="en-US" noProof="0"/>
          </a:p>
        </p:txBody>
      </p:sp>
    </p:spTree>
    <p:extLst>
      <p:ext uri="{BB962C8B-B14F-4D97-AF65-F5344CB8AC3E}">
        <p14:creationId xmlns:p14="http://schemas.microsoft.com/office/powerpoint/2010/main" val="410692973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source limits for elastic pools using the </a:t>
            </a:r>
            <a:r>
              <a:rPr lang="en-US" err="1"/>
              <a:t>vCore</a:t>
            </a:r>
            <a:r>
              <a:rPr lang="en-US"/>
              <a:t>-based purchasing model limits: </a:t>
            </a:r>
          </a:p>
          <a:p>
            <a:r>
              <a:rPr lang="en-US">
                <a:hlinkClick r:id="rId3"/>
              </a:rPr>
              <a:t>https://docs.microsoft.com/en-us/azure/sql-database/sql-database-vcore-resource-limits-elastic-pools</a:t>
            </a:r>
            <a:r>
              <a:rPr lang="en-US"/>
              <a:t>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0</a:t>
            </a:fld>
            <a:endParaRPr lang="en-US" noProof="0"/>
          </a:p>
        </p:txBody>
      </p:sp>
    </p:spTree>
    <p:extLst>
      <p:ext uri="{BB962C8B-B14F-4D97-AF65-F5344CB8AC3E}">
        <p14:creationId xmlns:p14="http://schemas.microsoft.com/office/powerpoint/2010/main" val="16877364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source limits for elastic pools using the </a:t>
            </a:r>
            <a:r>
              <a:rPr lang="en-US" err="1"/>
              <a:t>vCore</a:t>
            </a:r>
            <a:r>
              <a:rPr lang="en-US"/>
              <a:t>-based purchasing model limits: </a:t>
            </a:r>
          </a:p>
          <a:p>
            <a:r>
              <a:rPr lang="en-US">
                <a:hlinkClick r:id="rId3"/>
              </a:rPr>
              <a:t>https://docs.microsoft.com/en-us/azure/sql-database/sql-database-vcore-resource-limits-elastic-pools</a:t>
            </a:r>
            <a:r>
              <a:rPr lang="en-US"/>
              <a:t> </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1</a:t>
            </a:fld>
            <a:endParaRPr lang="en-US" noProof="0"/>
          </a:p>
        </p:txBody>
      </p:sp>
    </p:spTree>
    <p:extLst>
      <p:ext uri="{BB962C8B-B14F-4D97-AF65-F5344CB8AC3E}">
        <p14:creationId xmlns:p14="http://schemas.microsoft.com/office/powerpoint/2010/main" val="84121668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Databases that are great candidates for elastic pools typically have periods of activity and other periods of inactivity. In the example above you see the activity of a single database, 4 databases, and finally an elastic pool with 20 databases. Databases with varying activity over time are great candidates for elastic pools because they are not all active at the same time and can share </a:t>
            </a:r>
            <a:r>
              <a:rPr lang="en-US" err="1"/>
              <a:t>eDTUs</a:t>
            </a:r>
            <a:r>
              <a:rPr lang="en-US"/>
              <a:t>. Not all databases fit this pattern. Databases that have a more constant resource demand are better suited to the Basic, Standard, and Premium service tiers where resources are individually assigned.</a:t>
            </a:r>
          </a:p>
          <a:p>
            <a:endParaRPr lang="en-US"/>
          </a:p>
          <a:p>
            <a:r>
              <a:rPr lang="en-US"/>
              <a:t>For the five-minute period illustrated, DB1 peaks up to 90 DTUs, but its overall average usage is less than five DTUs. An S3 performance level is required to run this workload in a single database, but this leaves most of the resources unused during periods of low activity.</a:t>
            </a:r>
          </a:p>
          <a:p>
            <a:r>
              <a:rPr lang="en-US"/>
              <a:t>A pool allows these unused DTUs to be shared across multiple databases, and so reduces the DTUs needed and overall cost.</a:t>
            </a:r>
          </a:p>
          <a:p>
            <a:r>
              <a:rPr lang="en-US"/>
              <a:t>Building on the previous example, suppose there are additional databases with similar utilization patterns as DB1. In the next two figures below, the utilization of four databases and 20 databases are layered onto the same graph to illustrate the non-overlapping nature of their utilization over time.</a:t>
            </a:r>
          </a:p>
          <a:p>
            <a:endParaRPr lang="en-US"/>
          </a:p>
          <a:p>
            <a:r>
              <a:rPr lang="en-US"/>
              <a:t>The aggregate DTU utilization across all 20 databases is illustrated by the black line in the preceding figure. This shows that the aggregate DTU utilization never exceeds 100 DTUs, and indicates that the 20 databases can share 100 </a:t>
            </a:r>
            <a:r>
              <a:rPr lang="en-US" err="1"/>
              <a:t>eDTUs</a:t>
            </a:r>
            <a:r>
              <a:rPr lang="en-US"/>
              <a:t> over this time period. This results in a 20x reduction in DTUs and a 13x price reduction compared to placing each of the databases in S3 performance levels for single databases.</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2</a:t>
            </a:fld>
            <a:endParaRPr lang="en-US" noProof="0"/>
          </a:p>
        </p:txBody>
      </p:sp>
    </p:spTree>
    <p:extLst>
      <p:ext uri="{BB962C8B-B14F-4D97-AF65-F5344CB8AC3E}">
        <p14:creationId xmlns:p14="http://schemas.microsoft.com/office/powerpoint/2010/main" val="345802985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dirty="0"/>
              <a:t>The following rules of thumb related to database count and database utilization help to ensure that a pool delivers reduced cost compared to using performance levels for single databases.</a:t>
            </a:r>
          </a:p>
          <a:p>
            <a:pPr rtl="0"/>
            <a:r>
              <a:rPr lang="en-US" b="1" dirty="0"/>
              <a:t>Minimum number of databases</a:t>
            </a:r>
          </a:p>
          <a:p>
            <a:pPr rtl="0"/>
            <a:r>
              <a:rPr lang="en-US" dirty="0"/>
              <a:t>If the sum of the DTUs of performance levels for single databases is more than 1.5x the </a:t>
            </a:r>
            <a:r>
              <a:rPr lang="en-US" dirty="0" err="1"/>
              <a:t>eDTUs</a:t>
            </a:r>
            <a:r>
              <a:rPr lang="en-US" dirty="0"/>
              <a:t> needed for the pool, then an elastic pool is more cost effective. For available sizes, see </a:t>
            </a:r>
            <a:r>
              <a:rPr lang="en-US" dirty="0" err="1">
                <a:hlinkClick r:id="rId3"/>
              </a:rPr>
              <a:t>eDTU</a:t>
            </a:r>
            <a:r>
              <a:rPr lang="en-US" dirty="0">
                <a:hlinkClick r:id="rId3"/>
              </a:rPr>
              <a:t> and storage limits for elastic pools and elastic databases</a:t>
            </a:r>
            <a:r>
              <a:rPr lang="en-US" dirty="0"/>
              <a:t>.</a:t>
            </a:r>
          </a:p>
          <a:p>
            <a:pPr rtl="0"/>
            <a:r>
              <a:rPr lang="en-US" b="1" i="1" dirty="0"/>
              <a:t>Example</a:t>
            </a:r>
            <a:br>
              <a:rPr lang="en-US" dirty="0"/>
            </a:br>
            <a:r>
              <a:rPr lang="en-US" dirty="0"/>
              <a:t>At least two S3 databases or at least 15 S0 databases are needed for a 100 </a:t>
            </a:r>
            <a:r>
              <a:rPr lang="en-US" dirty="0" err="1"/>
              <a:t>eDTU</a:t>
            </a:r>
            <a:r>
              <a:rPr lang="en-US" dirty="0"/>
              <a:t> pool to be more cost-effective than using performance levels for single databases.</a:t>
            </a:r>
          </a:p>
          <a:p>
            <a:pPr rtl="0"/>
            <a:endParaRPr lang="en-US" b="1" dirty="0"/>
          </a:p>
          <a:p>
            <a:pPr rtl="0"/>
            <a:r>
              <a:rPr lang="en-US" b="1" dirty="0"/>
              <a:t>Maximum number of concurrently peaking databases</a:t>
            </a:r>
          </a:p>
          <a:p>
            <a:pPr rtl="0"/>
            <a:r>
              <a:rPr lang="en-US" dirty="0"/>
              <a:t>By sharing </a:t>
            </a:r>
            <a:r>
              <a:rPr lang="en-US" dirty="0" err="1"/>
              <a:t>eDTUs</a:t>
            </a:r>
            <a:r>
              <a:rPr lang="en-US" dirty="0"/>
              <a:t>, not all databases in a pool can simultaneously use </a:t>
            </a:r>
            <a:r>
              <a:rPr lang="en-US" dirty="0" err="1"/>
              <a:t>eDTUs</a:t>
            </a:r>
            <a:r>
              <a:rPr lang="en-US" dirty="0"/>
              <a:t> up to the limit available when using performance levels for single databases. The fewer databases that concurrently peak, the lower the pool </a:t>
            </a:r>
            <a:r>
              <a:rPr lang="en-US" dirty="0" err="1"/>
              <a:t>eDTU</a:t>
            </a:r>
            <a:r>
              <a:rPr lang="en-US" dirty="0"/>
              <a:t> can be set and the more cost-effective the pool becomes. In general, not more than 2/3 (or 67%) of the databases in the pool should simultaneously peak to their </a:t>
            </a:r>
            <a:r>
              <a:rPr lang="en-US" dirty="0" err="1"/>
              <a:t>eDTU</a:t>
            </a:r>
            <a:r>
              <a:rPr lang="en-US" dirty="0"/>
              <a:t> limit.</a:t>
            </a:r>
          </a:p>
          <a:p>
            <a:pPr rtl="0"/>
            <a:r>
              <a:rPr lang="en-US" b="1" i="1" dirty="0"/>
              <a:t>Example</a:t>
            </a:r>
            <a:br>
              <a:rPr lang="en-US" dirty="0"/>
            </a:br>
            <a:r>
              <a:rPr lang="en-US" dirty="0"/>
              <a:t>To reduce costs for three S3 databases in a 200 </a:t>
            </a:r>
            <a:r>
              <a:rPr lang="en-US" dirty="0" err="1"/>
              <a:t>eDTU</a:t>
            </a:r>
            <a:r>
              <a:rPr lang="en-US" dirty="0"/>
              <a:t> pool, at most two of these databases can simultaneously peak in their utilization. Otherwise, if more than two of these four S3 databases simultaneously peak, the pool would have to be sized to more than 200 </a:t>
            </a:r>
            <a:r>
              <a:rPr lang="en-US" dirty="0" err="1"/>
              <a:t>eDTUs</a:t>
            </a:r>
            <a:r>
              <a:rPr lang="en-US" dirty="0"/>
              <a:t>. If the pool is resized to more than 200 </a:t>
            </a:r>
            <a:r>
              <a:rPr lang="en-US" dirty="0" err="1"/>
              <a:t>eDTUs</a:t>
            </a:r>
            <a:r>
              <a:rPr lang="en-US" dirty="0"/>
              <a:t>, more S3 databases would need to be added to the pool to keep costs lower than performance levels for single databases.</a:t>
            </a:r>
          </a:p>
          <a:p>
            <a:pPr rtl="0"/>
            <a:r>
              <a:rPr lang="en-US" dirty="0"/>
              <a:t>Note this example does not consider utilization of other databases in the pool. If all databases have some utilization at any given point in time, then less than 2/3 (or 67%) of the databases can peak simultaneously.+ </a:t>
            </a:r>
          </a:p>
          <a:p>
            <a:pPr rtl="0"/>
            <a:endParaRPr lang="en-US" b="1" dirty="0"/>
          </a:p>
          <a:p>
            <a:pPr rtl="0"/>
            <a:r>
              <a:rPr lang="en-US" b="1" dirty="0"/>
              <a:t>DTU utilization per database</a:t>
            </a:r>
          </a:p>
          <a:p>
            <a:pPr rtl="0"/>
            <a:r>
              <a:rPr lang="en-US" dirty="0"/>
              <a:t>A large difference between the peak and average utilization of a database indicates prolonged periods of low utilization and short periods of high utilization. This utilization pattern is ideal for sharing resources across databases. A database should be considered for a pool when its peak utilization is about 1.5 times greater than its average utilization.</a:t>
            </a:r>
          </a:p>
          <a:p>
            <a:pPr rtl="0"/>
            <a:r>
              <a:rPr lang="en-US" b="1" i="1" dirty="0"/>
              <a:t>Example</a:t>
            </a:r>
            <a:br>
              <a:rPr lang="en-US" dirty="0"/>
            </a:br>
            <a:r>
              <a:rPr lang="en-US" dirty="0"/>
              <a:t>An S3 database that peaks to 100 DTUs and on average uses 67 DTUs or less is a good candidate for sharing </a:t>
            </a:r>
            <a:r>
              <a:rPr lang="en-US" dirty="0" err="1"/>
              <a:t>eDTUs</a:t>
            </a:r>
            <a:r>
              <a:rPr lang="en-US" dirty="0"/>
              <a:t> in a pool. Alternatively, an S1 database that peaks to 20 DTUs and on average uses 13 DTUs or less is a good candidate for a pool.</a:t>
            </a:r>
          </a:p>
          <a:p>
            <a:endParaRPr lang="en-US" dirty="0"/>
          </a:p>
          <a:p>
            <a:endParaRPr lang="en-US" dirty="0"/>
          </a:p>
          <a:p>
            <a:r>
              <a:rPr lang="en-US" b="1" dirty="0">
                <a:effectLst/>
              </a:rPr>
              <a:t>Max </a:t>
            </a:r>
            <a:r>
              <a:rPr lang="en-US" b="1" dirty="0" err="1">
                <a:effectLst/>
              </a:rPr>
              <a:t>vCores</a:t>
            </a:r>
            <a:r>
              <a:rPr lang="en-US" b="1" dirty="0">
                <a:effectLst/>
              </a:rPr>
              <a:t> per database</a:t>
            </a:r>
          </a:p>
          <a:p>
            <a:r>
              <a:rPr lang="en-US" dirty="0">
                <a:effectLst/>
              </a:rPr>
              <a:t>The maximum number of </a:t>
            </a:r>
            <a:r>
              <a:rPr lang="en-US" dirty="0" err="1">
                <a:effectLst/>
              </a:rPr>
              <a:t>vCores</a:t>
            </a:r>
            <a:r>
              <a:rPr lang="en-US" dirty="0">
                <a:effectLst/>
              </a:rPr>
              <a:t> that any database in the pool may use, if available based on utilization by other databases in the pool. Max </a:t>
            </a:r>
            <a:r>
              <a:rPr lang="en-US" dirty="0" err="1">
                <a:effectLst/>
              </a:rPr>
              <a:t>vCores</a:t>
            </a:r>
            <a:r>
              <a:rPr lang="en-US" dirty="0">
                <a:effectLst/>
              </a:rPr>
              <a:t> per database is not a resource guarantee for a database. This setting is a global setting that applies to all databases in the pool. Set max </a:t>
            </a:r>
            <a:r>
              <a:rPr lang="en-US" dirty="0" err="1">
                <a:effectLst/>
              </a:rPr>
              <a:t>vCores</a:t>
            </a:r>
            <a:r>
              <a:rPr lang="en-US" dirty="0">
                <a:effectLst/>
              </a:rPr>
              <a:t> per database high enough to handle peaks in database utilization. Some degree of over-committing is expected since the pool generally assumes hot and cold usage patterns for databases where all databases are not simultaneously peaking.</a:t>
            </a:r>
          </a:p>
          <a:p>
            <a:r>
              <a:rPr lang="en-US" b="1" dirty="0">
                <a:effectLst/>
              </a:rPr>
              <a:t>Min </a:t>
            </a:r>
            <a:r>
              <a:rPr lang="en-US" b="1" dirty="0" err="1">
                <a:effectLst/>
              </a:rPr>
              <a:t>vCores</a:t>
            </a:r>
            <a:r>
              <a:rPr lang="en-US" b="1" dirty="0">
                <a:effectLst/>
              </a:rPr>
              <a:t> per database</a:t>
            </a:r>
          </a:p>
          <a:p>
            <a:r>
              <a:rPr lang="en-US" dirty="0">
                <a:effectLst/>
              </a:rPr>
              <a:t>The minimum number of </a:t>
            </a:r>
            <a:r>
              <a:rPr lang="en-US" dirty="0" err="1">
                <a:effectLst/>
              </a:rPr>
              <a:t>vCores</a:t>
            </a:r>
            <a:r>
              <a:rPr lang="en-US" dirty="0">
                <a:effectLst/>
              </a:rPr>
              <a:t> that any database in the pool is guaranteed. This setting is a global setting that applies to all databases in the pool. The min </a:t>
            </a:r>
            <a:r>
              <a:rPr lang="en-US" dirty="0" err="1">
                <a:effectLst/>
              </a:rPr>
              <a:t>vCores</a:t>
            </a:r>
            <a:r>
              <a:rPr lang="en-US" dirty="0">
                <a:effectLst/>
              </a:rPr>
              <a:t> per database may be set to 0, and is also the default value. This property is set to anywhere between 0 and the average </a:t>
            </a:r>
            <a:r>
              <a:rPr lang="en-US" dirty="0" err="1">
                <a:effectLst/>
              </a:rPr>
              <a:t>vCores</a:t>
            </a:r>
            <a:r>
              <a:rPr lang="en-US" dirty="0">
                <a:effectLst/>
              </a:rPr>
              <a:t> utilization per database. The product of the number of databases in the pool and the min </a:t>
            </a:r>
            <a:r>
              <a:rPr lang="en-US" dirty="0" err="1">
                <a:effectLst/>
              </a:rPr>
              <a:t>vCores</a:t>
            </a:r>
            <a:r>
              <a:rPr lang="en-US" dirty="0">
                <a:effectLst/>
              </a:rPr>
              <a:t> per database cannot exceed the </a:t>
            </a:r>
            <a:r>
              <a:rPr lang="en-US" dirty="0" err="1">
                <a:effectLst/>
              </a:rPr>
              <a:t>vCores</a:t>
            </a:r>
            <a:r>
              <a:rPr lang="en-US" dirty="0">
                <a:effectLst/>
              </a:rPr>
              <a:t> per pool.</a:t>
            </a:r>
          </a:p>
          <a:p>
            <a:r>
              <a:rPr lang="en-US" b="1" dirty="0">
                <a:effectLst/>
              </a:rPr>
              <a:t>Max storage per database</a:t>
            </a:r>
          </a:p>
          <a:p>
            <a:r>
              <a:rPr lang="en-US" dirty="0">
                <a:effectLst/>
              </a:rPr>
              <a:t>The maximum database size set by the user for a database in a pool. Pooled databases share allocated pool storage, so the size a database can reach is limited to the smaller of remaining pool storage and database size. Max database size refers to the maximum size of the data files and does not include the space used by log files.</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3</a:t>
            </a:fld>
            <a:endParaRPr lang="en-US" noProof="0"/>
          </a:p>
        </p:txBody>
      </p:sp>
    </p:spTree>
    <p:extLst>
      <p:ext uri="{BB962C8B-B14F-4D97-AF65-F5344CB8AC3E}">
        <p14:creationId xmlns:p14="http://schemas.microsoft.com/office/powerpoint/2010/main" val="22145682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zure SQL Database is a fully-managed platform-as-a-service.</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This means </a:t>
            </a:r>
            <a:r>
              <a:rPr lang="en-US" sz="1200" b="1" kern="1200" dirty="0">
                <a:solidFill>
                  <a:schemeClr val="tx1"/>
                </a:solidFill>
                <a:effectLst/>
                <a:latin typeface="+mn-lt"/>
                <a:ea typeface="+mn-ea"/>
                <a:cs typeface="+mn-cs"/>
              </a:rPr>
              <a:t>Microsoft operates SQL Server for you, </a:t>
            </a:r>
            <a:r>
              <a:rPr lang="en-US" sz="1200" kern="1200" dirty="0">
                <a:solidFill>
                  <a:schemeClr val="tx1"/>
                </a:solidFill>
                <a:effectLst/>
                <a:latin typeface="+mn-lt"/>
                <a:ea typeface="+mn-ea"/>
                <a:cs typeface="+mn-cs"/>
              </a:rPr>
              <a:t>assuming much of the daily maintenance, administration and infrastructure costs of your IT organization.</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Quickly realize spend and operational efficiencies </a:t>
            </a:r>
            <a:r>
              <a:rPr lang="en-US" sz="1200" kern="1200" dirty="0">
                <a:solidFill>
                  <a:schemeClr val="tx1"/>
                </a:solidFill>
                <a:effectLst/>
                <a:latin typeface="+mn-lt"/>
                <a:ea typeface="+mn-ea"/>
                <a:cs typeface="+mn-cs"/>
              </a:rPr>
              <a:t>you may not have otherwise experienced with your on-premises or hosted solu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long with </a:t>
            </a:r>
            <a:r>
              <a:rPr lang="en-US" sz="1200" b="1" kern="1200" dirty="0">
                <a:solidFill>
                  <a:schemeClr val="tx1"/>
                </a:solidFill>
                <a:effectLst/>
                <a:latin typeface="+mn-lt"/>
                <a:ea typeface="+mn-ea"/>
                <a:cs typeface="+mn-cs"/>
              </a:rPr>
              <a:t>ensured availability and performance, </a:t>
            </a:r>
            <a:r>
              <a:rPr lang="en-US" sz="1200" b="0" kern="1200" dirty="0">
                <a:solidFill>
                  <a:schemeClr val="tx1"/>
                </a:solidFill>
                <a:effectLst/>
                <a:latin typeface="+mn-lt"/>
                <a:ea typeface="+mn-ea"/>
                <a:cs typeface="+mn-cs"/>
              </a:rPr>
              <a:t>features of Azure SQL Database inclu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Provisioning and resizing (w/ Azure Portal experi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Built-in auto HA (99.99%)</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Automatic backu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Point-in-time-restore (database-lev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Active geo-repl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Intelligent performance optimization and security of your databases</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rPr>
              <a:t>Build 2015</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7/2022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60324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kern="1200">
                <a:solidFill>
                  <a:schemeClr val="tx1"/>
                </a:solidFill>
                <a:effectLst/>
                <a:latin typeface="Segoe UI Light" pitchFamily="34" charset="0"/>
                <a:ea typeface="+mn-ea"/>
                <a:cs typeface="+mn-cs"/>
              </a:rPr>
              <a:t>Change compute resources (</a:t>
            </a:r>
            <a:r>
              <a:rPr lang="en-US" sz="800" b="1" i="0" kern="1200" err="1">
                <a:solidFill>
                  <a:schemeClr val="tx1"/>
                </a:solidFill>
                <a:effectLst/>
                <a:latin typeface="Segoe UI Light" pitchFamily="34" charset="0"/>
                <a:ea typeface="+mn-ea"/>
                <a:cs typeface="+mn-cs"/>
              </a:rPr>
              <a:t>vCores</a:t>
            </a:r>
            <a:r>
              <a:rPr lang="en-US" sz="800" b="1" i="0" kern="1200">
                <a:solidFill>
                  <a:schemeClr val="tx1"/>
                </a:solidFill>
                <a:effectLst/>
                <a:latin typeface="Segoe UI Light" pitchFamily="34" charset="0"/>
                <a:ea typeface="+mn-ea"/>
                <a:cs typeface="+mn-cs"/>
              </a:rPr>
              <a:t> or DTUs)</a:t>
            </a:r>
          </a:p>
          <a:p>
            <a:r>
              <a:rPr lang="en-US" sz="800" b="0" i="0" kern="1200">
                <a:solidFill>
                  <a:schemeClr val="tx1"/>
                </a:solidFill>
                <a:effectLst/>
                <a:latin typeface="Segoe UI Light" pitchFamily="34" charset="0"/>
                <a:ea typeface="+mn-ea"/>
                <a:cs typeface="+mn-cs"/>
              </a:rPr>
              <a:t>After initially picking the number of </a:t>
            </a:r>
            <a:r>
              <a:rPr lang="en-US" sz="800" b="0" i="0" kern="1200" err="1">
                <a:solidFill>
                  <a:schemeClr val="tx1"/>
                </a:solidFill>
                <a:effectLst/>
                <a:latin typeface="Segoe UI Light" pitchFamily="34" charset="0"/>
                <a:ea typeface="+mn-ea"/>
                <a:cs typeface="+mn-cs"/>
              </a:rPr>
              <a:t>vCores</a:t>
            </a:r>
            <a:r>
              <a:rPr lang="en-US" sz="800" b="0" i="0" kern="1200">
                <a:solidFill>
                  <a:schemeClr val="tx1"/>
                </a:solidFill>
                <a:effectLst/>
                <a:latin typeface="Segoe UI Light" pitchFamily="34" charset="0"/>
                <a:ea typeface="+mn-ea"/>
                <a:cs typeface="+mn-cs"/>
              </a:rPr>
              <a:t> or </a:t>
            </a:r>
            <a:r>
              <a:rPr lang="en-US" sz="800" b="0" i="0" kern="1200" err="1">
                <a:solidFill>
                  <a:schemeClr val="tx1"/>
                </a:solidFill>
                <a:effectLst/>
                <a:latin typeface="Segoe UI Light" pitchFamily="34" charset="0"/>
                <a:ea typeface="+mn-ea"/>
                <a:cs typeface="+mn-cs"/>
              </a:rPr>
              <a:t>eDTUs</a:t>
            </a:r>
            <a:r>
              <a:rPr lang="en-US" sz="800" b="0" i="0" kern="1200">
                <a:solidFill>
                  <a:schemeClr val="tx1"/>
                </a:solidFill>
                <a:effectLst/>
                <a:latin typeface="Segoe UI Light" pitchFamily="34" charset="0"/>
                <a:ea typeface="+mn-ea"/>
                <a:cs typeface="+mn-cs"/>
              </a:rPr>
              <a:t>, you can scale an elastic pool up or down dynamically based on actual experience using the </a:t>
            </a:r>
            <a:r>
              <a:rPr lang="en-US" sz="800" b="0" i="0" u="sng" kern="1200">
                <a:solidFill>
                  <a:schemeClr val="tx1"/>
                </a:solidFill>
                <a:effectLst/>
                <a:latin typeface="Segoe UI Light" pitchFamily="34" charset="0"/>
                <a:ea typeface="+mn-ea"/>
                <a:cs typeface="+mn-cs"/>
                <a:hlinkClick r:id="rId3"/>
              </a:rPr>
              <a:t>Azure portal</a:t>
            </a:r>
            <a:r>
              <a:rPr lang="en-US" sz="800" b="0" i="0" kern="1200">
                <a:solidFill>
                  <a:schemeClr val="tx1"/>
                </a:solidFill>
                <a:effectLst/>
                <a:latin typeface="Segoe UI Light" pitchFamily="34" charset="0"/>
                <a:ea typeface="+mn-ea"/>
                <a:cs typeface="+mn-cs"/>
              </a:rPr>
              <a:t>, </a:t>
            </a:r>
            <a:r>
              <a:rPr lang="en-US" sz="800" b="0" i="0" u="sng" kern="1200">
                <a:solidFill>
                  <a:schemeClr val="tx1"/>
                </a:solidFill>
                <a:effectLst/>
                <a:latin typeface="Segoe UI Light" pitchFamily="34" charset="0"/>
                <a:ea typeface="+mn-ea"/>
                <a:cs typeface="+mn-cs"/>
                <a:hlinkClick r:id="rId4"/>
              </a:rPr>
              <a:t>PowerShell</a:t>
            </a:r>
            <a:r>
              <a:rPr lang="en-US" sz="800" b="0" i="0" kern="1200">
                <a:solidFill>
                  <a:schemeClr val="tx1"/>
                </a:solidFill>
                <a:effectLst/>
                <a:latin typeface="Segoe UI Light" pitchFamily="34" charset="0"/>
                <a:ea typeface="+mn-ea"/>
                <a:cs typeface="+mn-cs"/>
              </a:rPr>
              <a:t>, the </a:t>
            </a:r>
            <a:r>
              <a:rPr lang="en-US" sz="800" b="0" i="0" u="sng" kern="1200">
                <a:solidFill>
                  <a:schemeClr val="tx1"/>
                </a:solidFill>
                <a:effectLst/>
                <a:latin typeface="Segoe UI Light" pitchFamily="34" charset="0"/>
                <a:ea typeface="+mn-ea"/>
                <a:cs typeface="+mn-cs"/>
                <a:hlinkClick r:id="rId5"/>
              </a:rPr>
              <a:t>Azure CLI</a:t>
            </a:r>
            <a:r>
              <a:rPr lang="en-US" sz="800" b="0" i="0" kern="1200">
                <a:solidFill>
                  <a:schemeClr val="tx1"/>
                </a:solidFill>
                <a:effectLst/>
                <a:latin typeface="Segoe UI Light" pitchFamily="34" charset="0"/>
                <a:ea typeface="+mn-ea"/>
                <a:cs typeface="+mn-cs"/>
              </a:rPr>
              <a:t>, or the </a:t>
            </a:r>
            <a:r>
              <a:rPr lang="en-US" sz="800" b="0" i="0" u="sng" kern="1200">
                <a:solidFill>
                  <a:schemeClr val="tx1"/>
                </a:solidFill>
                <a:effectLst/>
                <a:latin typeface="Segoe UI Light" pitchFamily="34" charset="0"/>
                <a:ea typeface="+mn-ea"/>
                <a:cs typeface="+mn-cs"/>
                <a:hlinkClick r:id="rId6"/>
              </a:rPr>
              <a:t>REST API</a:t>
            </a:r>
            <a:r>
              <a:rPr lang="en-US" sz="800" b="0" i="0" kern="1200">
                <a:solidFill>
                  <a:schemeClr val="tx1"/>
                </a:solidFill>
                <a:effectLst/>
                <a:latin typeface="Segoe UI Light" pitchFamily="34" charset="0"/>
                <a:ea typeface="+mn-ea"/>
                <a:cs typeface="+mn-cs"/>
              </a:rPr>
              <a:t>.</a:t>
            </a:r>
          </a:p>
          <a:p>
            <a:r>
              <a:rPr lang="en-US" sz="800" b="1" i="0" kern="1200">
                <a:solidFill>
                  <a:schemeClr val="tx1"/>
                </a:solidFill>
                <a:effectLst/>
                <a:latin typeface="Segoe UI Light" pitchFamily="34" charset="0"/>
                <a:ea typeface="+mn-ea"/>
                <a:cs typeface="+mn-cs"/>
              </a:rPr>
              <a:t>Impact of changing service tier or rescaling compute size</a:t>
            </a:r>
          </a:p>
          <a:p>
            <a:r>
              <a:rPr lang="en-US" sz="800" b="0" i="0" kern="1200">
                <a:solidFill>
                  <a:schemeClr val="tx1"/>
                </a:solidFill>
                <a:effectLst/>
                <a:latin typeface="Segoe UI Light" pitchFamily="34" charset="0"/>
                <a:ea typeface="+mn-ea"/>
                <a:cs typeface="+mn-cs"/>
              </a:rPr>
              <a:t>Changing the service tier or compute size of an elastic pool follows a similar pattern as for single databases and mainly involves the service performing the following steps:</a:t>
            </a:r>
          </a:p>
          <a:p>
            <a:r>
              <a:rPr lang="en-US" sz="800" b="0" i="0" kern="1200">
                <a:solidFill>
                  <a:schemeClr val="tx1"/>
                </a:solidFill>
                <a:effectLst/>
                <a:latin typeface="Segoe UI Light" pitchFamily="34" charset="0"/>
                <a:ea typeface="+mn-ea"/>
                <a:cs typeface="+mn-cs"/>
              </a:rPr>
              <a:t>Create new compute instance for the elastic pool</a:t>
            </a:r>
          </a:p>
          <a:p>
            <a:r>
              <a:rPr lang="en-US" sz="800" b="0" i="0" kern="1200">
                <a:solidFill>
                  <a:schemeClr val="tx1"/>
                </a:solidFill>
                <a:effectLst/>
                <a:latin typeface="Segoe UI Light" pitchFamily="34" charset="0"/>
                <a:ea typeface="+mn-ea"/>
                <a:cs typeface="+mn-cs"/>
              </a:rPr>
              <a:t>A new compute instance for the elastic pool is created with the requested service tier and compute size. For some combinations of service tier and compute size changes, a replica of each database must be created in the new compute instance which involves copying data and can strongly influence the overall latency. Regardless, the databases remain online during this step, and connections continue to be directed to the databases in the original compute instance.</a:t>
            </a:r>
          </a:p>
          <a:p>
            <a:r>
              <a:rPr lang="en-US" sz="800" b="0" i="0" kern="1200">
                <a:solidFill>
                  <a:schemeClr val="tx1"/>
                </a:solidFill>
                <a:effectLst/>
                <a:latin typeface="Segoe UI Light" pitchFamily="34" charset="0"/>
                <a:ea typeface="+mn-ea"/>
                <a:cs typeface="+mn-cs"/>
              </a:rPr>
              <a:t>Switch routing of connections to new compute instance</a:t>
            </a:r>
          </a:p>
          <a:p>
            <a:r>
              <a:rPr lang="en-US" sz="800" b="0" i="0" kern="1200">
                <a:solidFill>
                  <a:schemeClr val="tx1"/>
                </a:solidFill>
                <a:effectLst/>
                <a:latin typeface="Segoe UI Light" pitchFamily="34" charset="0"/>
                <a:ea typeface="+mn-ea"/>
                <a:cs typeface="+mn-cs"/>
              </a:rPr>
              <a:t>Existing connections to the databases in the original compute instance are dropped. Any new connections are established to the databases in the new compute instance. For some combinations of service tier and compute size changes, database files are detached and reattached during the switch. Regardless, the switch can result in a brief service interruption when databases are unavailable generally for less than 30 seconds and often for only a few seconds. If there are long running transactions running when connections are dropped, the duration of this step may take longer in order to recover aborted transactions. </a:t>
            </a:r>
            <a:r>
              <a:rPr lang="en-US" sz="800" b="0" i="0" u="sng" kern="1200">
                <a:solidFill>
                  <a:schemeClr val="tx1"/>
                </a:solidFill>
                <a:effectLst/>
                <a:latin typeface="Segoe UI Light" pitchFamily="34" charset="0"/>
                <a:ea typeface="+mn-ea"/>
                <a:cs typeface="+mn-cs"/>
                <a:hlinkClick r:id="rId7"/>
              </a:rPr>
              <a:t>Accelerated Database Recovery</a:t>
            </a:r>
            <a:r>
              <a:rPr lang="en-US" sz="800" b="0" i="0" kern="1200">
                <a:solidFill>
                  <a:schemeClr val="tx1"/>
                </a:solidFill>
                <a:effectLst/>
                <a:latin typeface="Segoe UI Light" pitchFamily="34" charset="0"/>
                <a:ea typeface="+mn-ea"/>
                <a:cs typeface="+mn-cs"/>
              </a:rPr>
              <a:t> can reduce the impact from aborting long running transactions.</a:t>
            </a:r>
          </a:p>
          <a:p>
            <a:r>
              <a:rPr lang="en-US" sz="800" b="1" i="0" kern="1200">
                <a:solidFill>
                  <a:schemeClr val="tx1"/>
                </a:solidFill>
                <a:effectLst/>
                <a:latin typeface="Segoe UI Light" pitchFamily="34" charset="0"/>
                <a:ea typeface="+mn-ea"/>
                <a:cs typeface="+mn-cs"/>
              </a:rPr>
              <a:t> Important</a:t>
            </a:r>
          </a:p>
          <a:p>
            <a:r>
              <a:rPr lang="en-US" sz="800" b="0" i="0" kern="1200">
                <a:solidFill>
                  <a:schemeClr val="tx1"/>
                </a:solidFill>
                <a:effectLst/>
                <a:latin typeface="Segoe UI Light" pitchFamily="34" charset="0"/>
                <a:ea typeface="+mn-ea"/>
                <a:cs typeface="+mn-cs"/>
              </a:rPr>
              <a:t>No data is lost during any step in the workflow.</a:t>
            </a:r>
          </a:p>
          <a:p>
            <a:pPr rtl="0"/>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4</a:t>
            </a:fld>
            <a:endParaRPr lang="en-US" noProof="0"/>
          </a:p>
        </p:txBody>
      </p:sp>
    </p:spTree>
    <p:extLst>
      <p:ext uri="{BB962C8B-B14F-4D97-AF65-F5344CB8AC3E}">
        <p14:creationId xmlns:p14="http://schemas.microsoft.com/office/powerpoint/2010/main" val="17240335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The best size for a pool depends on the aggregate </a:t>
            </a:r>
            <a:r>
              <a:rPr lang="en-US" err="1"/>
              <a:t>eDTUs</a:t>
            </a:r>
            <a:r>
              <a:rPr lang="en-US"/>
              <a:t> and storage resources needed for all databases in the pool. This involves determining the larger of the following:</a:t>
            </a:r>
          </a:p>
          <a:p>
            <a:pPr marL="171450" indent="-171450" rtl="0">
              <a:buFont typeface="Arial" panose="020B0604020202020204" pitchFamily="34" charset="0"/>
              <a:buChar char="•"/>
            </a:pPr>
            <a:r>
              <a:rPr lang="en-US"/>
              <a:t>Maximum DTUs utilized by all databases in the pool.</a:t>
            </a:r>
          </a:p>
          <a:p>
            <a:pPr marL="171450" indent="-171450" rtl="0">
              <a:buFont typeface="Arial" panose="020B0604020202020204" pitchFamily="34" charset="0"/>
              <a:buChar char="•"/>
            </a:pPr>
            <a:r>
              <a:rPr lang="en-US"/>
              <a:t>Maximum storage bytes utilized by all databases in the pool.</a:t>
            </a:r>
          </a:p>
          <a:p>
            <a:pPr rtl="0"/>
            <a:endParaRPr lang="en-US"/>
          </a:p>
          <a:p>
            <a:pPr rtl="0"/>
            <a:r>
              <a:rPr lang="en-US"/>
              <a:t>SQL Database automatically evaluates the historical resource usage of databases in an existing SQL Database server and recommends the appropriate pool configuration in the Azure portal. In addition to the recommendations, a built-in experience estimates the </a:t>
            </a:r>
            <a:r>
              <a:rPr lang="en-US" err="1"/>
              <a:t>eDTU</a:t>
            </a:r>
            <a:r>
              <a:rPr lang="en-US"/>
              <a:t> usage for a custom group of databases on the server. This enables you to do a "what-if" analysis by interactively adding databases to the pool and removing them to get resource usage analysis and sizing advice before committing your changes.</a:t>
            </a:r>
          </a:p>
          <a:p>
            <a:pPr rtl="0"/>
            <a:r>
              <a:rPr lang="en-US"/>
              <a:t>When rescaling </a:t>
            </a:r>
            <a:r>
              <a:rPr lang="en-US" err="1"/>
              <a:t>eDTUs</a:t>
            </a:r>
            <a:r>
              <a:rPr lang="en-US"/>
              <a:t> for an elastic pool, an extra storage cost applies if (1) the storage max size of the pool is supported by the target pool, and (2) the storage max size exceeds the included storage amount of the target pool. For example, if a 100 </a:t>
            </a:r>
            <a:r>
              <a:rPr lang="en-US" err="1"/>
              <a:t>eDTU</a:t>
            </a:r>
            <a:r>
              <a:rPr lang="en-US"/>
              <a:t> Standard pool with a max size of 100 GB is downsized to a 50 </a:t>
            </a:r>
            <a:r>
              <a:rPr lang="en-US" err="1"/>
              <a:t>eDTU</a:t>
            </a:r>
            <a:r>
              <a:rPr lang="en-US"/>
              <a:t> Standard pool, then an extra storage cost applies since target pool supports a max size of 100 GB and its included storage amount is only 50 GB. So, the extra storage amount is 100 GB – 50 GB = 50 GB.</a:t>
            </a:r>
          </a:p>
          <a:p>
            <a:pPr rtl="0"/>
            <a:r>
              <a:rPr lang="en-US"/>
              <a:t>For more information:</a:t>
            </a:r>
          </a:p>
          <a:p>
            <a:pPr rtl="0"/>
            <a:r>
              <a:rPr lang="en-US">
                <a:hlinkClick r:id="rId3"/>
              </a:rPr>
              <a:t>https://docs.microsoft.com/en-us/azure/sql-database/sql-database-elastic-pool-scale</a:t>
            </a:r>
            <a:endParaRPr lang="en-US"/>
          </a:p>
          <a:p>
            <a:pPr rtl="0"/>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5</a:t>
            </a:fld>
            <a:endParaRPr lang="en-US" noProof="0"/>
          </a:p>
        </p:txBody>
      </p:sp>
    </p:spTree>
    <p:extLst>
      <p:ext uri="{BB962C8B-B14F-4D97-AF65-F5344CB8AC3E}">
        <p14:creationId xmlns:p14="http://schemas.microsoft.com/office/powerpoint/2010/main" val="183693954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err="1">
                <a:solidFill>
                  <a:schemeClr val="tx1"/>
                </a:solidFill>
                <a:effectLst/>
                <a:latin typeface="Segoe UI Light" pitchFamily="34" charset="0"/>
                <a:ea typeface="+mn-ea"/>
                <a:cs typeface="+mn-cs"/>
              </a:rPr>
              <a:t>vCore</a:t>
            </a:r>
            <a:r>
              <a:rPr lang="en-US" sz="900" b="1" i="0" kern="1200">
                <a:solidFill>
                  <a:schemeClr val="tx1"/>
                </a:solidFill>
                <a:effectLst/>
                <a:latin typeface="Segoe UI Light" pitchFamily="34" charset="0"/>
                <a:ea typeface="+mn-ea"/>
                <a:cs typeface="+mn-cs"/>
              </a:rPr>
              <a:t>-based purchasing model</a:t>
            </a:r>
          </a:p>
          <a:p>
            <a:r>
              <a:rPr lang="en-US" sz="900" b="0" i="0" kern="1200">
                <a:solidFill>
                  <a:schemeClr val="tx1"/>
                </a:solidFill>
                <a:effectLst/>
                <a:latin typeface="Segoe UI Light" pitchFamily="34" charset="0"/>
                <a:ea typeface="+mn-ea"/>
                <a:cs typeface="+mn-cs"/>
              </a:rPr>
              <a:t>Storage can be provisioned up to the max size limit:</a:t>
            </a:r>
          </a:p>
          <a:p>
            <a:pPr lvl="1"/>
            <a:r>
              <a:rPr lang="en-US" sz="900" b="0" i="0" kern="1200">
                <a:solidFill>
                  <a:schemeClr val="tx1"/>
                </a:solidFill>
                <a:effectLst/>
                <a:latin typeface="Segoe UI Light" pitchFamily="34" charset="0"/>
                <a:ea typeface="+mn-ea"/>
                <a:cs typeface="+mn-cs"/>
              </a:rPr>
              <a:t>For storage in the standard or general purpose service tiers, increase or decrease size in 10-GB increments</a:t>
            </a:r>
          </a:p>
          <a:p>
            <a:pPr lvl="1"/>
            <a:r>
              <a:rPr lang="en-US" sz="900" b="0" i="0" kern="1200">
                <a:solidFill>
                  <a:schemeClr val="tx1"/>
                </a:solidFill>
                <a:effectLst/>
                <a:latin typeface="Segoe UI Light" pitchFamily="34" charset="0"/>
                <a:ea typeface="+mn-ea"/>
                <a:cs typeface="+mn-cs"/>
              </a:rPr>
              <a:t>For storage in the premium or business critical service tiers, increase or decrease size in 250-GB increments</a:t>
            </a:r>
          </a:p>
          <a:p>
            <a:r>
              <a:rPr lang="en-US" sz="900" b="0" i="0" kern="1200">
                <a:solidFill>
                  <a:schemeClr val="tx1"/>
                </a:solidFill>
                <a:effectLst/>
                <a:latin typeface="Segoe UI Light" pitchFamily="34" charset="0"/>
                <a:ea typeface="+mn-ea"/>
                <a:cs typeface="+mn-cs"/>
              </a:rPr>
              <a:t>Storage for an elastic pool can be provisioned by increasing or decreasing its max size.</a:t>
            </a:r>
          </a:p>
          <a:p>
            <a:r>
              <a:rPr lang="en-US" sz="900" b="0" i="0" kern="1200">
                <a:solidFill>
                  <a:schemeClr val="tx1"/>
                </a:solidFill>
                <a:effectLst/>
                <a:latin typeface="Segoe UI Light" pitchFamily="34" charset="0"/>
                <a:ea typeface="+mn-ea"/>
                <a:cs typeface="+mn-cs"/>
              </a:rPr>
              <a:t>The price of storage for an elastic pool is the storage amount multiplied by the storage unit price of the service tier. For details on the price of extra storage, see </a:t>
            </a:r>
            <a:r>
              <a:rPr lang="en-US" sz="900" b="0" i="0" u="sng" kern="1200">
                <a:solidFill>
                  <a:schemeClr val="tx1"/>
                </a:solidFill>
                <a:effectLst/>
                <a:latin typeface="Segoe UI Light" pitchFamily="34" charset="0"/>
                <a:ea typeface="+mn-ea"/>
                <a:cs typeface="+mn-cs"/>
                <a:hlinkClick r:id="rId3"/>
              </a:rPr>
              <a:t>SQL Database pricing</a:t>
            </a:r>
            <a:r>
              <a:rPr lang="en-US" sz="900" b="0" i="0" kern="1200">
                <a:solidFill>
                  <a:schemeClr val="tx1"/>
                </a:solidFill>
                <a:effectLst/>
                <a:latin typeface="Segoe UI Light" pitchFamily="34" charset="0"/>
                <a:ea typeface="+mn-ea"/>
                <a:cs typeface="+mn-cs"/>
              </a:rPr>
              <a:t>.</a:t>
            </a:r>
          </a:p>
          <a:p>
            <a:endParaRPr lang="en-US"/>
          </a:p>
          <a:p>
            <a:r>
              <a:rPr lang="en-US" sz="900" b="1" i="0" kern="1200">
                <a:solidFill>
                  <a:schemeClr val="tx1"/>
                </a:solidFill>
                <a:effectLst/>
                <a:latin typeface="Segoe UI Light" pitchFamily="34" charset="0"/>
                <a:ea typeface="+mn-ea"/>
                <a:cs typeface="+mn-cs"/>
              </a:rPr>
              <a:t>DTU-based purchasing model</a:t>
            </a:r>
          </a:p>
          <a:p>
            <a:r>
              <a:rPr lang="en-US" sz="900" b="0" i="0" kern="1200">
                <a:solidFill>
                  <a:schemeClr val="tx1"/>
                </a:solidFill>
                <a:effectLst/>
                <a:latin typeface="Segoe UI Light" pitchFamily="34" charset="0"/>
                <a:ea typeface="+mn-ea"/>
                <a:cs typeface="+mn-cs"/>
              </a:rPr>
              <a:t>The </a:t>
            </a:r>
            <a:r>
              <a:rPr lang="en-US" sz="900" b="0" i="0" kern="1200" err="1">
                <a:solidFill>
                  <a:schemeClr val="tx1"/>
                </a:solidFill>
                <a:effectLst/>
                <a:latin typeface="Segoe UI Light" pitchFamily="34" charset="0"/>
                <a:ea typeface="+mn-ea"/>
                <a:cs typeface="+mn-cs"/>
              </a:rPr>
              <a:t>eDTU</a:t>
            </a:r>
            <a:r>
              <a:rPr lang="en-US" sz="900" b="0" i="0" kern="1200">
                <a:solidFill>
                  <a:schemeClr val="tx1"/>
                </a:solidFill>
                <a:effectLst/>
                <a:latin typeface="Segoe UI Light" pitchFamily="34" charset="0"/>
                <a:ea typeface="+mn-ea"/>
                <a:cs typeface="+mn-cs"/>
              </a:rPr>
              <a:t> price for an elastic pool includes a certain amount of storage at no additional cost. Extra storage beyond the included amount can be provisioned for an additional cost up to the max size limit in increments of 250 GB up to 1 TB, and then in increments of 256 GB beyond 1 TB. For included storage amounts and max size limits, see </a:t>
            </a:r>
            <a:r>
              <a:rPr lang="en-US" sz="900" b="0" i="0" u="none" strike="noStrike" kern="1200">
                <a:solidFill>
                  <a:schemeClr val="tx1"/>
                </a:solidFill>
                <a:effectLst/>
                <a:latin typeface="Segoe UI Light" pitchFamily="34" charset="0"/>
                <a:ea typeface="+mn-ea"/>
                <a:cs typeface="+mn-cs"/>
                <a:hlinkClick r:id="rId4"/>
              </a:rPr>
              <a:t>Elastic pool: storage sizes and compute sizes</a:t>
            </a:r>
            <a:r>
              <a:rPr lang="en-US" sz="900" b="0" i="0" kern="1200">
                <a:solidFill>
                  <a:schemeClr val="tx1"/>
                </a:solidFill>
                <a:effectLst/>
                <a:latin typeface="Segoe UI Light" pitchFamily="34" charset="0"/>
                <a:ea typeface="+mn-ea"/>
                <a:cs typeface="+mn-cs"/>
              </a:rPr>
              <a:t>.</a:t>
            </a:r>
          </a:p>
          <a:p>
            <a:r>
              <a:rPr lang="en-US" sz="900" b="0" i="0" kern="1200">
                <a:solidFill>
                  <a:schemeClr val="tx1"/>
                </a:solidFill>
                <a:effectLst/>
                <a:latin typeface="Segoe UI Light" pitchFamily="34" charset="0"/>
                <a:ea typeface="+mn-ea"/>
                <a:cs typeface="+mn-cs"/>
              </a:rPr>
              <a:t>Extra storage for an elastic pool can be provisioned by increasing its max size using the </a:t>
            </a:r>
            <a:r>
              <a:rPr lang="en-US" sz="900" b="0" i="0" u="none" strike="noStrike" kern="1200">
                <a:solidFill>
                  <a:schemeClr val="tx1"/>
                </a:solidFill>
                <a:effectLst/>
                <a:latin typeface="Segoe UI Light" pitchFamily="34" charset="0"/>
                <a:ea typeface="+mn-ea"/>
                <a:cs typeface="+mn-cs"/>
                <a:hlinkClick r:id="rId5"/>
              </a:rPr>
              <a:t>Azure portal</a:t>
            </a:r>
            <a:r>
              <a:rPr lang="en-US" sz="900" b="0" i="0" kern="1200">
                <a:solidFill>
                  <a:schemeClr val="tx1"/>
                </a:solidFill>
                <a:effectLst/>
                <a:latin typeface="Segoe UI Light" pitchFamily="34" charset="0"/>
                <a:ea typeface="+mn-ea"/>
                <a:cs typeface="+mn-cs"/>
              </a:rPr>
              <a:t>, </a:t>
            </a:r>
            <a:r>
              <a:rPr lang="en-US" sz="900" b="0" i="0" u="none" strike="noStrike" kern="1200">
                <a:solidFill>
                  <a:schemeClr val="tx1"/>
                </a:solidFill>
                <a:effectLst/>
                <a:latin typeface="Segoe UI Light" pitchFamily="34" charset="0"/>
                <a:ea typeface="+mn-ea"/>
                <a:cs typeface="+mn-cs"/>
                <a:hlinkClick r:id="rId6"/>
              </a:rPr>
              <a:t>PowerShell</a:t>
            </a:r>
            <a:r>
              <a:rPr lang="en-US" sz="900" b="0" i="0" kern="1200">
                <a:solidFill>
                  <a:schemeClr val="tx1"/>
                </a:solidFill>
                <a:effectLst/>
                <a:latin typeface="Segoe UI Light" pitchFamily="34" charset="0"/>
                <a:ea typeface="+mn-ea"/>
                <a:cs typeface="+mn-cs"/>
              </a:rPr>
              <a:t>, the </a:t>
            </a:r>
            <a:r>
              <a:rPr lang="en-US" sz="900" b="0" i="0" u="none" strike="noStrike" kern="1200">
                <a:solidFill>
                  <a:schemeClr val="tx1"/>
                </a:solidFill>
                <a:effectLst/>
                <a:latin typeface="Segoe UI Light" pitchFamily="34" charset="0"/>
                <a:ea typeface="+mn-ea"/>
                <a:cs typeface="+mn-cs"/>
                <a:hlinkClick r:id="rId7"/>
              </a:rPr>
              <a:t>Azure CLI</a:t>
            </a:r>
            <a:r>
              <a:rPr lang="en-US" sz="900" b="0" i="0" kern="1200">
                <a:solidFill>
                  <a:schemeClr val="tx1"/>
                </a:solidFill>
                <a:effectLst/>
                <a:latin typeface="Segoe UI Light" pitchFamily="34" charset="0"/>
                <a:ea typeface="+mn-ea"/>
                <a:cs typeface="+mn-cs"/>
              </a:rPr>
              <a:t>, or the </a:t>
            </a:r>
            <a:r>
              <a:rPr lang="en-US" sz="900" b="0" i="0" u="none" strike="noStrike" kern="1200">
                <a:solidFill>
                  <a:schemeClr val="tx1"/>
                </a:solidFill>
                <a:effectLst/>
                <a:latin typeface="Segoe UI Light" pitchFamily="34" charset="0"/>
                <a:ea typeface="+mn-ea"/>
                <a:cs typeface="+mn-cs"/>
                <a:hlinkClick r:id="rId8"/>
              </a:rPr>
              <a:t>REST API</a:t>
            </a:r>
            <a:r>
              <a:rPr lang="en-US" sz="900" b="0" i="0" kern="1200">
                <a:solidFill>
                  <a:schemeClr val="tx1"/>
                </a:solidFill>
                <a:effectLst/>
                <a:latin typeface="Segoe UI Light" pitchFamily="34" charset="0"/>
                <a:ea typeface="+mn-ea"/>
                <a:cs typeface="+mn-cs"/>
              </a:rPr>
              <a:t>.</a:t>
            </a:r>
          </a:p>
          <a:p>
            <a:r>
              <a:rPr lang="en-US" sz="900" b="0" i="0" kern="1200">
                <a:solidFill>
                  <a:schemeClr val="tx1"/>
                </a:solidFill>
                <a:effectLst/>
                <a:latin typeface="Segoe UI Light" pitchFamily="34" charset="0"/>
                <a:ea typeface="+mn-ea"/>
                <a:cs typeface="+mn-cs"/>
              </a:rPr>
              <a:t>The price of extra storage for an elastic pool is the extra storage amount multiplied by the extra storage unit price of the service tier. For details on the price of extra storage, see </a:t>
            </a:r>
            <a:r>
              <a:rPr lang="en-US" sz="900" b="0" i="0" u="none" strike="noStrike" kern="1200">
                <a:solidFill>
                  <a:schemeClr val="tx1"/>
                </a:solidFill>
                <a:effectLst/>
                <a:latin typeface="Segoe UI Light" pitchFamily="34" charset="0"/>
                <a:ea typeface="+mn-ea"/>
                <a:cs typeface="+mn-cs"/>
                <a:hlinkClick r:id="rId3"/>
              </a:rPr>
              <a:t>SQL Database pricing</a:t>
            </a:r>
            <a:r>
              <a:rPr lang="en-US" sz="900" b="0" i="0" kern="1200">
                <a:solidFill>
                  <a:schemeClr val="tx1"/>
                </a:solidFill>
                <a:effectLst/>
                <a:latin typeface="Segoe UI Light" pitchFamily="34" charset="0"/>
                <a:ea typeface="+mn-ea"/>
                <a:cs typeface="+mn-cs"/>
              </a:rPr>
              <a:t>.</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6</a:t>
            </a:fld>
            <a:endParaRPr lang="en-US" noProof="0"/>
          </a:p>
        </p:txBody>
      </p:sp>
    </p:spTree>
    <p:extLst>
      <p:ext uri="{BB962C8B-B14F-4D97-AF65-F5344CB8AC3E}">
        <p14:creationId xmlns:p14="http://schemas.microsoft.com/office/powerpoint/2010/main" val="238498309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indent="0">
              <a:buFont typeface="Arial" panose="020B0604020202020204" pitchFamily="34" charset="0"/>
              <a:buNone/>
            </a:pPr>
            <a:r>
              <a:rPr lang="en-US" sz="1800">
                <a:solidFill>
                  <a:srgbClr val="000000"/>
                </a:solidFill>
                <a:latin typeface="Consolas" panose="020B0609020204030204" pitchFamily="49" charset="0"/>
              </a:rPr>
              <a:t>M01L03Demo01</a:t>
            </a:r>
          </a:p>
          <a:p>
            <a:pPr marL="0" indent="0">
              <a:buFont typeface="Arial" panose="020B0604020202020204" pitchFamily="34" charset="0"/>
              <a:buNone/>
            </a:pPr>
            <a:endParaRPr lang="en-US" sz="800" b="0" i="0" kern="120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800" b="0" i="0" kern="1200">
                <a:solidFill>
                  <a:schemeClr val="tx1"/>
                </a:solidFill>
                <a:effectLst/>
                <a:latin typeface="Segoe UI Light" pitchFamily="34" charset="0"/>
                <a:ea typeface="+mn-ea"/>
                <a:cs typeface="+mn-cs"/>
              </a:rPr>
              <a:t>Go to the Azure portal</a:t>
            </a:r>
          </a:p>
          <a:p>
            <a:pPr marL="0" indent="0">
              <a:buFont typeface="Arial" panose="020B0604020202020204" pitchFamily="34" charset="0"/>
              <a:buNone/>
            </a:pPr>
            <a:r>
              <a:rPr lang="en-US" sz="800" b="0" i="0" kern="1200">
                <a:solidFill>
                  <a:schemeClr val="tx1"/>
                </a:solidFill>
                <a:effectLst/>
                <a:latin typeface="Segoe UI Light" pitchFamily="34" charset="0"/>
                <a:ea typeface="+mn-ea"/>
                <a:cs typeface="+mn-cs"/>
              </a:rPr>
              <a:t>In the Azure Portal, you can create elastic pools on either an existing server and move your existing Azure SQL databases into it or create a new server. </a:t>
            </a:r>
          </a:p>
          <a:p>
            <a:pPr marL="0" indent="0">
              <a:buFont typeface="Arial" panose="020B0604020202020204" pitchFamily="34" charset="0"/>
              <a:buNone/>
            </a:pPr>
            <a:endParaRPr lang="en-US" sz="800" b="0" i="0" kern="120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800" b="0" i="0" kern="1200">
                <a:solidFill>
                  <a:schemeClr val="tx1"/>
                </a:solidFill>
                <a:effectLst/>
                <a:latin typeface="Segoe UI Light" pitchFamily="34" charset="0"/>
                <a:ea typeface="+mn-ea"/>
                <a:cs typeface="+mn-cs"/>
              </a:rPr>
              <a:t>In our case, for this demonstration we will navigate to the existing Azure SQL Logical Server and click on </a:t>
            </a:r>
            <a:r>
              <a:rPr lang="en-US" sz="800" b="1" i="0" kern="1200">
                <a:solidFill>
                  <a:schemeClr val="tx1"/>
                </a:solidFill>
                <a:effectLst/>
                <a:latin typeface="Segoe UI Light" pitchFamily="34" charset="0"/>
                <a:ea typeface="+mn-ea"/>
                <a:cs typeface="+mn-cs"/>
              </a:rPr>
              <a:t>+ New pool</a:t>
            </a:r>
            <a:r>
              <a:rPr lang="en-US" sz="800" b="0" i="0" kern="1200">
                <a:solidFill>
                  <a:schemeClr val="tx1"/>
                </a:solidFill>
                <a:effectLst/>
                <a:latin typeface="Segoe UI Light" pitchFamily="34" charset="0"/>
                <a:ea typeface="+mn-ea"/>
                <a:cs typeface="+mn-cs"/>
              </a:rPr>
              <a:t> to create a pool directly into that server.</a:t>
            </a:r>
          </a:p>
          <a:p>
            <a:pPr marL="0" indent="0">
              <a:buFont typeface="Arial" panose="020B0604020202020204" pitchFamily="34" charset="0"/>
              <a:buNone/>
            </a:pPr>
            <a:r>
              <a:rPr lang="en-US" sz="800" b="0" i="0" kern="1200">
                <a:solidFill>
                  <a:schemeClr val="tx1"/>
                </a:solidFill>
                <a:effectLst/>
                <a:latin typeface="Segoe UI Light" pitchFamily="34" charset="0"/>
                <a:ea typeface="+mn-ea"/>
                <a:cs typeface="+mn-cs"/>
              </a:rPr>
              <a:t>Show the students the options to create an Elastic Pool.</a:t>
            </a:r>
          </a:p>
          <a:p>
            <a:pPr marL="0" indent="0">
              <a:buFont typeface="Arial" panose="020B0604020202020204" pitchFamily="34" charset="0"/>
              <a:buNone/>
            </a:pPr>
            <a:endParaRPr lang="en-US" sz="800" b="0" i="0" kern="120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800" b="0" i="0" kern="1200">
                <a:solidFill>
                  <a:schemeClr val="tx1"/>
                </a:solidFill>
                <a:effectLst/>
                <a:latin typeface="Segoe UI Light" pitchFamily="34" charset="0"/>
                <a:ea typeface="+mn-ea"/>
                <a:cs typeface="+mn-cs"/>
              </a:rPr>
              <a:t>When the pool is created show the different options, navigate to </a:t>
            </a:r>
            <a:r>
              <a:rPr lang="en-US" sz="800" b="1" i="0" kern="1200">
                <a:solidFill>
                  <a:schemeClr val="tx1"/>
                </a:solidFill>
                <a:effectLst/>
                <a:latin typeface="Segoe UI Light" pitchFamily="34" charset="0"/>
                <a:ea typeface="+mn-ea"/>
                <a:cs typeface="+mn-cs"/>
              </a:rPr>
              <a:t>configure pool </a:t>
            </a:r>
            <a:r>
              <a:rPr lang="en-US" sz="800" b="0" i="0" kern="1200">
                <a:solidFill>
                  <a:schemeClr val="tx1"/>
                </a:solidFill>
                <a:effectLst/>
                <a:latin typeface="Segoe UI Light" pitchFamily="34" charset="0"/>
                <a:ea typeface="+mn-ea"/>
                <a:cs typeface="+mn-cs"/>
              </a:rPr>
              <a:t>blade:</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Change the service tier of the pool</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Scale the performance (DTU or </a:t>
            </a:r>
            <a:r>
              <a:rPr lang="en-US" sz="800" b="0" i="0" kern="1200" err="1">
                <a:solidFill>
                  <a:schemeClr val="tx1"/>
                </a:solidFill>
                <a:effectLst/>
                <a:latin typeface="Segoe UI Light" pitchFamily="34" charset="0"/>
                <a:ea typeface="+mn-ea"/>
                <a:cs typeface="+mn-cs"/>
              </a:rPr>
              <a:t>vCores</a:t>
            </a:r>
            <a:r>
              <a:rPr lang="en-US" sz="800" b="0" i="0" kern="1200">
                <a:solidFill>
                  <a:schemeClr val="tx1"/>
                </a:solidFill>
                <a:effectLst/>
                <a:latin typeface="Segoe UI Light" pitchFamily="34" charset="0"/>
                <a:ea typeface="+mn-ea"/>
                <a:cs typeface="+mn-cs"/>
              </a:rPr>
              <a:t>) and storage up or down</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Add or remove databases to/from the pool</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Set a min (guaranteed) and max performance limit for the databases in the pools</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Review the cost summary to view any changes to your bill as a result of your new selections</a:t>
            </a:r>
          </a:p>
          <a:p>
            <a:pPr marL="0" indent="0">
              <a:buFont typeface="Arial" panose="020B0604020202020204" pitchFamily="34" charset="0"/>
              <a:buNone/>
            </a:pPr>
            <a:endParaRPr lang="en-US" sz="800" b="0" i="0" kern="120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800" b="0" i="0" kern="120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800" b="0" i="0" kern="1200">
                <a:solidFill>
                  <a:schemeClr val="tx1"/>
                </a:solidFill>
                <a:effectLst/>
                <a:latin typeface="Segoe UI Light" pitchFamily="34" charset="0"/>
                <a:ea typeface="+mn-ea"/>
                <a:cs typeface="+mn-cs"/>
              </a:rPr>
              <a:t>If the time permit, you can create a new database and move it into the pool in order to show further details.</a:t>
            </a:r>
          </a:p>
          <a:p>
            <a:pPr marL="0" indent="0">
              <a:buFont typeface="Arial" panose="020B0604020202020204" pitchFamily="34" charset="0"/>
              <a:buNone/>
            </a:pPr>
            <a:endParaRPr lang="en-US" sz="800" b="0" i="0" kern="120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a:p>
          <a:p>
            <a:pPr marL="0" indent="0">
              <a:buFont typeface="Arial" panose="020B0604020202020204" pitchFamily="34" charset="0"/>
              <a:buNone/>
            </a:pPr>
            <a:r>
              <a:rPr lang="en-US"/>
              <a:t>Note: just to give an estimation </a:t>
            </a:r>
            <a:r>
              <a:rPr lang="en-US" sz="800" b="0" i="1" kern="1200">
                <a:solidFill>
                  <a:schemeClr val="tx1"/>
                </a:solidFill>
                <a:effectLst/>
                <a:latin typeface="Segoe UI Light" pitchFamily="34" charset="0"/>
                <a:ea typeface="+mn-ea"/>
                <a:cs typeface="+mn-cs"/>
              </a:rPr>
              <a:t>an Elastic Pool with 200 </a:t>
            </a:r>
            <a:r>
              <a:rPr lang="en-US" sz="800" b="0" i="1" kern="1200" err="1">
                <a:solidFill>
                  <a:schemeClr val="tx1"/>
                </a:solidFill>
                <a:effectLst/>
                <a:latin typeface="Segoe UI Light" pitchFamily="34" charset="0"/>
                <a:ea typeface="+mn-ea"/>
                <a:cs typeface="+mn-cs"/>
              </a:rPr>
              <a:t>eDTUs</a:t>
            </a:r>
            <a:r>
              <a:rPr lang="en-US" sz="800" b="0" i="1" kern="1200">
                <a:solidFill>
                  <a:schemeClr val="tx1"/>
                </a:solidFill>
                <a:effectLst/>
                <a:latin typeface="Segoe UI Light" pitchFamily="34" charset="0"/>
                <a:ea typeface="+mn-ea"/>
                <a:cs typeface="+mn-cs"/>
              </a:rPr>
              <a:t> (standard) and 250 GB storage costs about the same as </a:t>
            </a:r>
            <a:r>
              <a:rPr lang="en-US" sz="800" b="1" i="1" kern="1200">
                <a:solidFill>
                  <a:schemeClr val="tx1"/>
                </a:solidFill>
                <a:effectLst/>
                <a:latin typeface="Segoe UI Light" pitchFamily="34" charset="0"/>
                <a:ea typeface="+mn-ea"/>
                <a:cs typeface="+mn-cs"/>
              </a:rPr>
              <a:t>15 single databases</a:t>
            </a:r>
            <a:r>
              <a:rPr lang="en-US" sz="800" b="0" i="1" kern="1200">
                <a:solidFill>
                  <a:schemeClr val="tx1"/>
                </a:solidFill>
                <a:effectLst/>
                <a:latin typeface="Segoe UI Light" pitchFamily="34" charset="0"/>
                <a:ea typeface="+mn-ea"/>
                <a:cs typeface="+mn-cs"/>
              </a:rPr>
              <a:t> with 20 DTUs each (standard) and 250 GB storage each.</a:t>
            </a:r>
            <a:endParaRPr lang="en-US"/>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83609974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7262" marR="0" lvl="1" indent="0" algn="l" defTabSz="932742" rtl="0" eaLnBrk="1" fontAlgn="auto" latinLnBrk="0" hangingPunct="1">
              <a:lnSpc>
                <a:spcPct val="90000"/>
              </a:lnSpc>
              <a:spcBef>
                <a:spcPts val="0"/>
              </a:spcBef>
              <a:spcAft>
                <a:spcPts val="340"/>
              </a:spcAft>
              <a:buClrTx/>
              <a:buSzTx/>
              <a:buFont typeface="Arial" pitchFamily="34" charset="0"/>
              <a:buNone/>
              <a:tabLst/>
              <a:defRPr/>
            </a:pPr>
            <a:r>
              <a:rPr lang="en-US"/>
              <a:t>Question 1: What is a SQL Elastic Pool?</a:t>
            </a:r>
          </a:p>
          <a:p>
            <a:pPr marL="217262" marR="0" lvl="1" indent="0" algn="l" defTabSz="932742" rtl="0" eaLnBrk="1" fontAlgn="auto" latinLnBrk="0" hangingPunct="1">
              <a:lnSpc>
                <a:spcPct val="90000"/>
              </a:lnSpc>
              <a:spcBef>
                <a:spcPts val="0"/>
              </a:spcBef>
              <a:spcAft>
                <a:spcPts val="340"/>
              </a:spcAft>
              <a:buClrTx/>
              <a:buSzTx/>
              <a:buFont typeface="Arial" pitchFamily="34" charset="0"/>
              <a:buNone/>
              <a:tabLst/>
              <a:defRPr/>
            </a:pPr>
            <a:r>
              <a:rPr lang="en-US"/>
              <a:t>Answer 1:</a:t>
            </a:r>
          </a:p>
          <a:p>
            <a:pPr marL="217262" marR="0" lvl="1" indent="0" algn="l" defTabSz="932742" rtl="0" eaLnBrk="1" fontAlgn="auto" latinLnBrk="0" hangingPunct="1">
              <a:lnSpc>
                <a:spcPct val="90000"/>
              </a:lnSpc>
              <a:spcBef>
                <a:spcPts val="0"/>
              </a:spcBef>
              <a:spcAft>
                <a:spcPts val="340"/>
              </a:spcAft>
              <a:buClrTx/>
              <a:buSzTx/>
              <a:buFont typeface="Arial" pitchFamily="34" charset="0"/>
              <a:buNone/>
              <a:tabLst/>
              <a:defRPr/>
            </a:pPr>
            <a:r>
              <a:rPr lang="en-US"/>
              <a:t>A pool is given a set number of </a:t>
            </a:r>
            <a:r>
              <a:rPr lang="en-US" err="1"/>
              <a:t>eDTUs</a:t>
            </a:r>
            <a:r>
              <a:rPr lang="en-US"/>
              <a:t>, for a set price. Within the pool, individual databases are given the flexibility to auto-scale within set parameters. Under heavy load, a database can consume more </a:t>
            </a:r>
            <a:r>
              <a:rPr lang="en-US" err="1"/>
              <a:t>eDTUs</a:t>
            </a:r>
            <a:r>
              <a:rPr lang="en-US"/>
              <a:t> to meet demand. Databases under light loads consume less, and databases under no load consume no </a:t>
            </a:r>
            <a:r>
              <a:rPr lang="en-US" err="1"/>
              <a:t>eDTUs</a:t>
            </a:r>
            <a:r>
              <a:rPr lang="en-US"/>
              <a:t>. Provisioning resources for the entire pool rather than for single databases simplifies your management tasks. Plus you have a predictable budget for the pool.</a:t>
            </a:r>
          </a:p>
          <a:p>
            <a:pPr marL="217262" marR="0" lvl="1" indent="0" algn="l" defTabSz="932742" rtl="0" eaLnBrk="1" fontAlgn="auto" latinLnBrk="0" hangingPunct="1">
              <a:lnSpc>
                <a:spcPct val="90000"/>
              </a:lnSpc>
              <a:spcBef>
                <a:spcPts val="0"/>
              </a:spcBef>
              <a:spcAft>
                <a:spcPts val="340"/>
              </a:spcAft>
              <a:buClrTx/>
              <a:buSzTx/>
              <a:buFont typeface="Arial" pitchFamily="34" charset="0"/>
              <a:buNone/>
              <a:tabLst/>
              <a:defRPr/>
            </a:pPr>
            <a:endParaRPr lang="en-US"/>
          </a:p>
          <a:p>
            <a:pPr marL="217262" marR="0" lvl="1" indent="0" algn="l" defTabSz="932742" rtl="0" eaLnBrk="1" fontAlgn="auto" latinLnBrk="0" hangingPunct="1">
              <a:lnSpc>
                <a:spcPct val="90000"/>
              </a:lnSpc>
              <a:spcBef>
                <a:spcPts val="0"/>
              </a:spcBef>
              <a:spcAft>
                <a:spcPts val="340"/>
              </a:spcAft>
              <a:buClrTx/>
              <a:buSzTx/>
              <a:buFont typeface="Arial" pitchFamily="34" charset="0"/>
              <a:buNone/>
              <a:tabLst/>
              <a:defRPr/>
            </a:pPr>
            <a:r>
              <a:rPr lang="en-US"/>
              <a:t>Question 2: When should you consider an elastic pool instead of a single database?</a:t>
            </a:r>
          </a:p>
          <a:p>
            <a:pPr marL="217262" marR="0" lvl="1" indent="0" algn="l" defTabSz="932742" rtl="0" eaLnBrk="1" fontAlgn="auto" latinLnBrk="0" hangingPunct="1">
              <a:lnSpc>
                <a:spcPct val="90000"/>
              </a:lnSpc>
              <a:spcBef>
                <a:spcPts val="0"/>
              </a:spcBef>
              <a:spcAft>
                <a:spcPts val="340"/>
              </a:spcAft>
              <a:buClrTx/>
              <a:buSzTx/>
              <a:buFont typeface="Arial" pitchFamily="34" charset="0"/>
              <a:buNone/>
              <a:tabLst/>
              <a:defRPr/>
            </a:pPr>
            <a:r>
              <a:rPr lang="en-US"/>
              <a:t>Answer 2:</a:t>
            </a:r>
          </a:p>
          <a:p>
            <a:pPr marL="388712" marR="0" lvl="1" indent="-171450" algn="l" defTabSz="932742" rtl="0" eaLnBrk="1" fontAlgn="auto" latinLnBrk="0" hangingPunct="1">
              <a:lnSpc>
                <a:spcPct val="90000"/>
              </a:lnSpc>
              <a:spcBef>
                <a:spcPts val="0"/>
              </a:spcBef>
              <a:spcAft>
                <a:spcPts val="340"/>
              </a:spcAft>
              <a:buClrTx/>
              <a:buSzTx/>
              <a:tabLst/>
              <a:defRPr/>
            </a:pPr>
            <a:r>
              <a:rPr lang="en-US"/>
              <a:t>Average utilization per database. </a:t>
            </a:r>
          </a:p>
          <a:p>
            <a:pPr marL="388712" marR="0" lvl="1" indent="-171450" algn="l" defTabSz="932742" rtl="0" eaLnBrk="1" fontAlgn="auto" latinLnBrk="0" hangingPunct="1">
              <a:lnSpc>
                <a:spcPct val="90000"/>
              </a:lnSpc>
              <a:spcBef>
                <a:spcPts val="0"/>
              </a:spcBef>
              <a:spcAft>
                <a:spcPts val="340"/>
              </a:spcAft>
              <a:buClrTx/>
              <a:buSzTx/>
              <a:tabLst/>
              <a:defRPr/>
            </a:pPr>
            <a:r>
              <a:rPr lang="en-US"/>
              <a:t>The peak utilization for each database occurs at different points in time.</a:t>
            </a:r>
          </a:p>
          <a:p>
            <a:pPr marL="388712" marR="0" lvl="1" indent="-171450" algn="l" defTabSz="932742" rtl="0" eaLnBrk="1" fontAlgn="auto" latinLnBrk="0" hangingPunct="1">
              <a:lnSpc>
                <a:spcPct val="90000"/>
              </a:lnSpc>
              <a:spcBef>
                <a:spcPts val="0"/>
              </a:spcBef>
              <a:spcAft>
                <a:spcPts val="340"/>
              </a:spcAft>
              <a:buClrTx/>
              <a:buSzTx/>
              <a:tabLst/>
              <a:defRPr/>
            </a:pPr>
            <a:r>
              <a:rPr lang="en-US" err="1"/>
              <a:t>eDTUs</a:t>
            </a:r>
            <a:r>
              <a:rPr lang="en-US"/>
              <a:t> are shared between many databases.</a:t>
            </a:r>
          </a:p>
          <a:p>
            <a:pPr marL="217262" marR="0" lvl="1" indent="0" algn="l" defTabSz="932742" rtl="0" eaLnBrk="1" fontAlgn="auto" latinLnBrk="0" hangingPunct="1">
              <a:lnSpc>
                <a:spcPct val="90000"/>
              </a:lnSpc>
              <a:spcBef>
                <a:spcPts val="0"/>
              </a:spcBef>
              <a:spcAft>
                <a:spcPts val="340"/>
              </a:spcAft>
              <a:buClrTx/>
              <a:buSzTx/>
              <a:buFont typeface="Arial" pitchFamily="34" charset="0"/>
              <a:buNone/>
              <a:tabLst/>
              <a:defRPr/>
            </a:pPr>
            <a:endParaRPr lang="en-US"/>
          </a:p>
          <a:p>
            <a:pPr marL="217262" marR="0" lvl="1" indent="0" algn="l" defTabSz="932742" rtl="0" eaLnBrk="1" fontAlgn="auto" latinLnBrk="0" hangingPunct="1">
              <a:lnSpc>
                <a:spcPct val="90000"/>
              </a:lnSpc>
              <a:spcBef>
                <a:spcPts val="0"/>
              </a:spcBef>
              <a:spcAft>
                <a:spcPts val="340"/>
              </a:spcAft>
              <a:buClrTx/>
              <a:buSzTx/>
              <a:buFont typeface="Arial" pitchFamily="34" charset="0"/>
              <a:buNone/>
              <a:tabLst/>
              <a:defRPr/>
            </a:pPr>
            <a:r>
              <a:rPr lang="en-US"/>
              <a:t>Question 3: Which tools can help you to size your elastic pool?</a:t>
            </a:r>
          </a:p>
          <a:p>
            <a:pPr marL="217262" marR="0" lvl="1" indent="0" algn="l" defTabSz="932742" rtl="0" eaLnBrk="1" fontAlgn="auto" latinLnBrk="0" hangingPunct="1">
              <a:lnSpc>
                <a:spcPct val="90000"/>
              </a:lnSpc>
              <a:spcBef>
                <a:spcPts val="0"/>
              </a:spcBef>
              <a:spcAft>
                <a:spcPts val="340"/>
              </a:spcAft>
              <a:buClrTx/>
              <a:buSzTx/>
              <a:buFont typeface="Arial" pitchFamily="34" charset="0"/>
              <a:buNone/>
              <a:tabLst/>
              <a:defRPr/>
            </a:pPr>
            <a:r>
              <a:rPr lang="en-US"/>
              <a:t>Answer 3:</a:t>
            </a:r>
          </a:p>
          <a:p>
            <a:pPr marL="217262" marR="0" lvl="1" indent="0" algn="l" defTabSz="932742" rtl="0" eaLnBrk="1" fontAlgn="auto" latinLnBrk="0" hangingPunct="1">
              <a:lnSpc>
                <a:spcPct val="90000"/>
              </a:lnSpc>
              <a:spcBef>
                <a:spcPts val="0"/>
              </a:spcBef>
              <a:spcAft>
                <a:spcPts val="340"/>
              </a:spcAft>
              <a:buClrTx/>
              <a:buSzTx/>
              <a:buFont typeface="Arial" pitchFamily="34" charset="0"/>
              <a:buNone/>
              <a:tabLst/>
              <a:defRPr/>
            </a:pPr>
            <a:r>
              <a:rPr lang="en-US"/>
              <a:t>Azure DB evaluates historical resource usage</a:t>
            </a:r>
          </a:p>
          <a:p>
            <a:pPr marL="217262" marR="0" lvl="1" indent="0" algn="l" defTabSz="932742" rtl="0" eaLnBrk="1" fontAlgn="auto" latinLnBrk="0" hangingPunct="1">
              <a:lnSpc>
                <a:spcPct val="90000"/>
              </a:lnSpc>
              <a:spcBef>
                <a:spcPts val="0"/>
              </a:spcBef>
              <a:spcAft>
                <a:spcPts val="340"/>
              </a:spcAft>
              <a:buClrTx/>
              <a:buSzTx/>
              <a:buFont typeface="Arial" pitchFamily="34" charset="0"/>
              <a:buNone/>
              <a:tabLst/>
              <a:defRPr/>
            </a:pPr>
            <a:r>
              <a:rPr lang="en-US"/>
              <a:t>A built-in experience estimates the </a:t>
            </a:r>
            <a:r>
              <a:rPr lang="en-US" err="1"/>
              <a:t>eDTU</a:t>
            </a:r>
            <a:r>
              <a:rPr lang="en-US"/>
              <a:t> usage for a custom group of databases on the server.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9</a:t>
            </a:fld>
            <a:endParaRPr lang="en-US" noProof="0"/>
          </a:p>
        </p:txBody>
      </p:sp>
    </p:spTree>
    <p:extLst>
      <p:ext uri="{BB962C8B-B14F-4D97-AF65-F5344CB8AC3E}">
        <p14:creationId xmlns:p14="http://schemas.microsoft.com/office/powerpoint/2010/main" val="387728265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nl-BE"/>
              <a:t>In this lesson we will be discussing the key differences between SQL Server Iaas and PaaS solutions. </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0</a:t>
            </a:fld>
            <a:endParaRPr lang="en-US" noProof="0"/>
          </a:p>
        </p:txBody>
      </p:sp>
    </p:spTree>
    <p:extLst>
      <p:ext uri="{BB962C8B-B14F-4D97-AF65-F5344CB8AC3E}">
        <p14:creationId xmlns:p14="http://schemas.microsoft.com/office/powerpoint/2010/main" val="255121976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a:effectLst/>
                <a:latin typeface="Segoe UI" panose="020B0502040204020203" pitchFamily="34" charset="0"/>
                <a:cs typeface="Segoe UI" panose="020B0502040204020203" pitchFamily="34" charset="0"/>
              </a:rPr>
              <a:t>Objective: </a:t>
            </a:r>
            <a:r>
              <a:rPr lang="en-US" sz="1000">
                <a:latin typeface="Segoe UI" panose="020B0502040204020203" pitchFamily="34" charset="0"/>
                <a:cs typeface="Segoe UI" panose="020B0502040204020203" pitchFamily="34" charset="0"/>
              </a:rPr>
              <a:t>One of the first things to understand in any discussion of Azure versus on-premises SQL Server databases is that you can use it all. The Microsoft data platform leverages SQL Server technology and makes it available across physical on-premises machines, private cloud environments, third-party hosted private cloud environments, and public cloud. This enables you to meet unique and diverse business needs through a combination of on-premises and cloud-hosted deployments, while using the same set of server products, development tools, and expertise across these environments.</a:t>
            </a:r>
          </a:p>
          <a:p>
            <a:endParaRPr lang="en-US" sz="1000">
              <a:latin typeface="Segoe UI" panose="020B0502040204020203" pitchFamily="34" charset="0"/>
              <a:cs typeface="Segoe UI" panose="020B0502040204020203" pitchFamily="34" charset="0"/>
            </a:endParaRPr>
          </a:p>
          <a:p>
            <a:r>
              <a:rPr lang="en-US" sz="1000" b="1">
                <a:effectLst/>
                <a:latin typeface="Segoe UI" panose="020B0502040204020203" pitchFamily="34" charset="0"/>
                <a:cs typeface="Segoe UI" panose="020B0502040204020203" pitchFamily="34" charset="0"/>
              </a:rPr>
              <a:t>Talking Points:</a:t>
            </a:r>
            <a:endParaRPr lang="en-US" sz="100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As seen in the diagram, each offering can be characterized by the level of administration you have over the infrastructure (on the X axis), and by the degree of cost efficiency achieved by database level consolidation and automation (on the Y axis).</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When designing an application, four basic options are available for hosting the SQL Server part of the application: </a:t>
            </a:r>
          </a:p>
          <a:p>
            <a:pPr marL="628650" lvl="1"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SQL Server on nonvirtualized physical machines </a:t>
            </a:r>
          </a:p>
          <a:p>
            <a:pPr marL="628650" lvl="1"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SQL Server in on-premises virtualized machines (private cloud)</a:t>
            </a:r>
          </a:p>
          <a:p>
            <a:pPr marL="628650" lvl="1"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SQL Server in Azure Virtual Machine (public cloud)</a:t>
            </a:r>
          </a:p>
          <a:p>
            <a:pPr marL="628650" lvl="1"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Azure SQL Database (public cloud)</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2</a:t>
            </a:fld>
            <a:endParaRPr lang="en-US" noProof="0"/>
          </a:p>
        </p:txBody>
      </p:sp>
    </p:spTree>
    <p:extLst>
      <p:ext uri="{BB962C8B-B14F-4D97-AF65-F5344CB8AC3E}">
        <p14:creationId xmlns:p14="http://schemas.microsoft.com/office/powerpoint/2010/main" val="54154092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Listed</a:t>
            </a:r>
            <a:r>
              <a:rPr lang="en-US" sz="800" b="0" i="0" u="none" strike="noStrike" kern="1200">
                <a:solidFill>
                  <a:schemeClr val="tx1"/>
                </a:solidFill>
                <a:effectLst/>
                <a:latin typeface="Segoe UI Light" pitchFamily="34" charset="0"/>
                <a:ea typeface="+mn-ea"/>
                <a:cs typeface="+mn-cs"/>
              </a:rPr>
              <a:t> are the most common motivations to choose an Azure SQL Database or SQL Server running on an Azure VM</a:t>
            </a:r>
            <a:r>
              <a:rPr lang="en-US"/>
              <a:t> or a Managed Instance as a hybrid solution.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3</a:t>
            </a:fld>
            <a:endParaRPr lang="en-US" noProof="0"/>
          </a:p>
        </p:txBody>
      </p:sp>
    </p:spTree>
    <p:extLst>
      <p:ext uri="{BB962C8B-B14F-4D97-AF65-F5344CB8AC3E}">
        <p14:creationId xmlns:p14="http://schemas.microsoft.com/office/powerpoint/2010/main" val="891351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a:effectLst/>
                <a:latin typeface="Segoe UI" panose="020B0502040204020203" pitchFamily="34" charset="0"/>
                <a:cs typeface="Segoe UI" panose="020B0502040204020203" pitchFamily="34" charset="0"/>
              </a:rPr>
              <a:t>Objective: </a:t>
            </a:r>
            <a:r>
              <a:rPr lang="en-US" sz="1000">
                <a:latin typeface="Segoe UI" panose="020B0502040204020203" pitchFamily="34" charset="0"/>
                <a:cs typeface="Segoe UI" panose="020B0502040204020203" pitchFamily="34" charset="0"/>
              </a:rPr>
              <a:t>One of the first things to understand in any discussion of Azure versus on-premises SQL Server databases is that you can use it all. The Microsoft data platform leverages SQL Server technology and makes it available across physical on-premises machines, private cloud environments, third-party hosted private cloud environments, and public cloud. This enables you to meet unique and diverse business needs through a combination of on-premises and cloud-hosted deployments, while using the same set of server products, development tools, and expertise across these environments.</a:t>
            </a:r>
          </a:p>
          <a:p>
            <a:endParaRPr lang="en-US" sz="1000">
              <a:latin typeface="Segoe UI" panose="020B0502040204020203" pitchFamily="34" charset="0"/>
              <a:cs typeface="Segoe UI" panose="020B0502040204020203" pitchFamily="34" charset="0"/>
            </a:endParaRPr>
          </a:p>
          <a:p>
            <a:r>
              <a:rPr lang="en-US" sz="1000" b="1">
                <a:effectLst/>
                <a:latin typeface="Segoe UI" panose="020B0502040204020203" pitchFamily="34" charset="0"/>
                <a:cs typeface="Segoe UI" panose="020B0502040204020203" pitchFamily="34" charset="0"/>
              </a:rPr>
              <a:t>Talking Points:</a:t>
            </a:r>
            <a:endParaRPr lang="en-US" sz="100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As seen in the diagram, each offering can be characterized by the level of administration you have over the infrastructure (on the X axis), and by the degree of cost efficiency achieved by database level consolidation and automation (on the Y axis).</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When designing an application, four basic options are available for hosting the SQL Server part of the application: </a:t>
            </a:r>
          </a:p>
          <a:p>
            <a:pPr marL="628650" lvl="1"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SQL Server on nonvirtualized physical machines </a:t>
            </a:r>
          </a:p>
          <a:p>
            <a:pPr marL="628650" lvl="1"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SQL Server in on-premises virtualized machines (private cloud)</a:t>
            </a:r>
          </a:p>
          <a:p>
            <a:pPr marL="628650" lvl="1"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SQL Server in Azure Virtual Machine (public cloud)</a:t>
            </a:r>
          </a:p>
          <a:p>
            <a:pPr marL="628650" lvl="1"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Azure SQL Database (public cloud)</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a:p>
        </p:txBody>
      </p:sp>
    </p:spTree>
    <p:extLst>
      <p:ext uri="{BB962C8B-B14F-4D97-AF65-F5344CB8AC3E}">
        <p14:creationId xmlns:p14="http://schemas.microsoft.com/office/powerpoint/2010/main" val="54154092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a:effectLst/>
                <a:latin typeface="Segoe UI" panose="020B0502040204020203" pitchFamily="34" charset="0"/>
                <a:cs typeface="Segoe UI" panose="020B0502040204020203" pitchFamily="34" charset="0"/>
              </a:rPr>
              <a:t>Objective: </a:t>
            </a:r>
            <a:r>
              <a:rPr lang="en-US" sz="900" kern="1200">
                <a:solidFill>
                  <a:schemeClr val="tx1"/>
                </a:solidFill>
                <a:effectLst/>
                <a:latin typeface="Segoe UI" panose="020B0502040204020203" pitchFamily="34" charset="0"/>
                <a:cs typeface="Segoe UI" panose="020B0502040204020203" pitchFamily="34" charset="0"/>
              </a:rPr>
              <a:t>Azure SQL Database is the intelligent cloud database service built for application developers. It’s the only cloud database service that scales anytime, anywhere without downtime and helps you efficiently deliver multitenant applications―ultimately giving you more time to innovate and accelerating your time to market. </a:t>
            </a:r>
            <a:endParaRPr lang="en-US" sz="900" b="0">
              <a:effectLst/>
              <a:latin typeface="Segoe UI" panose="020B0502040204020203" pitchFamily="34" charset="0"/>
              <a:cs typeface="Segoe UI" panose="020B0502040204020203" pitchFamily="34" charset="0"/>
            </a:endParaRPr>
          </a:p>
          <a:p>
            <a:endParaRPr lang="en-US" sz="900">
              <a:effectLst/>
              <a:latin typeface="Segoe UI" panose="020B0502040204020203" pitchFamily="34" charset="0"/>
              <a:cs typeface="Segoe UI" panose="020B0502040204020203" pitchFamily="34" charset="0"/>
            </a:endParaRPr>
          </a:p>
          <a:p>
            <a:r>
              <a:rPr lang="en-US" sz="900" b="1">
                <a:effectLst/>
                <a:latin typeface="Segoe UI" panose="020B0502040204020203" pitchFamily="34" charset="0"/>
                <a:cs typeface="Segoe UI" panose="020B0502040204020203" pitchFamily="34" charset="0"/>
              </a:rPr>
              <a:t>Talking Points:</a:t>
            </a:r>
            <a:endParaRPr lang="en-US" sz="900" kern="1200">
              <a:solidFill>
                <a:schemeClr val="tx1"/>
              </a:solidFill>
              <a:effectLst/>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900" kern="1200">
                <a:solidFill>
                  <a:schemeClr val="tx1"/>
                </a:solidFill>
                <a:effectLst/>
                <a:latin typeface="Segoe UI" panose="020B0502040204020203" pitchFamily="34" charset="0"/>
                <a:cs typeface="Segoe UI" panose="020B0502040204020203" pitchFamily="34" charset="0"/>
              </a:rPr>
              <a:t>Built-in advisors quickly learn your application’s unique characteristics and dynamically adapt to maximize performance, reliability, and data protection</a:t>
            </a:r>
          </a:p>
          <a:p>
            <a:pPr marL="171450" indent="-171450">
              <a:buFont typeface="Arial" panose="020B0604020202020204" pitchFamily="34" charset="0"/>
              <a:buChar char="•"/>
            </a:pPr>
            <a:r>
              <a:rPr lang="en-US" sz="900" kern="1200">
                <a:solidFill>
                  <a:schemeClr val="tx1"/>
                </a:solidFill>
                <a:effectLst/>
                <a:latin typeface="Segoe UI" panose="020B0502040204020203" pitchFamily="34" charset="0"/>
                <a:cs typeface="Segoe UI" panose="020B0502040204020203" pitchFamily="34" charset="0"/>
              </a:rPr>
              <a:t>And you can build applications and connect to your database using the languages and platforms you prefer, with the confidence that SQL Database is secure and handles the mundane administrative tasks</a:t>
            </a:r>
            <a:r>
              <a:rPr lang="en-US" sz="900" kern="1200" baseline="0">
                <a:solidFill>
                  <a:schemeClr val="tx1"/>
                </a:solidFill>
                <a:effectLst/>
                <a:latin typeface="Segoe UI" panose="020B0502040204020203" pitchFamily="34" charset="0"/>
                <a:cs typeface="Segoe UI" panose="020B0502040204020203" pitchFamily="34" charset="0"/>
              </a:rPr>
              <a:t> for you</a:t>
            </a:r>
            <a:endParaRPr lang="en-US" sz="900" kern="1200">
              <a:solidFill>
                <a:schemeClr val="tx1"/>
              </a:solidFill>
              <a:effectLst/>
              <a:latin typeface="Segoe UI" panose="020B0502040204020203" pitchFamily="34" charset="0"/>
              <a:cs typeface="Segoe UI" panose="020B0502040204020203" pitchFamily="34" charset="0"/>
            </a:endParaRP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4</a:t>
            </a:fld>
            <a:endParaRPr lang="en-US" noProof="0"/>
          </a:p>
        </p:txBody>
      </p:sp>
    </p:spTree>
    <p:extLst>
      <p:ext uri="{BB962C8B-B14F-4D97-AF65-F5344CB8AC3E}">
        <p14:creationId xmlns:p14="http://schemas.microsoft.com/office/powerpoint/2010/main" val="145180749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a:hlinkClick r:id="rId3" tooltip="https://docs.microsoft.com/en-us/azure/sql-database/sql-database-business-continuity"/>
              </a:rPr>
              <a:t>Business continuity</a:t>
            </a:r>
            <a:r>
              <a:rPr lang="en-US"/>
              <a:t> enables your business to continue operating in the face of disruption, particularly to its computing infrastructure.</a:t>
            </a:r>
          </a:p>
          <a:p>
            <a:pPr lvl="0">
              <a:buFont typeface="Arial" panose="020B0604020202020204" pitchFamily="34" charset="0"/>
              <a:buChar char="•"/>
            </a:pPr>
            <a:endParaRPr lang="en-US">
              <a:hlinkClick r:id="rId4" tooltip="https://docs.microsoft.com/en-us/azure/sql-database/sql-database-high-availability"/>
            </a:endParaRPr>
          </a:p>
          <a:p>
            <a:pPr marL="171450" lvl="0" indent="-171450">
              <a:buFont typeface="Arial" panose="020B0604020202020204" pitchFamily="34" charset="0"/>
              <a:buChar char="•"/>
            </a:pPr>
            <a:r>
              <a:rPr lang="en-US">
                <a:hlinkClick r:id="rId4" tooltip="https://docs.microsoft.com/en-us/azure/sql-database/sql-database-high-availability"/>
              </a:rPr>
              <a:t>High availability</a:t>
            </a:r>
            <a:r>
              <a:rPr lang="en-US"/>
              <a:t> of Azure SQL Database guarantees your databases are up and running 99.99% of the time, no need to worry about maintenance/downtimes.</a:t>
            </a:r>
          </a:p>
          <a:p>
            <a:pPr rtl="0" eaLnBrk="1" fontAlgn="ctr" latinLnBrk="0" hangingPunct="1"/>
            <a:r>
              <a:rPr lang="en-US" sz="1100" b="0" i="0" u="none" strike="noStrike" kern="1200">
                <a:solidFill>
                  <a:schemeClr val="tx1"/>
                </a:solidFill>
                <a:effectLst/>
                <a:latin typeface="+mn-lt"/>
                <a:ea typeface="+mn-ea"/>
                <a:cs typeface="+mn-cs"/>
              </a:rPr>
              <a:t>2 read replicas - GP</a:t>
            </a:r>
          </a:p>
          <a:p>
            <a:pPr rtl="0" eaLnBrk="1" fontAlgn="ctr" latinLnBrk="0" hangingPunct="1"/>
            <a:r>
              <a:rPr lang="it-IT" sz="1100" b="0" i="0" u="none" strike="noStrike" kern="1200">
                <a:solidFill>
                  <a:schemeClr val="tx1"/>
                </a:solidFill>
                <a:effectLst/>
                <a:latin typeface="+mn-lt"/>
                <a:ea typeface="+mn-ea"/>
                <a:cs typeface="+mn-cs"/>
              </a:rPr>
              <a:t>3 replicas, 1 read-scale replica, zone-redundant HA - BC</a:t>
            </a:r>
            <a:endParaRPr lang="en-US" sz="1100" b="0" i="0" u="none" strike="noStrike" kern="1200">
              <a:solidFill>
                <a:schemeClr val="tx1"/>
              </a:solidFill>
              <a:effectLst/>
              <a:latin typeface="+mn-lt"/>
              <a:ea typeface="+mn-ea"/>
              <a:cs typeface="+mn-cs"/>
            </a:endParaRPr>
          </a:p>
          <a:p>
            <a:pPr rtl="0" eaLnBrk="1" fontAlgn="ctr" latinLnBrk="0" hangingPunct="1"/>
            <a:r>
              <a:rPr lang="en-US" sz="1100" b="0" i="0" u="none" strike="noStrike" kern="1200">
                <a:solidFill>
                  <a:schemeClr val="tx1"/>
                </a:solidFill>
                <a:effectLst/>
                <a:latin typeface="+mn-lt"/>
                <a:ea typeface="+mn-ea"/>
                <a:cs typeface="+mn-cs"/>
              </a:rPr>
              <a:t>Primary read/write replica + up to 4 read replicas - HS</a:t>
            </a:r>
          </a:p>
          <a:p>
            <a:pPr rtl="0" eaLnBrk="1" fontAlgn="ctr" latinLnBrk="0" hangingPunct="1"/>
            <a:endParaRPr lang="en-US" sz="1100" b="0" i="0" u="none" strike="noStrike" kern="1200">
              <a:solidFill>
                <a:schemeClr val="tx1"/>
              </a:solidFill>
              <a:effectLst/>
              <a:latin typeface="+mn-lt"/>
              <a:ea typeface="+mn-ea"/>
              <a:cs typeface="+mn-cs"/>
            </a:endParaRPr>
          </a:p>
          <a:p>
            <a:pPr marL="171450" indent="-171450" rtl="0" eaLnBrk="1" fontAlgn="ctr" latinLnBrk="0" hangingPunct="1">
              <a:buFont typeface="Arial" panose="020B0604020202020204" pitchFamily="34" charset="0"/>
              <a:buChar char="•"/>
            </a:pPr>
            <a:r>
              <a:rPr lang="en-US">
                <a:hlinkClick r:id="rId5" tooltip="https://docs.microsoft.com/en-us/azure/sql-database/sql-database-automated-backups"/>
              </a:rPr>
              <a:t>Automated backups</a:t>
            </a:r>
            <a:r>
              <a:rPr lang="en-US"/>
              <a:t> are created and use Azure read-access geo-redundant storage (RA-GRS) to provide geo-redundancy.</a:t>
            </a:r>
          </a:p>
          <a:p>
            <a:pPr lvl="0"/>
            <a:r>
              <a:rPr lang="en-US"/>
              <a:t>Also Point in Time restore.</a:t>
            </a:r>
          </a:p>
          <a:p>
            <a:pPr lvl="0"/>
            <a:endParaRPr lang="en-US"/>
          </a:p>
          <a:p>
            <a:pPr marL="171450" lvl="0" indent="-171450">
              <a:buFont typeface="Arial" panose="020B0604020202020204" pitchFamily="34" charset="0"/>
              <a:buChar char="•"/>
            </a:pPr>
            <a:r>
              <a:rPr lang="en-US">
                <a:hlinkClick r:id="rId6" tooltip="https://docs.microsoft.com/en-us/azure/sql-database/sql-database-long-term-retention"/>
              </a:rPr>
              <a:t>Long term backup retention</a:t>
            </a:r>
            <a:r>
              <a:rPr lang="en-US"/>
              <a:t> enables you to store specific full databases for up to 10 years.</a:t>
            </a:r>
          </a:p>
          <a:p>
            <a:pPr lvl="0"/>
            <a:endParaRPr lang="en-US"/>
          </a:p>
          <a:p>
            <a:pPr marL="171450" lvl="0" indent="-171450">
              <a:buFont typeface="Arial" panose="020B0604020202020204" pitchFamily="34" charset="0"/>
              <a:buChar char="•"/>
            </a:pPr>
            <a:r>
              <a:rPr lang="en-US">
                <a:hlinkClick r:id="rId7" tooltip="https://docs.microsoft.com/en-us/azure/sql-database/sql-database-geo-replication-overview"/>
              </a:rPr>
              <a:t>Geo-replication</a:t>
            </a:r>
            <a:r>
              <a:rPr lang="en-US"/>
              <a:t> by creating readable replicas of your database in the same or different data center (region). You can manually failover to readable replicas</a:t>
            </a:r>
          </a:p>
          <a:p>
            <a:pPr lvl="0"/>
            <a:r>
              <a:rPr lang="en-US"/>
              <a:t>Also Auto-failover groups allows an application to recover in case of a data center outage</a:t>
            </a:r>
          </a:p>
          <a:p>
            <a:pPr lvl="0"/>
            <a:endParaRPr lang="en-US"/>
          </a:p>
          <a:p>
            <a:pPr marL="171450" lvl="0" indent="-171450">
              <a:buFont typeface="Arial" panose="020B0604020202020204" pitchFamily="34" charset="0"/>
              <a:buChar char="•"/>
            </a:pPr>
            <a:r>
              <a:rPr lang="en-US">
                <a:hlinkClick r:id="rId8" tooltip="https://docs.microsoft.com/en-us/azure/sql-database/sql-database-scale-resources"/>
              </a:rPr>
              <a:t>Scale</a:t>
            </a:r>
            <a:r>
              <a:rPr lang="en-US"/>
              <a:t> by easily adding more resources (CPU, memory, storage) without long provisioning.</a:t>
            </a:r>
          </a:p>
          <a:p>
            <a:pPr marL="171450" lvl="0" indent="-171450">
              <a:buFont typeface="Arial" panose="020B0604020202020204" pitchFamily="34" charset="0"/>
              <a:buChar char="•"/>
            </a:pPr>
            <a:endParaRPr lang="en-US"/>
          </a:p>
          <a:p>
            <a:pPr marL="171450" lvl="0" indent="-171450">
              <a:buFont typeface="Arial" panose="020B0604020202020204" pitchFamily="34" charset="0"/>
              <a:buChar char="•"/>
            </a:pPr>
            <a:r>
              <a:rPr lang="en-US">
                <a:hlinkClick r:id="rId9" tooltip="https://docs.microsoft.com/en-us/azure/sql-database/sql-database-security-index"/>
              </a:rPr>
              <a:t>Advanced security</a:t>
            </a:r>
            <a:r>
              <a:rPr lang="en-US"/>
              <a:t> detects threats and vulnerabilities in your databases and enables you to secure your data.</a:t>
            </a:r>
          </a:p>
          <a:p>
            <a:pPr marL="171450" lvl="0" indent="-171450">
              <a:buFont typeface="Arial" panose="020B0604020202020204" pitchFamily="34" charset="0"/>
              <a:buChar char="•"/>
            </a:pPr>
            <a:endParaRPr lang="en-US"/>
          </a:p>
          <a:p>
            <a:pPr marL="171450" lvl="0" indent="-171450">
              <a:buFont typeface="Arial" panose="020B0604020202020204" pitchFamily="34" charset="0"/>
              <a:buChar char="•"/>
            </a:pPr>
            <a:r>
              <a:rPr lang="en-US">
                <a:hlinkClick r:id="rId10" tooltip="https://docs.microsoft.com/en-us/azure/sql-database/sql-database-automatic-tuning"/>
              </a:rPr>
              <a:t>Automatic tuning</a:t>
            </a:r>
            <a:r>
              <a:rPr lang="en-US"/>
              <a:t> analyzes your workload and provides you the recommendations that can optimize performance of your applications by adding indexes, removing unused indexes, and automatically fixing the query plan issues.</a:t>
            </a:r>
          </a:p>
          <a:p>
            <a:pPr marL="171450" lvl="0" indent="-171450">
              <a:buFont typeface="Arial" panose="020B0604020202020204" pitchFamily="34" charset="0"/>
              <a:buChar char="•"/>
            </a:pPr>
            <a:endParaRPr lang="en-US"/>
          </a:p>
          <a:p>
            <a:pPr marL="171450" lvl="0" indent="-171450">
              <a:buFont typeface="Arial" panose="020B0604020202020204" pitchFamily="34" charset="0"/>
              <a:buChar char="•"/>
            </a:pPr>
            <a:r>
              <a:rPr lang="en-US">
                <a:hlinkClick r:id="rId11" tooltip="https://docs.microsoft.com/en-us/azure/log-analytics/log-analytics-azure-sql"/>
              </a:rPr>
              <a:t>Built-in monitoring</a:t>
            </a:r>
            <a:r>
              <a:rPr lang="en-US"/>
              <a:t> capabilities enable you to get the insights into performance of your databases and workload, and troubleshoot the performance issues.</a:t>
            </a:r>
          </a:p>
          <a:p>
            <a:pPr marL="171450" lvl="0" indent="-171450">
              <a:buFont typeface="Arial" panose="020B0604020202020204" pitchFamily="34" charset="0"/>
              <a:buChar char="•"/>
            </a:pPr>
            <a:endParaRPr lang="en-US"/>
          </a:p>
          <a:p>
            <a:pPr marL="171450" lvl="0" indent="-171450">
              <a:buFont typeface="Arial" panose="020B0604020202020204" pitchFamily="34" charset="0"/>
              <a:buChar char="•"/>
            </a:pPr>
            <a:r>
              <a:rPr lang="en-US">
                <a:hlinkClick r:id="rId12" tooltip="https://docs.microsoft.com/en-us/azure/sql-database/sql-database-intelligent-insights"/>
              </a:rPr>
              <a:t>Built-in intelligence</a:t>
            </a:r>
            <a:r>
              <a:rPr lang="en-US"/>
              <a:t> automatically identifies the potential issues in your workload and provides you the recommendations that can help you to fix the problems.</a:t>
            </a:r>
          </a:p>
          <a:p>
            <a:pPr lvl="0"/>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5</a:t>
            </a:fld>
            <a:endParaRPr lang="en-US" noProof="0"/>
          </a:p>
        </p:txBody>
      </p:sp>
    </p:spTree>
    <p:extLst>
      <p:ext uri="{BB962C8B-B14F-4D97-AF65-F5344CB8AC3E}">
        <p14:creationId xmlns:p14="http://schemas.microsoft.com/office/powerpoint/2010/main" val="273925401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Configurable could be replaced with “choice of automation”</a:t>
            </a:r>
          </a:p>
          <a:p>
            <a:pPr lvl="0"/>
            <a:endParaRPr lang="en-US"/>
          </a:p>
          <a:p>
            <a:r>
              <a:rPr lang="en-US" sz="900" kern="1200">
                <a:solidFill>
                  <a:schemeClr val="tx1"/>
                </a:solidFill>
                <a:effectLst/>
                <a:latin typeface="+mn-lt"/>
                <a:ea typeface="+mn-ea"/>
                <a:cs typeface="+mn-cs"/>
              </a:rPr>
              <a:t>SQL VM with defaults; “automated security patching” comes as built-in.</a:t>
            </a:r>
          </a:p>
          <a:p>
            <a:r>
              <a:rPr lang="en-US" sz="900" kern="1200">
                <a:solidFill>
                  <a:schemeClr val="tx1"/>
                </a:solidFill>
                <a:effectLst/>
                <a:latin typeface="+mn-lt"/>
                <a:ea typeface="+mn-ea"/>
                <a:cs typeface="+mn-cs"/>
              </a:rPr>
              <a:t>But, can use services (automations provided by Microsoft for free) to enable:</a:t>
            </a:r>
          </a:p>
          <a:p>
            <a:pPr lvl="0"/>
            <a:r>
              <a:rPr lang="en-US" sz="900" kern="1200">
                <a:solidFill>
                  <a:schemeClr val="tx1"/>
                </a:solidFill>
                <a:effectLst/>
                <a:latin typeface="+mn-lt"/>
                <a:ea typeface="+mn-ea"/>
                <a:cs typeface="+mn-cs"/>
              </a:rPr>
              <a:t>-HA for an SLA they choose, either 99.95% or 99.99%</a:t>
            </a:r>
          </a:p>
          <a:p>
            <a:pPr lvl="0"/>
            <a:r>
              <a:rPr lang="en-US" sz="900" kern="1200">
                <a:solidFill>
                  <a:schemeClr val="tx1"/>
                </a:solidFill>
                <a:effectLst/>
                <a:latin typeface="+mn-lt"/>
                <a:ea typeface="+mn-ea"/>
                <a:cs typeface="+mn-cs"/>
              </a:rPr>
              <a:t>-Automated backup</a:t>
            </a:r>
          </a:p>
          <a:p>
            <a:pPr lvl="0"/>
            <a:r>
              <a:rPr lang="en-US" sz="900" kern="1200">
                <a:solidFill>
                  <a:schemeClr val="tx1"/>
                </a:solidFill>
                <a:effectLst/>
                <a:latin typeface="+mn-lt"/>
                <a:ea typeface="+mn-ea"/>
                <a:cs typeface="+mn-cs"/>
              </a:rPr>
              <a:t>-Advanced threat detection and vulnerability assessment</a:t>
            </a:r>
          </a:p>
          <a:p>
            <a:r>
              <a:rPr lang="en-US" sz="900" kern="1200">
                <a:solidFill>
                  <a:schemeClr val="tx1"/>
                </a:solidFill>
                <a:effectLst/>
                <a:latin typeface="+mn-lt"/>
                <a:ea typeface="+mn-ea"/>
                <a:cs typeface="+mn-cs"/>
              </a:rPr>
              <a:t> </a:t>
            </a:r>
          </a:p>
          <a:p>
            <a:r>
              <a:rPr lang="en-US" sz="900" kern="1200">
                <a:solidFill>
                  <a:schemeClr val="tx1"/>
                </a:solidFill>
                <a:effectLst/>
                <a:latin typeface="+mn-lt"/>
                <a:ea typeface="+mn-ea"/>
                <a:cs typeface="+mn-cs"/>
              </a:rPr>
              <a:t>They can do the followings manually, but we do not have an automation for that:</a:t>
            </a:r>
          </a:p>
          <a:p>
            <a:pPr lvl="0"/>
            <a:r>
              <a:rPr lang="en-US" sz="900" kern="1200">
                <a:solidFill>
                  <a:schemeClr val="tx1"/>
                </a:solidFill>
                <a:effectLst/>
                <a:latin typeface="+mn-lt"/>
                <a:ea typeface="+mn-ea"/>
                <a:cs typeface="+mn-cs"/>
              </a:rPr>
              <a:t>-Add readable DR replica in same region; different zone</a:t>
            </a:r>
          </a:p>
          <a:p>
            <a:pPr lvl="0"/>
            <a:r>
              <a:rPr lang="en-US" sz="900" kern="1200">
                <a:solidFill>
                  <a:schemeClr val="tx1"/>
                </a:solidFill>
                <a:effectLst/>
                <a:latin typeface="+mn-lt"/>
                <a:ea typeface="+mn-ea"/>
                <a:cs typeface="+mn-cs"/>
              </a:rPr>
              <a:t>-Add a Geo-Dr replica</a:t>
            </a:r>
          </a:p>
          <a:p>
            <a:r>
              <a:rPr lang="en-US" sz="900" kern="1200">
                <a:solidFill>
                  <a:schemeClr val="tx1"/>
                </a:solidFill>
                <a:effectLst/>
                <a:latin typeface="+mn-lt"/>
                <a:ea typeface="+mn-ea"/>
                <a:cs typeface="+mn-cs"/>
              </a:rPr>
              <a:t> </a:t>
            </a:r>
          </a:p>
          <a:p>
            <a:r>
              <a:rPr lang="en-US" sz="900" kern="1200">
                <a:solidFill>
                  <a:schemeClr val="tx1"/>
                </a:solidFill>
                <a:effectLst/>
                <a:latin typeface="+mn-lt"/>
                <a:ea typeface="+mn-ea"/>
                <a:cs typeface="+mn-cs"/>
              </a:rPr>
              <a:t>With VM deployment type they can “Control” the level of </a:t>
            </a:r>
            <a:r>
              <a:rPr lang="en-US" sz="900" kern="1200" err="1">
                <a:solidFill>
                  <a:schemeClr val="tx1"/>
                </a:solidFill>
                <a:effectLst/>
                <a:latin typeface="+mn-lt"/>
                <a:ea typeface="+mn-ea"/>
                <a:cs typeface="+mn-cs"/>
              </a:rPr>
              <a:t>Managebility</a:t>
            </a:r>
            <a:r>
              <a:rPr lang="en-US" sz="900" kern="1200">
                <a:solidFill>
                  <a:schemeClr val="tx1"/>
                </a:solidFill>
                <a:effectLst/>
                <a:latin typeface="+mn-lt"/>
                <a:ea typeface="+mn-ea"/>
                <a:cs typeface="+mn-cs"/>
              </a:rPr>
              <a:t> they prefer.</a:t>
            </a:r>
          </a:p>
          <a:p>
            <a:r>
              <a:rPr lang="en-US" sz="900" kern="1200">
                <a:solidFill>
                  <a:schemeClr val="tx1"/>
                </a:solidFill>
                <a:effectLst/>
                <a:latin typeface="+mn-lt"/>
                <a:ea typeface="+mn-ea"/>
                <a:cs typeface="+mn-cs"/>
              </a:rPr>
              <a:t>E.g., do not have to sacrifice their patching or update policies to get automated HADR. </a:t>
            </a:r>
          </a:p>
          <a:p>
            <a:r>
              <a:rPr lang="en-US" sz="900" kern="1200">
                <a:solidFill>
                  <a:schemeClr val="tx1"/>
                </a:solidFill>
                <a:effectLst/>
                <a:latin typeface="+mn-lt"/>
                <a:ea typeface="+mn-ea"/>
                <a:cs typeface="+mn-cs"/>
              </a:rPr>
              <a:t>Can choose form available administration services and configure only the ones they prefer.</a:t>
            </a:r>
          </a:p>
          <a:p>
            <a:r>
              <a:rPr lang="en-US" sz="900" kern="1200">
                <a:solidFill>
                  <a:schemeClr val="tx1"/>
                </a:solidFill>
                <a:effectLst/>
                <a:latin typeface="+mn-lt"/>
                <a:ea typeface="+mn-ea"/>
                <a:cs typeface="+mn-cs"/>
              </a:rPr>
              <a:t> </a:t>
            </a:r>
          </a:p>
          <a:p>
            <a:r>
              <a:rPr lang="en-US" sz="900" kern="1200">
                <a:solidFill>
                  <a:schemeClr val="tx1"/>
                </a:solidFill>
                <a:effectLst/>
                <a:latin typeface="+mn-lt"/>
                <a:ea typeface="+mn-ea"/>
                <a:cs typeface="+mn-cs"/>
              </a:rPr>
              <a:t>Flexible platform where you can add-on the services they want and keep manual maintenance on others.</a:t>
            </a:r>
          </a:p>
          <a:p>
            <a:pPr lvl="0"/>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6</a:t>
            </a:fld>
            <a:endParaRPr lang="en-US" noProof="0"/>
          </a:p>
        </p:txBody>
      </p:sp>
    </p:spTree>
    <p:extLst>
      <p:ext uri="{BB962C8B-B14F-4D97-AF65-F5344CB8AC3E}">
        <p14:creationId xmlns:p14="http://schemas.microsoft.com/office/powerpoint/2010/main" val="236509706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a:solidFill>
                  <a:schemeClr val="tx1"/>
                </a:solidFill>
                <a:effectLst/>
                <a:latin typeface="Segoe UI Light" pitchFamily="34" charset="0"/>
                <a:ea typeface="+mn-ea"/>
                <a:cs typeface="+mn-cs"/>
              </a:rPr>
              <a:t>You can use the Azure Pricing Calculator to calculate your total application cost when using Azure SQL Database or when using SQL Server on Azure VM:</a:t>
            </a:r>
          </a:p>
          <a:p>
            <a:r>
              <a:rPr lang="en-US">
                <a:hlinkClick r:id="rId3"/>
              </a:rPr>
              <a:t>https://azure.microsoft.com/en-us/pricing/</a:t>
            </a:r>
            <a:r>
              <a:rPr lang="en-US"/>
              <a:t>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7</a:t>
            </a:fld>
            <a:endParaRPr lang="en-US" noProof="0"/>
          </a:p>
        </p:txBody>
      </p:sp>
    </p:spTree>
    <p:extLst>
      <p:ext uri="{BB962C8B-B14F-4D97-AF65-F5344CB8AC3E}">
        <p14:creationId xmlns:p14="http://schemas.microsoft.com/office/powerpoint/2010/main" val="144032165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900"/>
              <a:t>We’re hearing from our customers that they want to leverage the cloud to enable new intelligent apps, while cutting costs… And what we’re hearing from developers is that they need a way to leverage their existing investments, while at the same time enable new, cutting-edge experiences… </a:t>
            </a:r>
          </a:p>
          <a:p>
            <a:pPr fontAlgn="base"/>
            <a:endParaRPr lang="en-US" sz="900"/>
          </a:p>
          <a:p>
            <a:pPr fontAlgn="base"/>
            <a:r>
              <a:rPr lang="en-US" sz="900"/>
              <a:t>We have a </a:t>
            </a:r>
            <a:r>
              <a:rPr lang="en-US" sz="900" b="1"/>
              <a:t>fully-automated </a:t>
            </a:r>
            <a:r>
              <a:rPr lang="en-US" sz="900" b="0"/>
              <a:t>service called </a:t>
            </a:r>
            <a:r>
              <a:rPr lang="en-US" sz="900" b="1"/>
              <a:t>Azure Database Migration Service</a:t>
            </a:r>
            <a:r>
              <a:rPr lang="en-US" sz="900"/>
              <a:t> allows you to lift and shift your on-premises SQL Servers and Oracle…</a:t>
            </a:r>
          </a:p>
          <a:p>
            <a:pPr fontAlgn="base"/>
            <a:endParaRPr lang="en-US" sz="900"/>
          </a:p>
          <a:p>
            <a:pPr fontAlgn="base"/>
            <a:r>
              <a:rPr lang="en-US" sz="900"/>
              <a:t>…to an </a:t>
            </a:r>
            <a:r>
              <a:rPr lang="en-US" sz="900" b="1"/>
              <a:t>Azure SQL Database Managed Instance </a:t>
            </a:r>
            <a:r>
              <a:rPr lang="en-US" sz="900"/>
              <a:t>with a surface area like an on-premises SQL Server, but the maintenance and administration benefits of Azure SQL DB.</a:t>
            </a:r>
          </a:p>
          <a:p>
            <a:pPr fontAlgn="base"/>
            <a:endParaRPr lang="en-US" sz="900"/>
          </a:p>
          <a:p>
            <a:pPr marL="0" marR="0" lvl="0" indent="0" algn="l" defTabSz="914367" rtl="0" eaLnBrk="1" fontAlgn="base" latinLnBrk="0" hangingPunct="1">
              <a:lnSpc>
                <a:spcPct val="90000"/>
              </a:lnSpc>
              <a:spcBef>
                <a:spcPts val="0"/>
              </a:spcBef>
              <a:spcAft>
                <a:spcPts val="333"/>
              </a:spcAft>
              <a:buClrTx/>
              <a:buSzTx/>
              <a:buFontTx/>
              <a:buNone/>
              <a:tabLst/>
              <a:defRPr/>
            </a:pPr>
            <a:r>
              <a:rPr lang="en-US" sz="900"/>
              <a:t>To sweeten the deal… the </a:t>
            </a:r>
            <a:r>
              <a:rPr lang="en-US" sz="900" b="1"/>
              <a:t>Azure Hybrid Benefit</a:t>
            </a:r>
            <a:r>
              <a:rPr lang="en-US" sz="900"/>
              <a:t> maximizes your existing investments in on-premises licenses with discounted rates on Managed Instance. </a:t>
            </a:r>
            <a:r>
              <a:rPr lang="en-US" sz="800" kern="1200">
                <a:solidFill>
                  <a:schemeClr val="tx1"/>
                </a:solidFill>
                <a:effectLst/>
                <a:latin typeface="Segoe UI Light" pitchFamily="34" charset="0"/>
                <a:ea typeface="+mn-ea"/>
                <a:cs typeface="+mn-cs"/>
              </a:rPr>
              <a:t>In fact, customers can save up to </a:t>
            </a:r>
            <a:r>
              <a:rPr lang="en-US" sz="800" b="1" kern="1200">
                <a:solidFill>
                  <a:schemeClr val="tx1"/>
                </a:solidFill>
                <a:effectLst/>
                <a:latin typeface="Segoe UI Light" pitchFamily="34" charset="0"/>
                <a:ea typeface="+mn-ea"/>
                <a:cs typeface="+mn-cs"/>
              </a:rPr>
              <a:t>55% </a:t>
            </a:r>
            <a:r>
              <a:rPr lang="en-US" sz="800" kern="1200">
                <a:solidFill>
                  <a:schemeClr val="tx1"/>
                </a:solidFill>
                <a:effectLst/>
                <a:latin typeface="Segoe UI Light" pitchFamily="34" charset="0"/>
                <a:ea typeface="+mn-ea"/>
                <a:cs typeface="+mn-cs"/>
              </a:rPr>
              <a:t>on SQL Server using hybrid benefits</a:t>
            </a:r>
            <a:endParaRPr lang="en-US" sz="900"/>
          </a:p>
          <a:p>
            <a:pPr marL="0" indent="0" fontAlgn="base">
              <a:buNone/>
            </a:pPr>
            <a:r>
              <a:rPr lang="en-US" sz="900"/>
              <a:t> </a:t>
            </a:r>
          </a:p>
          <a:p>
            <a:pPr fontAlgn="base"/>
            <a:r>
              <a:rPr lang="en-US" sz="900"/>
              <a:t>[Transition]: These services and offers give you more freedom in your choice about where and how to manage your data and applications.    </a:t>
            </a:r>
          </a:p>
          <a:p>
            <a:pPr marL="0" indent="0" fontAlgn="base">
              <a:buNone/>
            </a:pPr>
            <a:r>
              <a:rPr lang="en-US" sz="900"/>
              <a:t>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8</a:t>
            </a:fld>
            <a:endParaRPr lang="en-US" noProof="0"/>
          </a:p>
        </p:txBody>
      </p:sp>
    </p:spTree>
    <p:extLst>
      <p:ext uri="{BB962C8B-B14F-4D97-AF65-F5344CB8AC3E}">
        <p14:creationId xmlns:p14="http://schemas.microsoft.com/office/powerpoint/2010/main" val="360945003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900" kern="1200">
                <a:solidFill>
                  <a:schemeClr val="tx1"/>
                </a:solidFill>
                <a:effectLst/>
                <a:latin typeface="+mn-lt"/>
                <a:ea typeface="+mn-ea"/>
                <a:cs typeface="+mn-cs"/>
              </a:rPr>
              <a:t>SQL Server Enterprise Edition customers can use an unlimited virtualization benefit for their on-premises workloads.</a:t>
            </a:r>
            <a:r>
              <a:rPr lang="en-US"/>
              <a:t> </a:t>
            </a:r>
            <a:r>
              <a:rPr lang="en-US" sz="900" kern="1200">
                <a:solidFill>
                  <a:schemeClr val="tx1"/>
                </a:solidFill>
                <a:effectLst/>
                <a:latin typeface="+mn-lt"/>
                <a:ea typeface="+mn-ea"/>
                <a:cs typeface="+mn-cs"/>
              </a:rPr>
              <a:t> However, moving to the cloud to take advantage of its management, flexibility and cost benefits can be cost prohibitive for some heavily virtualized customers.</a:t>
            </a:r>
            <a:r>
              <a:rPr lang="en-US"/>
              <a:t> </a:t>
            </a:r>
            <a:r>
              <a:rPr lang="en-US" sz="900" kern="1200">
                <a:solidFill>
                  <a:schemeClr val="tx1"/>
                </a:solidFill>
                <a:effectLst/>
                <a:latin typeface="+mn-lt"/>
                <a:ea typeface="+mn-ea"/>
                <a:cs typeface="+mn-cs"/>
              </a:rPr>
              <a:t> The Azure Hybrid Benefit for SQL Server provides SQL Enterprise Edition customers with Software Assurance the ability to get </a:t>
            </a:r>
            <a:r>
              <a:rPr lang="en-US" sz="900" b="1" kern="1200">
                <a:solidFill>
                  <a:schemeClr val="tx1"/>
                </a:solidFill>
                <a:effectLst/>
                <a:latin typeface="+mn-lt"/>
                <a:ea typeface="+mn-ea"/>
                <a:cs typeface="+mn-cs"/>
              </a:rPr>
              <a:t>4 cores in the cloud for every 1 core they own on-premises </a:t>
            </a:r>
            <a:r>
              <a:rPr lang="en-US" sz="900" kern="1200">
                <a:solidFill>
                  <a:schemeClr val="tx1"/>
                </a:solidFill>
                <a:effectLst/>
                <a:latin typeface="+mn-lt"/>
                <a:ea typeface="+mn-ea"/>
                <a:cs typeface="+mn-cs"/>
              </a:rPr>
              <a:t>for workloads moving to the General Purpose </a:t>
            </a:r>
            <a:r>
              <a:rPr lang="en-US"/>
              <a:t>or Hyperscale SKU</a:t>
            </a:r>
            <a:r>
              <a:rPr lang="en-US" sz="900" kern="1200">
                <a:solidFill>
                  <a:schemeClr val="tx1"/>
                </a:solidFill>
                <a:effectLst/>
                <a:latin typeface="+mn-lt"/>
                <a:ea typeface="+mn-ea"/>
                <a:cs typeface="+mn-cs"/>
              </a:rPr>
              <a:t> – the SKU that best meets the requirements for highly virtualized workloads. This makes moving virtualized applications to SQL Database highly cost effective as customers will not have to purchase incremental </a:t>
            </a:r>
            <a:r>
              <a:rPr lang="en-US" sz="900" kern="1200" err="1">
                <a:solidFill>
                  <a:schemeClr val="tx1"/>
                </a:solidFill>
                <a:effectLst/>
                <a:latin typeface="+mn-lt"/>
                <a:ea typeface="+mn-ea"/>
                <a:cs typeface="+mn-cs"/>
              </a:rPr>
              <a:t>vCores</a:t>
            </a:r>
            <a:r>
              <a:rPr lang="en-US" sz="900" kern="1200">
                <a:solidFill>
                  <a:schemeClr val="tx1"/>
                </a:solidFill>
                <a:effectLst/>
                <a:latin typeface="+mn-lt"/>
                <a:ea typeface="+mn-ea"/>
                <a:cs typeface="+mn-cs"/>
              </a:rPr>
              <a:t> to move their virtualized application to the clou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a:solidFill>
                <a:schemeClr val="tx1"/>
              </a:solidFill>
              <a:effectLst/>
              <a:latin typeface="+mn-lt"/>
              <a:ea typeface="+mn-ea"/>
              <a:cs typeface="+mn-cs"/>
            </a:endParaRP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9</a:t>
            </a:fld>
            <a:endParaRPr lang="en-US" noProof="0"/>
          </a:p>
        </p:txBody>
      </p:sp>
    </p:spTree>
    <p:extLst>
      <p:ext uri="{BB962C8B-B14F-4D97-AF65-F5344CB8AC3E}">
        <p14:creationId xmlns:p14="http://schemas.microsoft.com/office/powerpoint/2010/main" val="203403185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71948027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Q1: </a:t>
            </a:r>
            <a:r>
              <a:rPr lang="en-US" sz="900">
                <a:solidFill>
                  <a:srgbClr val="FFFFFF"/>
                </a:solidFill>
              </a:rPr>
              <a:t>What are the main motivations to choose for Azure SQL Database?</a:t>
            </a:r>
            <a:endParaRPr kumimoji="0" lang="en-US" sz="900" b="0" i="0" u="none" strike="noStrike" kern="1200" cap="none" spc="0" normalizeH="0" baseline="0" noProof="0">
              <a:ln>
                <a:noFill/>
              </a:ln>
              <a:solidFill>
                <a:srgbClr val="FFFFFF"/>
              </a:solidFill>
              <a:effectLst/>
              <a:uLnTx/>
              <a:uFillTx/>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a:t>Answer 1</a:t>
            </a:r>
            <a:r>
              <a:rPr lang="en-US" baseline="0"/>
              <a:t>:</a:t>
            </a:r>
          </a:p>
          <a:p>
            <a:pPr marL="171450" lvl="0" indent="-171450">
              <a:buFont typeface="Arial" panose="020B0604020202020204" pitchFamily="34" charset="0"/>
              <a:buChar char="•"/>
              <a:defRPr/>
            </a:pPr>
            <a:r>
              <a:rPr lang="en-US"/>
              <a:t>New cloud-designed applications that want to use the latest stable SQL Server features and have time constraints in development and marketing.</a:t>
            </a:r>
          </a:p>
          <a:p>
            <a:pPr marL="171450" lvl="0" indent="-171450">
              <a:buFont typeface="Arial" panose="020B0604020202020204" pitchFamily="34" charset="0"/>
              <a:buChar char="•"/>
              <a:defRPr/>
            </a:pPr>
            <a:r>
              <a:rPr lang="en-US"/>
              <a:t>Teams that need built-in high availability, disaster recovery, and upgrade for the database.</a:t>
            </a:r>
          </a:p>
          <a:p>
            <a:pPr marL="171450" lvl="0" indent="-171450">
              <a:buFont typeface="Arial" panose="020B0604020202020204" pitchFamily="34" charset="0"/>
              <a:buChar char="•"/>
              <a:defRPr/>
            </a:pPr>
            <a:r>
              <a:rPr lang="en-US"/>
              <a:t>Teams that do not want to manage the underlying operating system and configuration settings.</a:t>
            </a:r>
          </a:p>
          <a:p>
            <a:pPr marL="171450" lvl="0" indent="-171450">
              <a:buFont typeface="Arial" panose="020B0604020202020204" pitchFamily="34" charset="0"/>
              <a:buChar char="•"/>
              <a:defRPr/>
            </a:pPr>
            <a:r>
              <a:rPr lang="en-US"/>
              <a:t>Databases of up to 4 TB, or larger databases that can be horizontally or vertically partitioned using a scale-out pattern.</a:t>
            </a:r>
            <a:r>
              <a:rPr lang="en-US" sz="900">
                <a:solidFill>
                  <a:srgbClr val="FFFFFF"/>
                </a:solidFill>
              </a:rPr>
              <a:t> can you compare the Total Application Cost between Azure SQL Database and SQL Server in Azure VM?</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endParaRPr lang="en-US" baseline="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a:t>Q2: </a:t>
            </a:r>
            <a:r>
              <a:rPr lang="en-US" sz="900">
                <a:solidFill>
                  <a:srgbClr val="FFFFFF"/>
                </a:solidFill>
              </a:rPr>
              <a:t>How can you compare the Total Application Cost between Azure SQL Database and SQL Server in Azure VM?</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r>
              <a:rPr lang="en-US" baseline="0"/>
              <a:t>Answer 2:</a:t>
            </a:r>
          </a:p>
          <a:p>
            <a:r>
              <a:rPr lang="en-US"/>
              <a:t>You can use the Azure Pricing Calculator to calculate your total application cost.</a:t>
            </a:r>
            <a:endParaRPr lang="en-US" baseline="0"/>
          </a:p>
          <a:p>
            <a:pPr marL="171450" indent="-171450">
              <a:buFont typeface="Arial" panose="020B0604020202020204" pitchFamily="34" charset="0"/>
              <a:buChar char="•"/>
            </a:pPr>
            <a:r>
              <a:rPr lang="nl-BE">
                <a:solidFill>
                  <a:schemeClr val="bg1"/>
                </a:solidFill>
              </a:rPr>
              <a:t>When using Azure SQL Database</a:t>
            </a:r>
          </a:p>
          <a:p>
            <a:pPr marL="0" indent="0">
              <a:buNone/>
            </a:pPr>
            <a:r>
              <a:rPr lang="nl-BE" sz="900" i="1" kern="1200">
                <a:solidFill>
                  <a:schemeClr val="bg1"/>
                </a:solidFill>
                <a:latin typeface="Segoe UI Light" pitchFamily="34" charset="0"/>
                <a:ea typeface="+mn-ea"/>
                <a:cs typeface="+mn-cs"/>
              </a:rPr>
              <a:t>Total cost of application = Highly minimized administration costs + software development costs + Azure SQL Database service costs</a:t>
            </a:r>
          </a:p>
          <a:p>
            <a:pPr marL="171450" indent="-171450">
              <a:buFont typeface="Arial" panose="020B0604020202020204" pitchFamily="34" charset="0"/>
              <a:buChar char="•"/>
            </a:pPr>
            <a:r>
              <a:rPr lang="nl-BE" sz="1100" kern="1200">
                <a:solidFill>
                  <a:schemeClr val="bg1"/>
                </a:solidFill>
                <a:latin typeface="Segoe UI Light" pitchFamily="34" charset="0"/>
                <a:ea typeface="+mn-ea"/>
                <a:cs typeface="+mn-cs"/>
              </a:rPr>
              <a:t>When using SQL Server in Azure VM</a:t>
            </a:r>
          </a:p>
          <a:p>
            <a:pPr defTabSz="914400"/>
            <a:r>
              <a:rPr lang="en-US" sz="900" i="1" kern="0">
                <a:solidFill>
                  <a:schemeClr val="bg1"/>
                </a:solidFill>
              </a:rPr>
              <a:t>Total cost of application = Minimized software development/modification costs + administration costs + SQL Server &amp; Windows Server licensing costs + Azure Storage costs</a:t>
            </a:r>
          </a:p>
          <a:p>
            <a:pPr marL="217262" lvl="1" indent="0">
              <a:buNone/>
            </a:pPr>
            <a:endParaRPr lang="en-AU"/>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1</a:t>
            </a:fld>
            <a:endParaRPr lang="en-US" noProof="0"/>
          </a:p>
        </p:txBody>
      </p:sp>
    </p:spTree>
    <p:extLst>
      <p:ext uri="{BB962C8B-B14F-4D97-AF65-F5344CB8AC3E}">
        <p14:creationId xmlns:p14="http://schemas.microsoft.com/office/powerpoint/2010/main" val="122623282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2</a:t>
            </a:fld>
            <a:endParaRPr lang="en-US" noProof="0"/>
          </a:p>
        </p:txBody>
      </p:sp>
    </p:spTree>
    <p:extLst>
      <p:ext uri="{BB962C8B-B14F-4D97-AF65-F5344CB8AC3E}">
        <p14:creationId xmlns:p14="http://schemas.microsoft.com/office/powerpoint/2010/main" val="1572741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SQL has evolved over the years to include Virtual Machine, Managed Instances, and several options for Databases. There are now multiple deployment options with the flexibility to scale to your needs, and there have been over seven million deployments of some form of Azure SQL. The architecture for Azure SQL has also evolved to meet the ever growing demands of applications. E.g. elastic databases, vCore choices, Business Critical deployments, Hyperscale, and Serverless architectur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ince 2008, SQL Server has changed a lot and Azure SQL has changed a lot. It's no surprise then that the role of the SQL Server professional has also changed a lot and today I want to help you become an Azure SQL professional.</a:t>
            </a:r>
          </a:p>
          <a:p>
            <a:pPr lvl="0"/>
            <a:endParaRPr lang="en-US" dirty="0"/>
          </a:p>
          <a:p>
            <a:pPr lvl="0"/>
            <a:endParaRPr lang="en-US" dirty="0"/>
          </a:p>
          <a:p>
            <a:pPr lvl="0"/>
            <a:r>
              <a:rPr lang="en-US" dirty="0"/>
              <a:t>2006</a:t>
            </a:r>
          </a:p>
          <a:p>
            <a:pPr lvl="1"/>
            <a:r>
              <a:rPr lang="en-US" dirty="0" err="1"/>
              <a:t>CloudDB</a:t>
            </a:r>
            <a:r>
              <a:rPr lang="en-US" dirty="0"/>
              <a:t> Project</a:t>
            </a:r>
          </a:p>
          <a:p>
            <a:pPr lvl="1"/>
            <a:r>
              <a:rPr lang="en-US" dirty="0" err="1"/>
              <a:t>RedDog</a:t>
            </a:r>
            <a:r>
              <a:rPr lang="en-US" dirty="0"/>
              <a:t> Project</a:t>
            </a:r>
          </a:p>
          <a:p>
            <a:pPr lvl="0"/>
            <a:r>
              <a:rPr lang="en-US" dirty="0"/>
              <a:t>2008</a:t>
            </a:r>
          </a:p>
          <a:p>
            <a:pPr lvl="1"/>
            <a:r>
              <a:rPr lang="en-US" dirty="0"/>
              <a:t>Windows Azure and SQL Data Services announced at PDC</a:t>
            </a:r>
          </a:p>
          <a:p>
            <a:pPr lvl="0"/>
            <a:r>
              <a:rPr lang="en-US" dirty="0"/>
              <a:t>2010</a:t>
            </a:r>
          </a:p>
          <a:p>
            <a:pPr lvl="1"/>
            <a:r>
              <a:rPr lang="en-US" dirty="0"/>
              <a:t>Windows Azure and SQL Azure officially launch.</a:t>
            </a:r>
          </a:p>
          <a:p>
            <a:pPr lvl="0"/>
            <a:r>
              <a:rPr lang="en-US" dirty="0"/>
              <a:t>2012</a:t>
            </a:r>
          </a:p>
          <a:p>
            <a:pPr lvl="1"/>
            <a:r>
              <a:rPr lang="en-US" dirty="0"/>
              <a:t>SQL Azure branded Azure SQL Database</a:t>
            </a:r>
          </a:p>
          <a:p>
            <a:pPr lvl="0"/>
            <a:r>
              <a:rPr lang="en-US" dirty="0"/>
              <a:t>2013</a:t>
            </a:r>
          </a:p>
          <a:p>
            <a:pPr lvl="1"/>
            <a:r>
              <a:rPr lang="en-US" dirty="0"/>
              <a:t>Azure Virtual Machines released</a:t>
            </a:r>
          </a:p>
          <a:p>
            <a:pPr lvl="0"/>
            <a:r>
              <a:rPr lang="en-US" dirty="0"/>
              <a:t>2014</a:t>
            </a:r>
          </a:p>
          <a:p>
            <a:pPr lvl="1"/>
            <a:r>
              <a:rPr lang="en-US" dirty="0"/>
              <a:t>Windows Azure branded Microsoft Azure</a:t>
            </a:r>
          </a:p>
          <a:p>
            <a:pPr lvl="0"/>
            <a:r>
              <a:rPr lang="en-US" dirty="0"/>
              <a:t>2015</a:t>
            </a:r>
          </a:p>
          <a:p>
            <a:pPr lvl="1"/>
            <a:r>
              <a:rPr lang="en-US" dirty="0"/>
              <a:t>Azure SQL Database V12 released</a:t>
            </a:r>
          </a:p>
          <a:p>
            <a:pPr lvl="0"/>
            <a:r>
              <a:rPr lang="en-US" dirty="0"/>
              <a:t>2016</a:t>
            </a:r>
          </a:p>
          <a:p>
            <a:pPr lvl="1"/>
            <a:r>
              <a:rPr lang="en-US" dirty="0"/>
              <a:t>Azure SQL Database Elastic Pools released</a:t>
            </a:r>
          </a:p>
          <a:p>
            <a:pPr lvl="0"/>
            <a:r>
              <a:rPr lang="en-US" dirty="0"/>
              <a:t>2018</a:t>
            </a:r>
          </a:p>
          <a:p>
            <a:pPr lvl="1"/>
            <a:r>
              <a:rPr lang="en-US" dirty="0"/>
              <a:t>Azure SQL Database Managed Instance released</a:t>
            </a:r>
          </a:p>
          <a:p>
            <a:pPr lvl="0"/>
            <a:r>
              <a:rPr lang="en-US" dirty="0"/>
              <a:t>2019</a:t>
            </a:r>
          </a:p>
          <a:p>
            <a:pPr lvl="1"/>
            <a:r>
              <a:rPr lang="en-US" dirty="0"/>
              <a:t>Azure SQL Database Hyperscale Released</a:t>
            </a:r>
          </a:p>
          <a:p>
            <a:pPr lvl="1"/>
            <a:r>
              <a:rPr lang="en-US" dirty="0"/>
              <a:t>Azure SQL Database Serverless Released</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2022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66613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2022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24972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69841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79732084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tags" Target="../tags/tag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 id="2147483754" r:id="rId45"/>
    <p:sldLayoutId id="2147483755" r:id="rId46"/>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9.sv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19.svg"/><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diagramColors" Target="../diagrams/colors3.xml"/><Relationship Id="rId11" Type="http://schemas.openxmlformats.org/officeDocument/2006/relationships/image" Target="../media/image18.png"/><Relationship Id="rId5" Type="http://schemas.openxmlformats.org/officeDocument/2006/relationships/diagramQuickStyle" Target="../diagrams/quickStyle3.xml"/><Relationship Id="rId10" Type="http://schemas.openxmlformats.org/officeDocument/2006/relationships/image" Target="../media/image17.svg"/><Relationship Id="rId4" Type="http://schemas.openxmlformats.org/officeDocument/2006/relationships/diagramLayout" Target="../diagrams/layout3.xml"/><Relationship Id="rId9" Type="http://schemas.openxmlformats.org/officeDocument/2006/relationships/image" Target="../media/image16.png"/></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7.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image" Target="../media/image21.svg"/><Relationship Id="rId11" Type="http://schemas.openxmlformats.org/officeDocument/2006/relationships/hyperlink" Target="https://docs.microsoft.com/en-us/azure/sql-database/sql-database-instance-pools" TargetMode="External"/><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6.jpeg"/><Relationship Id="rId4" Type="http://schemas.openxmlformats.org/officeDocument/2006/relationships/notesSlide" Target="../notesSlides/notesSlide17.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azure/sql-database/sql-database-dtu-resource-limits-single-databases#single-database-storage-sizes-and-compute-sizes" TargetMode="External"/><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5.xml.rels><?xml version="1.0" encoding="UTF-8" standalone="yes"?>
<Relationships xmlns="http://schemas.openxmlformats.org/package/2006/relationships"><Relationship Id="rId3" Type="http://schemas.openxmlformats.org/officeDocument/2006/relationships/hyperlink" Target="https://azure.microsoft.com/en-us/pricing/details/sql-database/" TargetMode="External"/><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9.xml"/><Relationship Id="rId1" Type="http://schemas.openxmlformats.org/officeDocument/2006/relationships/tags" Target="../tags/tag9.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9.xml"/><Relationship Id="rId1" Type="http://schemas.openxmlformats.org/officeDocument/2006/relationships/tags" Target="../tags/tag10.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9.xml"/><Relationship Id="rId1" Type="http://schemas.openxmlformats.org/officeDocument/2006/relationships/tags" Target="../tags/tag11.xml"/><Relationship Id="rId4" Type="http://schemas.openxmlformats.org/officeDocument/2006/relationships/image" Target="../media/image28.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9.xml"/><Relationship Id="rId1" Type="http://schemas.openxmlformats.org/officeDocument/2006/relationships/slideLayout" Target="../slideLayouts/slideLayout9.xml"/><Relationship Id="rId4" Type="http://schemas.openxmlformats.org/officeDocument/2006/relationships/image" Target="../media/image30.svg"/></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0.xml"/><Relationship Id="rId1" Type="http://schemas.openxmlformats.org/officeDocument/2006/relationships/slideLayout" Target="../slideLayouts/slideLayout9.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37.xml"/><Relationship Id="rId1" Type="http://schemas.openxmlformats.org/officeDocument/2006/relationships/slideLayout" Target="../slideLayouts/slideLayout9.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38.xml"/><Relationship Id="rId1" Type="http://schemas.openxmlformats.org/officeDocument/2006/relationships/slideLayout" Target="../slideLayouts/slideLayout9.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33.jpeg"/><Relationship Id="rId4" Type="http://schemas.openxmlformats.org/officeDocument/2006/relationships/notesSlide" Target="../notesSlides/notesSlide39.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40.xml"/><Relationship Id="rId1" Type="http://schemas.openxmlformats.org/officeDocument/2006/relationships/slideLayout" Target="../slideLayouts/slideLayout14.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3" Type="http://schemas.openxmlformats.org/officeDocument/2006/relationships/customXml" Target="../../customXml/item6.xml"/><Relationship Id="rId7" Type="http://schemas.openxmlformats.org/officeDocument/2006/relationships/image" Target="../media/image4.png"/><Relationship Id="rId2" Type="http://schemas.openxmlformats.org/officeDocument/2006/relationships/customXml" Target="../../customXml/item1.xml"/><Relationship Id="rId1" Type="http://schemas.openxmlformats.org/officeDocument/2006/relationships/tags" Target="../tags/tag14.xml"/><Relationship Id="rId6" Type="http://schemas.openxmlformats.org/officeDocument/2006/relationships/notesSlide" Target="../notesSlides/notesSlide42.xml"/><Relationship Id="rId5" Type="http://schemas.openxmlformats.org/officeDocument/2006/relationships/slideLayout" Target="../slideLayouts/slideLayout9.xml"/><Relationship Id="rId4" Type="http://schemas.openxmlformats.org/officeDocument/2006/relationships/tags" Target="../tags/tag1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44.xml"/><Relationship Id="rId1" Type="http://schemas.openxmlformats.org/officeDocument/2006/relationships/slideLayout" Target="../slideLayouts/slideLayout9.xml"/><Relationship Id="rId6" Type="http://schemas.openxmlformats.org/officeDocument/2006/relationships/diagramColors" Target="../diagrams/colors13.xml"/><Relationship Id="rId5" Type="http://schemas.openxmlformats.org/officeDocument/2006/relationships/diagramQuickStyle" Target="../diagrams/quickStyle13.xml"/><Relationship Id="rId10" Type="http://schemas.openxmlformats.org/officeDocument/2006/relationships/image" Target="../media/image36.png"/><Relationship Id="rId4" Type="http://schemas.openxmlformats.org/officeDocument/2006/relationships/diagramLayout" Target="../diagrams/layout13.xml"/><Relationship Id="rId9" Type="http://schemas.openxmlformats.org/officeDocument/2006/relationships/image" Target="../media/image35.png"/></Relationships>
</file>

<file path=ppt/slides/_rels/slide4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2.xml"/><Relationship Id="rId7" Type="http://schemas.openxmlformats.org/officeDocument/2006/relationships/image" Target="../media/image4.png"/><Relationship Id="rId2" Type="http://schemas.openxmlformats.org/officeDocument/2006/relationships/customXml" Target="../../customXml/item7.xml"/><Relationship Id="rId1" Type="http://schemas.openxmlformats.org/officeDocument/2006/relationships/tags" Target="../tags/tag5.xml"/><Relationship Id="rId6" Type="http://schemas.openxmlformats.org/officeDocument/2006/relationships/notesSlide" Target="../notesSlides/notesSlide1.xml"/><Relationship Id="rId5" Type="http://schemas.openxmlformats.org/officeDocument/2006/relationships/slideLayout" Target="../slideLayouts/slideLayout9.xml"/><Relationship Id="rId4" Type="http://schemas.openxmlformats.org/officeDocument/2006/relationships/tags" Target="../tags/tag6.xml"/></Relationships>
</file>

<file path=ppt/slides/_rels/slide5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46.xml"/><Relationship Id="rId1" Type="http://schemas.openxmlformats.org/officeDocument/2006/relationships/slideLayout" Target="../slideLayouts/slideLayout9.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0.xml"/><Relationship Id="rId1" Type="http://schemas.openxmlformats.org/officeDocument/2006/relationships/tags" Target="../tags/tag16.xml"/><Relationship Id="rId4" Type="http://schemas.openxmlformats.org/officeDocument/2006/relationships/image" Target="../media/image26.jpe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39.png"/><Relationship Id="rId4" Type="http://schemas.openxmlformats.org/officeDocument/2006/relationships/notesSlide" Target="../notesSlides/notesSlide48.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33.jpeg"/><Relationship Id="rId4" Type="http://schemas.openxmlformats.org/officeDocument/2006/relationships/notesSlide" Target="../notesSlides/notesSlide49.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50.xml"/><Relationship Id="rId1" Type="http://schemas.openxmlformats.org/officeDocument/2006/relationships/slideLayout" Target="../slideLayouts/slideLayout14.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3" Type="http://schemas.openxmlformats.org/officeDocument/2006/relationships/customXml" Target="../../customXml/item3.xml"/><Relationship Id="rId7" Type="http://schemas.openxmlformats.org/officeDocument/2006/relationships/image" Target="../media/image4.png"/><Relationship Id="rId2" Type="http://schemas.openxmlformats.org/officeDocument/2006/relationships/customXml" Target="../../customXml/item8.xml"/><Relationship Id="rId1" Type="http://schemas.openxmlformats.org/officeDocument/2006/relationships/tags" Target="../tags/tag21.xml"/><Relationship Id="rId6" Type="http://schemas.openxmlformats.org/officeDocument/2006/relationships/notesSlide" Target="../notesSlides/notesSlide52.xml"/><Relationship Id="rId5" Type="http://schemas.openxmlformats.org/officeDocument/2006/relationships/slideLayout" Target="../slideLayouts/slideLayout9.xml"/><Relationship Id="rId4" Type="http://schemas.openxmlformats.org/officeDocument/2006/relationships/tags" Target="../tags/tag22.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0.png"/><Relationship Id="rId4" Type="http://schemas.openxmlformats.org/officeDocument/2006/relationships/notesSlide" Target="../notesSlides/notesSlide53.xml"/></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54.xml"/><Relationship Id="rId1" Type="http://schemas.openxmlformats.org/officeDocument/2006/relationships/slideLayout" Target="../slideLayouts/slideLayout9.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59.xml.rels><?xml version="1.0" encoding="UTF-8" standalone="yes"?>
<Relationships xmlns="http://schemas.openxmlformats.org/package/2006/relationships"><Relationship Id="rId3" Type="http://schemas.openxmlformats.org/officeDocument/2006/relationships/hyperlink" Target="https://docs.microsoft.com/en-us/azure/sql-database/sql-database-dtu-resource-limits-elastic-pools" TargetMode="External"/><Relationship Id="rId2" Type="http://schemas.openxmlformats.org/officeDocument/2006/relationships/notesSlide" Target="../notesSlides/notesSlide5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hyperlink" Target="https://docs.microsoft.com/en-us/azure/sql-database/sql-database-vcore-resource-limits-elastic-pools" TargetMode="External"/><Relationship Id="rId2" Type="http://schemas.openxmlformats.org/officeDocument/2006/relationships/notesSlide" Target="../notesSlides/notesSlide56.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3" Type="http://schemas.openxmlformats.org/officeDocument/2006/relationships/hyperlink" Target="https://docs.microsoft.com/en-us/azure/sql-database/sql-database-vcore-resource-limits-elastic-pools" TargetMode="External"/><Relationship Id="rId2" Type="http://schemas.openxmlformats.org/officeDocument/2006/relationships/notesSlide" Target="../notesSlides/notesSlide57.xml"/><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58.xml"/><Relationship Id="rId1" Type="http://schemas.openxmlformats.org/officeDocument/2006/relationships/slideLayout" Target="../slideLayouts/slideLayout9.xml"/><Relationship Id="rId6" Type="http://schemas.openxmlformats.org/officeDocument/2006/relationships/diagramColors" Target="../diagrams/colors17.xml"/><Relationship Id="rId5" Type="http://schemas.openxmlformats.org/officeDocument/2006/relationships/diagramQuickStyle" Target="../diagrams/quickStyle17.xml"/><Relationship Id="rId10" Type="http://schemas.openxmlformats.org/officeDocument/2006/relationships/image" Target="../media/image51.png"/><Relationship Id="rId4" Type="http://schemas.openxmlformats.org/officeDocument/2006/relationships/diagramLayout" Target="../diagrams/layout17.xml"/><Relationship Id="rId9" Type="http://schemas.openxmlformats.org/officeDocument/2006/relationships/image" Target="../media/image50.png"/></Relationships>
</file>

<file path=ppt/slides/_rels/slide63.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59.xml"/><Relationship Id="rId1" Type="http://schemas.openxmlformats.org/officeDocument/2006/relationships/slideLayout" Target="../slideLayouts/slideLayout9.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64.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60.xml"/><Relationship Id="rId1" Type="http://schemas.openxmlformats.org/officeDocument/2006/relationships/slideLayout" Target="../slideLayouts/slideLayout9.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65.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61.xml"/><Relationship Id="rId1" Type="http://schemas.openxmlformats.org/officeDocument/2006/relationships/slideLayout" Target="../slideLayouts/slideLayout9.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66.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62.xml"/><Relationship Id="rId1" Type="http://schemas.openxmlformats.org/officeDocument/2006/relationships/slideLayout" Target="../slideLayouts/slideLayout9.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26.jpeg"/><Relationship Id="rId4" Type="http://schemas.openxmlformats.org/officeDocument/2006/relationships/notesSlide" Target="../notesSlides/notesSlide63.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33.jpeg"/><Relationship Id="rId4" Type="http://schemas.openxmlformats.org/officeDocument/2006/relationships/notesSlide" Target="../notesSlides/notesSlide64.xml"/></Relationships>
</file>

<file path=ppt/slides/_rels/slide69.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65.xml"/><Relationship Id="rId1" Type="http://schemas.openxmlformats.org/officeDocument/2006/relationships/slideLayout" Target="../slideLayouts/slideLayout14.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hyperlink" Target="https://azure.microsoft.com/en-us/global-infrastructure/regions/" TargetMode="Externa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6.xml"/></Relationships>
</file>

<file path=ppt/slides/_rels/slide71.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4.png"/><Relationship Id="rId2" Type="http://schemas.openxmlformats.org/officeDocument/2006/relationships/customXml" Target="../../customXml/item10.xml"/><Relationship Id="rId1" Type="http://schemas.openxmlformats.org/officeDocument/2006/relationships/tags" Target="../tags/tag27.xml"/><Relationship Id="rId6" Type="http://schemas.openxmlformats.org/officeDocument/2006/relationships/notesSlide" Target="../notesSlides/notesSlide67.xml"/><Relationship Id="rId5" Type="http://schemas.openxmlformats.org/officeDocument/2006/relationships/slideLayout" Target="../slideLayouts/slideLayout9.xml"/><Relationship Id="rId4" Type="http://schemas.openxmlformats.org/officeDocument/2006/relationships/tags" Target="../tags/tag28.xml"/></Relationships>
</file>

<file path=ppt/slides/_rels/slide7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68.xml"/><Relationship Id="rId1" Type="http://schemas.openxmlformats.org/officeDocument/2006/relationships/slideLayout" Target="../slideLayouts/slideLayout9.xml"/><Relationship Id="rId6" Type="http://schemas.openxmlformats.org/officeDocument/2006/relationships/image" Target="../media/image9.sv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slides/_rels/slide73.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69.xml"/><Relationship Id="rId1" Type="http://schemas.openxmlformats.org/officeDocument/2006/relationships/slideLayout" Target="../slideLayouts/slideLayout9.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74.xml.rels><?xml version="1.0" encoding="UTF-8" standalone="yes"?>
<Relationships xmlns="http://schemas.openxmlformats.org/package/2006/relationships"><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70.xml"/><Relationship Id="rId1" Type="http://schemas.openxmlformats.org/officeDocument/2006/relationships/slideLayout" Target="../slideLayouts/slideLayout9.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75.xml.rels><?xml version="1.0" encoding="UTF-8" standalone="yes"?>
<Relationships xmlns="http://schemas.openxmlformats.org/package/2006/relationships"><Relationship Id="rId8" Type="http://schemas.openxmlformats.org/officeDocument/2006/relationships/diagramData" Target="../diagrams/data26.xml"/><Relationship Id="rId3" Type="http://schemas.openxmlformats.org/officeDocument/2006/relationships/diagramData" Target="../diagrams/data25.xml"/><Relationship Id="rId7" Type="http://schemas.microsoft.com/office/2007/relationships/diagramDrawing" Target="../diagrams/drawing25.xml"/><Relationship Id="rId12" Type="http://schemas.microsoft.com/office/2007/relationships/diagramDrawing" Target="../diagrams/drawing26.xml"/><Relationship Id="rId2" Type="http://schemas.openxmlformats.org/officeDocument/2006/relationships/notesSlide" Target="../notesSlides/notesSlide71.xml"/><Relationship Id="rId1" Type="http://schemas.openxmlformats.org/officeDocument/2006/relationships/slideLayout" Target="../slideLayouts/slideLayout9.xml"/><Relationship Id="rId6" Type="http://schemas.openxmlformats.org/officeDocument/2006/relationships/diagramColors" Target="../diagrams/colors25.xml"/><Relationship Id="rId11" Type="http://schemas.openxmlformats.org/officeDocument/2006/relationships/diagramColors" Target="../diagrams/colors26.xml"/><Relationship Id="rId5" Type="http://schemas.openxmlformats.org/officeDocument/2006/relationships/diagramQuickStyle" Target="../diagrams/quickStyle25.xml"/><Relationship Id="rId10" Type="http://schemas.openxmlformats.org/officeDocument/2006/relationships/diagramQuickStyle" Target="../diagrams/quickStyle26.xml"/><Relationship Id="rId4" Type="http://schemas.openxmlformats.org/officeDocument/2006/relationships/diagramLayout" Target="../diagrams/layout25.xml"/><Relationship Id="rId9" Type="http://schemas.openxmlformats.org/officeDocument/2006/relationships/diagramLayout" Target="../diagrams/layout26.xml"/></Relationships>
</file>

<file path=ppt/slides/_rels/slide76.xml.rels><?xml version="1.0" encoding="UTF-8" standalone="yes"?>
<Relationships xmlns="http://schemas.openxmlformats.org/package/2006/relationships"><Relationship Id="rId8" Type="http://schemas.openxmlformats.org/officeDocument/2006/relationships/diagramData" Target="../diagrams/data28.xml"/><Relationship Id="rId13" Type="http://schemas.openxmlformats.org/officeDocument/2006/relationships/image" Target="../media/image72.png"/><Relationship Id="rId3" Type="http://schemas.openxmlformats.org/officeDocument/2006/relationships/diagramData" Target="../diagrams/data27.xml"/><Relationship Id="rId7" Type="http://schemas.microsoft.com/office/2007/relationships/diagramDrawing" Target="../diagrams/drawing27.xml"/><Relationship Id="rId12" Type="http://schemas.microsoft.com/office/2007/relationships/diagramDrawing" Target="../diagrams/drawing28.xml"/><Relationship Id="rId2" Type="http://schemas.openxmlformats.org/officeDocument/2006/relationships/notesSlide" Target="../notesSlides/notesSlide72.xml"/><Relationship Id="rId1" Type="http://schemas.openxmlformats.org/officeDocument/2006/relationships/slideLayout" Target="../slideLayouts/slideLayout9.xml"/><Relationship Id="rId6" Type="http://schemas.openxmlformats.org/officeDocument/2006/relationships/diagramColors" Target="../diagrams/colors27.xml"/><Relationship Id="rId11" Type="http://schemas.openxmlformats.org/officeDocument/2006/relationships/diagramColors" Target="../diagrams/colors28.xml"/><Relationship Id="rId5" Type="http://schemas.openxmlformats.org/officeDocument/2006/relationships/diagramQuickStyle" Target="../diagrams/quickStyle27.xml"/><Relationship Id="rId10" Type="http://schemas.openxmlformats.org/officeDocument/2006/relationships/diagramQuickStyle" Target="../diagrams/quickStyle28.xml"/><Relationship Id="rId4" Type="http://schemas.openxmlformats.org/officeDocument/2006/relationships/diagramLayout" Target="../diagrams/layout27.xml"/><Relationship Id="rId9" Type="http://schemas.openxmlformats.org/officeDocument/2006/relationships/diagramLayout" Target="../diagrams/layout28.xml"/><Relationship Id="rId14" Type="http://schemas.openxmlformats.org/officeDocument/2006/relationships/image" Target="../media/image73.sv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diagramData" Target="../diagrams/data29.xml"/><Relationship Id="rId7" Type="http://schemas.microsoft.com/office/2007/relationships/diagramDrawing" Target="../diagrams/drawing29.xml"/><Relationship Id="rId2" Type="http://schemas.openxmlformats.org/officeDocument/2006/relationships/notesSlide" Target="../notesSlides/notesSlide74.xml"/><Relationship Id="rId1" Type="http://schemas.openxmlformats.org/officeDocument/2006/relationships/slideLayout" Target="../slideLayouts/slideLayout9.xml"/><Relationship Id="rId6" Type="http://schemas.openxmlformats.org/officeDocument/2006/relationships/diagramColors" Target="../diagrams/colors29.xml"/><Relationship Id="rId5" Type="http://schemas.openxmlformats.org/officeDocument/2006/relationships/diagramQuickStyle" Target="../diagrams/quickStyle29.xml"/><Relationship Id="rId4" Type="http://schemas.openxmlformats.org/officeDocument/2006/relationships/diagramLayout" Target="../diagrams/layout29.xml"/><Relationship Id="rId9" Type="http://schemas.openxmlformats.org/officeDocument/2006/relationships/image" Target="../media/image75.svg"/></Relationships>
</file>

<file path=ppt/slides/_rels/slide79.xml.rels><?xml version="1.0" encoding="UTF-8" standalone="yes"?>
<Relationships xmlns="http://schemas.openxmlformats.org/package/2006/relationships"><Relationship Id="rId3" Type="http://schemas.openxmlformats.org/officeDocument/2006/relationships/diagramData" Target="../diagrams/data30.xml"/><Relationship Id="rId7" Type="http://schemas.microsoft.com/office/2007/relationships/diagramDrawing" Target="../diagrams/drawing30.xml"/><Relationship Id="rId2" Type="http://schemas.openxmlformats.org/officeDocument/2006/relationships/notesSlide" Target="../notesSlides/notesSlide75.xml"/><Relationship Id="rId1" Type="http://schemas.openxmlformats.org/officeDocument/2006/relationships/slideLayout" Target="../slideLayouts/slideLayout9.xml"/><Relationship Id="rId6" Type="http://schemas.openxmlformats.org/officeDocument/2006/relationships/diagramColors" Target="../diagrams/colors30.xml"/><Relationship Id="rId5" Type="http://schemas.openxmlformats.org/officeDocument/2006/relationships/diagramQuickStyle" Target="../diagrams/quickStyle30.xml"/><Relationship Id="rId4" Type="http://schemas.openxmlformats.org/officeDocument/2006/relationships/diagramLayout" Target="../diagrams/layout3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33.jpeg"/><Relationship Id="rId4" Type="http://schemas.openxmlformats.org/officeDocument/2006/relationships/notesSlide" Target="../notesSlides/notesSlide76.xml"/></Relationships>
</file>

<file path=ppt/slides/_rels/slide81.xml.rels><?xml version="1.0" encoding="UTF-8" standalone="yes"?>
<Relationships xmlns="http://schemas.openxmlformats.org/package/2006/relationships"><Relationship Id="rId3" Type="http://schemas.openxmlformats.org/officeDocument/2006/relationships/diagramData" Target="../diagrams/data31.xml"/><Relationship Id="rId7" Type="http://schemas.microsoft.com/office/2007/relationships/diagramDrawing" Target="../diagrams/drawing31.xml"/><Relationship Id="rId2" Type="http://schemas.openxmlformats.org/officeDocument/2006/relationships/notesSlide" Target="../notesSlides/notesSlide77.xml"/><Relationship Id="rId1" Type="http://schemas.openxmlformats.org/officeDocument/2006/relationships/slideLayout" Target="../slideLayouts/slideLayout14.xml"/><Relationship Id="rId6" Type="http://schemas.openxmlformats.org/officeDocument/2006/relationships/diagramColors" Target="../diagrams/colors31.xml"/><Relationship Id="rId5" Type="http://schemas.openxmlformats.org/officeDocument/2006/relationships/diagramQuickStyle" Target="../diagrams/quickStyle31.xml"/><Relationship Id="rId4" Type="http://schemas.openxmlformats.org/officeDocument/2006/relationships/diagramLayout" Target="../diagrams/layout31.xml"/></Relationships>
</file>

<file path=ppt/slides/_rels/slide82.xml.rels><?xml version="1.0" encoding="UTF-8" standalone="yes"?>
<Relationships xmlns="http://schemas.openxmlformats.org/package/2006/relationships"><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notesSlide" Target="../notesSlides/notesSlide78.xml"/><Relationship Id="rId1" Type="http://schemas.openxmlformats.org/officeDocument/2006/relationships/slideLayout" Target="../slideLayouts/slideLayout10.xml"/><Relationship Id="rId6" Type="http://schemas.openxmlformats.org/officeDocument/2006/relationships/diagramColors" Target="../diagrams/colors32.xml"/><Relationship Id="rId5" Type="http://schemas.openxmlformats.org/officeDocument/2006/relationships/diagramQuickStyle" Target="../diagrams/quickStyle32.xml"/><Relationship Id="rId4" Type="http://schemas.openxmlformats.org/officeDocument/2006/relationships/diagramLayout" Target="../diagrams/layout3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b="1">
                <a:cs typeface="Segoe UI"/>
              </a:rPr>
              <a:t>Introduction to Azure SQL Database</a:t>
            </a:r>
            <a:endParaRPr lang="en-US"/>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a:t>Module 1</a:t>
            </a:r>
          </a:p>
        </p:txBody>
      </p:sp>
      <p:sp>
        <p:nvSpPr>
          <p:cNvPr id="6" name="Picture Placeholder 5" descr="Azure SQL Database logo">
            <a:extLst>
              <a:ext uri="{FF2B5EF4-FFF2-40B4-BE49-F238E27FC236}">
                <a16:creationId xmlns:a16="http://schemas.microsoft.com/office/drawing/2014/main" id="{0B24CF9C-EA03-4678-8221-3892B00F4889}"/>
              </a:ext>
            </a:extLst>
          </p:cNvPr>
          <p:cNvSpPr>
            <a:spLocks noGrp="1"/>
          </p:cNvSpPr>
          <p:nvPr>
            <p:ph type="pic" sz="quarter" idx="17"/>
          </p:nvPr>
        </p:nvSpPr>
        <p:spPr/>
      </p:sp>
      <p:grpSp>
        <p:nvGrpSpPr>
          <p:cNvPr id="7" name="Group 6" descr="Azure SQL Database">
            <a:extLst>
              <a:ext uri="{FF2B5EF4-FFF2-40B4-BE49-F238E27FC236}">
                <a16:creationId xmlns:a16="http://schemas.microsoft.com/office/drawing/2014/main" id="{261D9595-CE7D-4D58-A1AF-FD629EB2B795}"/>
              </a:ext>
            </a:extLst>
          </p:cNvPr>
          <p:cNvGrpSpPr/>
          <p:nvPr/>
        </p:nvGrpSpPr>
        <p:grpSpPr>
          <a:xfrm>
            <a:off x="8637150" y="2546372"/>
            <a:ext cx="727319" cy="990490"/>
            <a:chOff x="6538960" y="5922128"/>
            <a:chExt cx="174418" cy="231818"/>
          </a:xfrm>
        </p:grpSpPr>
        <p:sp>
          <p:nvSpPr>
            <p:cNvPr id="8" name="Freeform: Shape 7">
              <a:extLst>
                <a:ext uri="{FF2B5EF4-FFF2-40B4-BE49-F238E27FC236}">
                  <a16:creationId xmlns:a16="http://schemas.microsoft.com/office/drawing/2014/main" id="{88982525-3C12-4B8E-9B4A-BF3A60FD7065}"/>
                </a:ext>
              </a:extLst>
            </p:cNvPr>
            <p:cNvSpPr/>
            <p:nvPr/>
          </p:nvSpPr>
          <p:spPr>
            <a:xfrm>
              <a:off x="6538960" y="5954027"/>
              <a:ext cx="87199" cy="199919"/>
            </a:xfrm>
            <a:custGeom>
              <a:avLst/>
              <a:gdLst>
                <a:gd name="connsiteX0" fmla="*/ 0 w 87199"/>
                <a:gd name="connsiteY0" fmla="*/ 0 h 199919"/>
                <a:gd name="connsiteX1" fmla="*/ 0 w 87199"/>
                <a:gd name="connsiteY1" fmla="*/ 168018 h 199919"/>
                <a:gd name="connsiteX2" fmla="*/ 87200 w 87199"/>
                <a:gd name="connsiteY2" fmla="*/ 199919 h 199919"/>
                <a:gd name="connsiteX3" fmla="*/ 87200 w 87199"/>
                <a:gd name="connsiteY3" fmla="*/ 0 h 199919"/>
                <a:gd name="connsiteX4" fmla="*/ 0 w 87199"/>
                <a:gd name="connsiteY4" fmla="*/ 0 h 19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99" h="199919">
                  <a:moveTo>
                    <a:pt x="0" y="0"/>
                  </a:moveTo>
                  <a:lnTo>
                    <a:pt x="0" y="168018"/>
                  </a:lnTo>
                  <a:cubicBezTo>
                    <a:pt x="0" y="185032"/>
                    <a:pt x="39346" y="199919"/>
                    <a:pt x="87200" y="199919"/>
                  </a:cubicBezTo>
                  <a:lnTo>
                    <a:pt x="87200" y="0"/>
                  </a:lnTo>
                  <a:lnTo>
                    <a:pt x="0" y="0"/>
                  </a:lnTo>
                  <a:close/>
                </a:path>
              </a:pathLst>
            </a:custGeom>
            <a:solidFill>
              <a:srgbClr val="3999C6"/>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F814A6FE-F15A-4308-8ACB-57063992BB74}"/>
                </a:ext>
              </a:extLst>
            </p:cNvPr>
            <p:cNvSpPr/>
            <p:nvPr/>
          </p:nvSpPr>
          <p:spPr>
            <a:xfrm>
              <a:off x="6625116" y="5954027"/>
              <a:ext cx="88262" cy="199919"/>
            </a:xfrm>
            <a:custGeom>
              <a:avLst/>
              <a:gdLst>
                <a:gd name="connsiteX0" fmla="*/ 0 w 88262"/>
                <a:gd name="connsiteY0" fmla="*/ 199919 h 199919"/>
                <a:gd name="connsiteX1" fmla="*/ 1063 w 88262"/>
                <a:gd name="connsiteY1" fmla="*/ 199919 h 199919"/>
                <a:gd name="connsiteX2" fmla="*/ 88262 w 88262"/>
                <a:gd name="connsiteY2" fmla="*/ 168018 h 199919"/>
                <a:gd name="connsiteX3" fmla="*/ 88262 w 88262"/>
                <a:gd name="connsiteY3" fmla="*/ 0 h 199919"/>
                <a:gd name="connsiteX4" fmla="*/ 0 w 88262"/>
                <a:gd name="connsiteY4" fmla="*/ 0 h 199919"/>
                <a:gd name="connsiteX5" fmla="*/ 0 w 88262"/>
                <a:gd name="connsiteY5" fmla="*/ 199919 h 19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2" h="199919">
                  <a:moveTo>
                    <a:pt x="0" y="199919"/>
                  </a:moveTo>
                  <a:lnTo>
                    <a:pt x="1063" y="199919"/>
                  </a:lnTo>
                  <a:cubicBezTo>
                    <a:pt x="48917" y="199919"/>
                    <a:pt x="88262" y="185032"/>
                    <a:pt x="88262" y="168018"/>
                  </a:cubicBezTo>
                  <a:lnTo>
                    <a:pt x="88262" y="0"/>
                  </a:lnTo>
                  <a:lnTo>
                    <a:pt x="0" y="0"/>
                  </a:lnTo>
                  <a:lnTo>
                    <a:pt x="0" y="199919"/>
                  </a:lnTo>
                  <a:close/>
                </a:path>
              </a:pathLst>
            </a:custGeom>
            <a:solidFill>
              <a:srgbClr val="5AB4D9"/>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00126FC7-2B66-48A8-95B4-C8F166EDA239}"/>
                </a:ext>
              </a:extLst>
            </p:cNvPr>
            <p:cNvSpPr/>
            <p:nvPr/>
          </p:nvSpPr>
          <p:spPr>
            <a:xfrm>
              <a:off x="6538960" y="5922128"/>
              <a:ext cx="174398" cy="63804"/>
            </a:xfrm>
            <a:custGeom>
              <a:avLst/>
              <a:gdLst>
                <a:gd name="connsiteX0" fmla="*/ 174398 w 174398"/>
                <a:gd name="connsiteY0" fmla="*/ 31902 h 63804"/>
                <a:gd name="connsiteX1" fmla="*/ 87200 w 174398"/>
                <a:gd name="connsiteY1" fmla="*/ 63805 h 63804"/>
                <a:gd name="connsiteX2" fmla="*/ 0 w 174398"/>
                <a:gd name="connsiteY2" fmla="*/ 31902 h 63804"/>
                <a:gd name="connsiteX3" fmla="*/ 87200 w 174398"/>
                <a:gd name="connsiteY3" fmla="*/ 0 h 63804"/>
                <a:gd name="connsiteX4" fmla="*/ 174398 w 174398"/>
                <a:gd name="connsiteY4" fmla="*/ 31902 h 63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398" h="63804">
                  <a:moveTo>
                    <a:pt x="174398" y="31902"/>
                  </a:moveTo>
                  <a:cubicBezTo>
                    <a:pt x="174398" y="48917"/>
                    <a:pt x="135053" y="63805"/>
                    <a:pt x="87200" y="63805"/>
                  </a:cubicBezTo>
                  <a:cubicBezTo>
                    <a:pt x="39346" y="63805"/>
                    <a:pt x="0" y="48917"/>
                    <a:pt x="0" y="31902"/>
                  </a:cubicBezTo>
                  <a:cubicBezTo>
                    <a:pt x="0" y="14888"/>
                    <a:pt x="39346" y="0"/>
                    <a:pt x="87200" y="0"/>
                  </a:cubicBezTo>
                  <a:cubicBezTo>
                    <a:pt x="135053" y="0"/>
                    <a:pt x="174398" y="13825"/>
                    <a:pt x="174398" y="31902"/>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E0A6CC92-D923-4401-9F07-5F07BAFF7365}"/>
                </a:ext>
              </a:extLst>
            </p:cNvPr>
            <p:cNvSpPr/>
            <p:nvPr/>
          </p:nvSpPr>
          <p:spPr>
            <a:xfrm>
              <a:off x="6557052" y="5930628"/>
              <a:ext cx="138242" cy="42536"/>
            </a:xfrm>
            <a:custGeom>
              <a:avLst/>
              <a:gdLst>
                <a:gd name="connsiteX0" fmla="*/ 138243 w 138242"/>
                <a:gd name="connsiteY0" fmla="*/ 21268 h 42536"/>
                <a:gd name="connsiteX1" fmla="*/ 69122 w 138242"/>
                <a:gd name="connsiteY1" fmla="*/ 42536 h 42536"/>
                <a:gd name="connsiteX2" fmla="*/ 0 w 138242"/>
                <a:gd name="connsiteY2" fmla="*/ 21268 h 42536"/>
                <a:gd name="connsiteX3" fmla="*/ 69122 w 138242"/>
                <a:gd name="connsiteY3" fmla="*/ 0 h 42536"/>
                <a:gd name="connsiteX4" fmla="*/ 138243 w 138242"/>
                <a:gd name="connsiteY4" fmla="*/ 21268 h 4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242" h="42536">
                  <a:moveTo>
                    <a:pt x="138243" y="21268"/>
                  </a:moveTo>
                  <a:cubicBezTo>
                    <a:pt x="138243" y="32966"/>
                    <a:pt x="107404" y="42536"/>
                    <a:pt x="69122" y="42536"/>
                  </a:cubicBezTo>
                  <a:cubicBezTo>
                    <a:pt x="30839" y="42536"/>
                    <a:pt x="0" y="32966"/>
                    <a:pt x="0" y="21268"/>
                  </a:cubicBezTo>
                  <a:cubicBezTo>
                    <a:pt x="0" y="9570"/>
                    <a:pt x="30839" y="0"/>
                    <a:pt x="69122" y="0"/>
                  </a:cubicBezTo>
                  <a:cubicBezTo>
                    <a:pt x="107404" y="0"/>
                    <a:pt x="138243" y="9570"/>
                    <a:pt x="138243" y="21268"/>
                  </a:cubicBezTo>
                  <a:close/>
                </a:path>
              </a:pathLst>
            </a:custGeom>
            <a:solidFill>
              <a:srgbClr val="7FBB42"/>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4EB4B58A-3706-4B62-842D-C0984AFF804F}"/>
                </a:ext>
              </a:extLst>
            </p:cNvPr>
            <p:cNvSpPr/>
            <p:nvPr/>
          </p:nvSpPr>
          <p:spPr>
            <a:xfrm>
              <a:off x="6558110" y="5930628"/>
              <a:ext cx="138242" cy="34028"/>
            </a:xfrm>
            <a:custGeom>
              <a:avLst/>
              <a:gdLst>
                <a:gd name="connsiteX0" fmla="*/ 123355 w 138242"/>
                <a:gd name="connsiteY0" fmla="*/ 34029 h 34028"/>
                <a:gd name="connsiteX1" fmla="*/ 138243 w 138242"/>
                <a:gd name="connsiteY1" fmla="*/ 21268 h 34028"/>
                <a:gd name="connsiteX2" fmla="*/ 69121 w 138242"/>
                <a:gd name="connsiteY2" fmla="*/ 0 h 34028"/>
                <a:gd name="connsiteX3" fmla="*/ 0 w 138242"/>
                <a:gd name="connsiteY3" fmla="*/ 20205 h 34028"/>
                <a:gd name="connsiteX4" fmla="*/ 13825 w 138242"/>
                <a:gd name="connsiteY4" fmla="*/ 32966 h 34028"/>
                <a:gd name="connsiteX5" fmla="*/ 69121 w 138242"/>
                <a:gd name="connsiteY5" fmla="*/ 24458 h 34028"/>
                <a:gd name="connsiteX6" fmla="*/ 123355 w 138242"/>
                <a:gd name="connsiteY6" fmla="*/ 34029 h 3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42" h="34028">
                  <a:moveTo>
                    <a:pt x="123355" y="34029"/>
                  </a:moveTo>
                  <a:cubicBezTo>
                    <a:pt x="131862" y="30839"/>
                    <a:pt x="138243" y="25522"/>
                    <a:pt x="138243" y="21268"/>
                  </a:cubicBezTo>
                  <a:cubicBezTo>
                    <a:pt x="138243" y="9570"/>
                    <a:pt x="107404" y="0"/>
                    <a:pt x="69121" y="0"/>
                  </a:cubicBezTo>
                  <a:cubicBezTo>
                    <a:pt x="30839" y="0"/>
                    <a:pt x="0" y="8508"/>
                    <a:pt x="0" y="20205"/>
                  </a:cubicBezTo>
                  <a:cubicBezTo>
                    <a:pt x="0" y="25522"/>
                    <a:pt x="5317" y="29775"/>
                    <a:pt x="13825" y="32966"/>
                  </a:cubicBezTo>
                  <a:cubicBezTo>
                    <a:pt x="26585" y="27648"/>
                    <a:pt x="46790" y="24458"/>
                    <a:pt x="69121" y="24458"/>
                  </a:cubicBezTo>
                  <a:cubicBezTo>
                    <a:pt x="90389" y="25522"/>
                    <a:pt x="110595" y="28712"/>
                    <a:pt x="123355" y="34029"/>
                  </a:cubicBezTo>
                  <a:close/>
                </a:path>
              </a:pathLst>
            </a:custGeom>
            <a:solidFill>
              <a:srgbClr val="B8D433"/>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56569348-E704-4955-975C-931EB670A361}"/>
                </a:ext>
              </a:extLst>
            </p:cNvPr>
            <p:cNvSpPr/>
            <p:nvPr/>
          </p:nvSpPr>
          <p:spPr>
            <a:xfrm>
              <a:off x="6560225" y="6021032"/>
              <a:ext cx="37219" cy="55297"/>
            </a:xfrm>
            <a:custGeom>
              <a:avLst/>
              <a:gdLst>
                <a:gd name="connsiteX0" fmla="*/ 0 w 37219"/>
                <a:gd name="connsiteY0" fmla="*/ 53171 h 55297"/>
                <a:gd name="connsiteX1" fmla="*/ 0 w 37219"/>
                <a:gd name="connsiteY1" fmla="*/ 41474 h 55297"/>
                <a:gd name="connsiteX2" fmla="*/ 6380 w 37219"/>
                <a:gd name="connsiteY2" fmla="*/ 45727 h 55297"/>
                <a:gd name="connsiteX3" fmla="*/ 13825 w 37219"/>
                <a:gd name="connsiteY3" fmla="*/ 46791 h 55297"/>
                <a:gd name="connsiteX4" fmla="*/ 18078 w 37219"/>
                <a:gd name="connsiteY4" fmla="*/ 45727 h 55297"/>
                <a:gd name="connsiteX5" fmla="*/ 21269 w 37219"/>
                <a:gd name="connsiteY5" fmla="*/ 44663 h 55297"/>
                <a:gd name="connsiteX6" fmla="*/ 22332 w 37219"/>
                <a:gd name="connsiteY6" fmla="*/ 42536 h 55297"/>
                <a:gd name="connsiteX7" fmla="*/ 23396 w 37219"/>
                <a:gd name="connsiteY7" fmla="*/ 40410 h 55297"/>
                <a:gd name="connsiteX8" fmla="*/ 22332 w 37219"/>
                <a:gd name="connsiteY8" fmla="*/ 37219 h 55297"/>
                <a:gd name="connsiteX9" fmla="*/ 20205 w 37219"/>
                <a:gd name="connsiteY9" fmla="*/ 35093 h 55297"/>
                <a:gd name="connsiteX10" fmla="*/ 17015 w 37219"/>
                <a:gd name="connsiteY10" fmla="*/ 32966 h 55297"/>
                <a:gd name="connsiteX11" fmla="*/ 12761 w 37219"/>
                <a:gd name="connsiteY11" fmla="*/ 30839 h 55297"/>
                <a:gd name="connsiteX12" fmla="*/ 3191 w 37219"/>
                <a:gd name="connsiteY12" fmla="*/ 24458 h 55297"/>
                <a:gd name="connsiteX13" fmla="*/ 0 w 37219"/>
                <a:gd name="connsiteY13" fmla="*/ 15952 h 55297"/>
                <a:gd name="connsiteX14" fmla="*/ 1064 w 37219"/>
                <a:gd name="connsiteY14" fmla="*/ 9571 h 55297"/>
                <a:gd name="connsiteX15" fmla="*/ 5318 w 37219"/>
                <a:gd name="connsiteY15" fmla="*/ 4254 h 55297"/>
                <a:gd name="connsiteX16" fmla="*/ 11698 w 37219"/>
                <a:gd name="connsiteY16" fmla="*/ 1064 h 55297"/>
                <a:gd name="connsiteX17" fmla="*/ 20205 w 37219"/>
                <a:gd name="connsiteY17" fmla="*/ 0 h 55297"/>
                <a:gd name="connsiteX18" fmla="*/ 27649 w 37219"/>
                <a:gd name="connsiteY18" fmla="*/ 1064 h 55297"/>
                <a:gd name="connsiteX19" fmla="*/ 34030 w 37219"/>
                <a:gd name="connsiteY19" fmla="*/ 2127 h 55297"/>
                <a:gd name="connsiteX20" fmla="*/ 34030 w 37219"/>
                <a:gd name="connsiteY20" fmla="*/ 12761 h 55297"/>
                <a:gd name="connsiteX21" fmla="*/ 30839 w 37219"/>
                <a:gd name="connsiteY21" fmla="*/ 11697 h 55297"/>
                <a:gd name="connsiteX22" fmla="*/ 27649 w 37219"/>
                <a:gd name="connsiteY22" fmla="*/ 10635 h 55297"/>
                <a:gd name="connsiteX23" fmla="*/ 24458 w 37219"/>
                <a:gd name="connsiteY23" fmla="*/ 9571 h 55297"/>
                <a:gd name="connsiteX24" fmla="*/ 21269 w 37219"/>
                <a:gd name="connsiteY24" fmla="*/ 9571 h 55297"/>
                <a:gd name="connsiteX25" fmla="*/ 18078 w 37219"/>
                <a:gd name="connsiteY25" fmla="*/ 9571 h 55297"/>
                <a:gd name="connsiteX26" fmla="*/ 15952 w 37219"/>
                <a:gd name="connsiteY26" fmla="*/ 10635 h 55297"/>
                <a:gd name="connsiteX27" fmla="*/ 13825 w 37219"/>
                <a:gd name="connsiteY27" fmla="*/ 11697 h 55297"/>
                <a:gd name="connsiteX28" fmla="*/ 12761 w 37219"/>
                <a:gd name="connsiteY28" fmla="*/ 13825 h 55297"/>
                <a:gd name="connsiteX29" fmla="*/ 13825 w 37219"/>
                <a:gd name="connsiteY29" fmla="*/ 15952 h 55297"/>
                <a:gd name="connsiteX30" fmla="*/ 15952 w 37219"/>
                <a:gd name="connsiteY30" fmla="*/ 18078 h 55297"/>
                <a:gd name="connsiteX31" fmla="*/ 19141 w 37219"/>
                <a:gd name="connsiteY31" fmla="*/ 20205 h 55297"/>
                <a:gd name="connsiteX32" fmla="*/ 23396 w 37219"/>
                <a:gd name="connsiteY32" fmla="*/ 22332 h 55297"/>
                <a:gd name="connsiteX33" fmla="*/ 28713 w 37219"/>
                <a:gd name="connsiteY33" fmla="*/ 25522 h 55297"/>
                <a:gd name="connsiteX34" fmla="*/ 32966 w 37219"/>
                <a:gd name="connsiteY34" fmla="*/ 28713 h 55297"/>
                <a:gd name="connsiteX35" fmla="*/ 36156 w 37219"/>
                <a:gd name="connsiteY35" fmla="*/ 32966 h 55297"/>
                <a:gd name="connsiteX36" fmla="*/ 37219 w 37219"/>
                <a:gd name="connsiteY36" fmla="*/ 38283 h 55297"/>
                <a:gd name="connsiteX37" fmla="*/ 36156 w 37219"/>
                <a:gd name="connsiteY37" fmla="*/ 45727 h 55297"/>
                <a:gd name="connsiteX38" fmla="*/ 31902 w 37219"/>
                <a:gd name="connsiteY38" fmla="*/ 51044 h 55297"/>
                <a:gd name="connsiteX39" fmla="*/ 24458 w 37219"/>
                <a:gd name="connsiteY39" fmla="*/ 54234 h 55297"/>
                <a:gd name="connsiteX40" fmla="*/ 17015 w 37219"/>
                <a:gd name="connsiteY40" fmla="*/ 55297 h 55297"/>
                <a:gd name="connsiteX41" fmla="*/ 8508 w 37219"/>
                <a:gd name="connsiteY41" fmla="*/ 54234 h 55297"/>
                <a:gd name="connsiteX42" fmla="*/ 0 w 37219"/>
                <a:gd name="connsiteY42" fmla="*/ 53171 h 5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7219" h="55297">
                  <a:moveTo>
                    <a:pt x="0" y="53171"/>
                  </a:moveTo>
                  <a:lnTo>
                    <a:pt x="0" y="41474"/>
                  </a:lnTo>
                  <a:cubicBezTo>
                    <a:pt x="2127" y="43600"/>
                    <a:pt x="4254" y="44663"/>
                    <a:pt x="6380" y="45727"/>
                  </a:cubicBezTo>
                  <a:cubicBezTo>
                    <a:pt x="9571" y="46791"/>
                    <a:pt x="11697" y="46791"/>
                    <a:pt x="13825" y="46791"/>
                  </a:cubicBezTo>
                  <a:cubicBezTo>
                    <a:pt x="14888" y="46791"/>
                    <a:pt x="15952" y="46791"/>
                    <a:pt x="18078" y="45727"/>
                  </a:cubicBezTo>
                  <a:cubicBezTo>
                    <a:pt x="19141" y="45727"/>
                    <a:pt x="20205" y="44663"/>
                    <a:pt x="21269" y="44663"/>
                  </a:cubicBezTo>
                  <a:cubicBezTo>
                    <a:pt x="22332" y="43600"/>
                    <a:pt x="22332" y="43600"/>
                    <a:pt x="22332" y="42536"/>
                  </a:cubicBezTo>
                  <a:cubicBezTo>
                    <a:pt x="22332" y="41474"/>
                    <a:pt x="23396" y="41474"/>
                    <a:pt x="23396" y="40410"/>
                  </a:cubicBezTo>
                  <a:cubicBezTo>
                    <a:pt x="23396" y="39346"/>
                    <a:pt x="23396" y="38283"/>
                    <a:pt x="22332" y="37219"/>
                  </a:cubicBezTo>
                  <a:cubicBezTo>
                    <a:pt x="21269" y="36156"/>
                    <a:pt x="21269" y="36156"/>
                    <a:pt x="20205" y="35093"/>
                  </a:cubicBezTo>
                  <a:cubicBezTo>
                    <a:pt x="19141" y="34030"/>
                    <a:pt x="18078" y="34030"/>
                    <a:pt x="17015" y="32966"/>
                  </a:cubicBezTo>
                  <a:cubicBezTo>
                    <a:pt x="15952" y="31902"/>
                    <a:pt x="14888" y="31902"/>
                    <a:pt x="12761" y="30839"/>
                  </a:cubicBezTo>
                  <a:cubicBezTo>
                    <a:pt x="8508" y="28713"/>
                    <a:pt x="5318" y="26586"/>
                    <a:pt x="3191" y="24458"/>
                  </a:cubicBezTo>
                  <a:cubicBezTo>
                    <a:pt x="1064" y="21269"/>
                    <a:pt x="0" y="19141"/>
                    <a:pt x="0" y="15952"/>
                  </a:cubicBezTo>
                  <a:cubicBezTo>
                    <a:pt x="0" y="12761"/>
                    <a:pt x="1064" y="10635"/>
                    <a:pt x="1064" y="9571"/>
                  </a:cubicBezTo>
                  <a:cubicBezTo>
                    <a:pt x="2127" y="7444"/>
                    <a:pt x="4254" y="6380"/>
                    <a:pt x="5318" y="4254"/>
                  </a:cubicBezTo>
                  <a:cubicBezTo>
                    <a:pt x="7444" y="3191"/>
                    <a:pt x="9571" y="2127"/>
                    <a:pt x="11698" y="1064"/>
                  </a:cubicBezTo>
                  <a:cubicBezTo>
                    <a:pt x="14888" y="0"/>
                    <a:pt x="17015" y="0"/>
                    <a:pt x="20205" y="0"/>
                  </a:cubicBezTo>
                  <a:cubicBezTo>
                    <a:pt x="23396" y="0"/>
                    <a:pt x="25522" y="0"/>
                    <a:pt x="27649" y="1064"/>
                  </a:cubicBezTo>
                  <a:cubicBezTo>
                    <a:pt x="29776" y="1064"/>
                    <a:pt x="31902" y="2127"/>
                    <a:pt x="34030" y="2127"/>
                  </a:cubicBezTo>
                  <a:lnTo>
                    <a:pt x="34030" y="12761"/>
                  </a:lnTo>
                  <a:cubicBezTo>
                    <a:pt x="32966" y="11697"/>
                    <a:pt x="31902" y="11697"/>
                    <a:pt x="30839" y="11697"/>
                  </a:cubicBezTo>
                  <a:cubicBezTo>
                    <a:pt x="29776" y="10635"/>
                    <a:pt x="28713" y="10635"/>
                    <a:pt x="27649" y="10635"/>
                  </a:cubicBezTo>
                  <a:cubicBezTo>
                    <a:pt x="26586" y="10635"/>
                    <a:pt x="25522" y="9571"/>
                    <a:pt x="24458" y="9571"/>
                  </a:cubicBezTo>
                  <a:cubicBezTo>
                    <a:pt x="23396" y="9571"/>
                    <a:pt x="22332" y="9571"/>
                    <a:pt x="21269" y="9571"/>
                  </a:cubicBezTo>
                  <a:cubicBezTo>
                    <a:pt x="20205" y="9571"/>
                    <a:pt x="18078" y="9571"/>
                    <a:pt x="18078" y="9571"/>
                  </a:cubicBezTo>
                  <a:cubicBezTo>
                    <a:pt x="17015" y="9571"/>
                    <a:pt x="15952" y="10635"/>
                    <a:pt x="15952" y="10635"/>
                  </a:cubicBezTo>
                  <a:cubicBezTo>
                    <a:pt x="14888" y="11697"/>
                    <a:pt x="14888" y="11697"/>
                    <a:pt x="13825" y="11697"/>
                  </a:cubicBezTo>
                  <a:cubicBezTo>
                    <a:pt x="12761" y="12761"/>
                    <a:pt x="12761" y="12761"/>
                    <a:pt x="12761" y="13825"/>
                  </a:cubicBezTo>
                  <a:cubicBezTo>
                    <a:pt x="12761" y="14888"/>
                    <a:pt x="12761" y="14888"/>
                    <a:pt x="13825" y="15952"/>
                  </a:cubicBezTo>
                  <a:cubicBezTo>
                    <a:pt x="14888" y="17015"/>
                    <a:pt x="14888" y="17015"/>
                    <a:pt x="15952" y="18078"/>
                  </a:cubicBezTo>
                  <a:cubicBezTo>
                    <a:pt x="17015" y="19141"/>
                    <a:pt x="18078" y="19141"/>
                    <a:pt x="19141" y="20205"/>
                  </a:cubicBezTo>
                  <a:cubicBezTo>
                    <a:pt x="20205" y="21269"/>
                    <a:pt x="22332" y="21269"/>
                    <a:pt x="23396" y="22332"/>
                  </a:cubicBezTo>
                  <a:cubicBezTo>
                    <a:pt x="25522" y="23396"/>
                    <a:pt x="27649" y="24458"/>
                    <a:pt x="28713" y="25522"/>
                  </a:cubicBezTo>
                  <a:cubicBezTo>
                    <a:pt x="30839" y="26586"/>
                    <a:pt x="31902" y="27649"/>
                    <a:pt x="32966" y="28713"/>
                  </a:cubicBezTo>
                  <a:cubicBezTo>
                    <a:pt x="34030" y="29775"/>
                    <a:pt x="35093" y="31902"/>
                    <a:pt x="36156" y="32966"/>
                  </a:cubicBezTo>
                  <a:cubicBezTo>
                    <a:pt x="37219" y="34030"/>
                    <a:pt x="37219" y="36156"/>
                    <a:pt x="37219" y="38283"/>
                  </a:cubicBezTo>
                  <a:cubicBezTo>
                    <a:pt x="37219" y="41474"/>
                    <a:pt x="36156" y="43600"/>
                    <a:pt x="36156" y="45727"/>
                  </a:cubicBezTo>
                  <a:cubicBezTo>
                    <a:pt x="35093" y="47853"/>
                    <a:pt x="32966" y="48917"/>
                    <a:pt x="31902" y="51044"/>
                  </a:cubicBezTo>
                  <a:cubicBezTo>
                    <a:pt x="29776" y="52107"/>
                    <a:pt x="27649" y="53171"/>
                    <a:pt x="24458" y="54234"/>
                  </a:cubicBezTo>
                  <a:cubicBezTo>
                    <a:pt x="21269" y="55297"/>
                    <a:pt x="20205" y="55297"/>
                    <a:pt x="17015" y="55297"/>
                  </a:cubicBezTo>
                  <a:cubicBezTo>
                    <a:pt x="14888" y="55297"/>
                    <a:pt x="11697" y="55297"/>
                    <a:pt x="8508" y="54234"/>
                  </a:cubicBezTo>
                  <a:cubicBezTo>
                    <a:pt x="4254" y="55297"/>
                    <a:pt x="2127" y="54234"/>
                    <a:pt x="0" y="53171"/>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C4DA1646-2FE4-4808-9A44-987CB6BE7EFB}"/>
                </a:ext>
              </a:extLst>
            </p:cNvPr>
            <p:cNvSpPr/>
            <p:nvPr/>
          </p:nvSpPr>
          <p:spPr>
            <a:xfrm>
              <a:off x="6601698" y="6023148"/>
              <a:ext cx="56360" cy="62741"/>
            </a:xfrm>
            <a:custGeom>
              <a:avLst/>
              <a:gdLst>
                <a:gd name="connsiteX0" fmla="*/ 25522 w 56360"/>
                <a:gd name="connsiteY0" fmla="*/ 54234 h 62741"/>
                <a:gd name="connsiteX1" fmla="*/ 7444 w 56360"/>
                <a:gd name="connsiteY1" fmla="*/ 46790 h 62741"/>
                <a:gd name="connsiteX2" fmla="*/ 0 w 56360"/>
                <a:gd name="connsiteY2" fmla="*/ 27648 h 62741"/>
                <a:gd name="connsiteX3" fmla="*/ 7444 w 56360"/>
                <a:gd name="connsiteY3" fmla="*/ 7444 h 62741"/>
                <a:gd name="connsiteX4" fmla="*/ 26586 w 56360"/>
                <a:gd name="connsiteY4" fmla="*/ 0 h 62741"/>
                <a:gd name="connsiteX5" fmla="*/ 44663 w 56360"/>
                <a:gd name="connsiteY5" fmla="*/ 7444 h 62741"/>
                <a:gd name="connsiteX6" fmla="*/ 52107 w 56360"/>
                <a:gd name="connsiteY6" fmla="*/ 27648 h 62741"/>
                <a:gd name="connsiteX7" fmla="*/ 44663 w 56360"/>
                <a:gd name="connsiteY7" fmla="*/ 47853 h 62741"/>
                <a:gd name="connsiteX8" fmla="*/ 43600 w 56360"/>
                <a:gd name="connsiteY8" fmla="*/ 48917 h 62741"/>
                <a:gd name="connsiteX9" fmla="*/ 42536 w 56360"/>
                <a:gd name="connsiteY9" fmla="*/ 49980 h 62741"/>
                <a:gd name="connsiteX10" fmla="*/ 56361 w 56360"/>
                <a:gd name="connsiteY10" fmla="*/ 62741 h 62741"/>
                <a:gd name="connsiteX11" fmla="*/ 39346 w 56360"/>
                <a:gd name="connsiteY11" fmla="*/ 62741 h 62741"/>
                <a:gd name="connsiteX12" fmla="*/ 32966 w 56360"/>
                <a:gd name="connsiteY12" fmla="*/ 55297 h 62741"/>
                <a:gd name="connsiteX13" fmla="*/ 25522 w 56360"/>
                <a:gd name="connsiteY13" fmla="*/ 54234 h 62741"/>
                <a:gd name="connsiteX14" fmla="*/ 26586 w 56360"/>
                <a:gd name="connsiteY14" fmla="*/ 9570 h 62741"/>
                <a:gd name="connsiteX15" fmla="*/ 15952 w 56360"/>
                <a:gd name="connsiteY15" fmla="*/ 13825 h 62741"/>
                <a:gd name="connsiteX16" fmla="*/ 12761 w 56360"/>
                <a:gd name="connsiteY16" fmla="*/ 26586 h 62741"/>
                <a:gd name="connsiteX17" fmla="*/ 15952 w 56360"/>
                <a:gd name="connsiteY17" fmla="*/ 39346 h 62741"/>
                <a:gd name="connsiteX18" fmla="*/ 25522 w 56360"/>
                <a:gd name="connsiteY18" fmla="*/ 43600 h 62741"/>
                <a:gd name="connsiteX19" fmla="*/ 35093 w 56360"/>
                <a:gd name="connsiteY19" fmla="*/ 39346 h 62741"/>
                <a:gd name="connsiteX20" fmla="*/ 38283 w 56360"/>
                <a:gd name="connsiteY20" fmla="*/ 26586 h 62741"/>
                <a:gd name="connsiteX21" fmla="*/ 35093 w 56360"/>
                <a:gd name="connsiteY21" fmla="*/ 13825 h 62741"/>
                <a:gd name="connsiteX22" fmla="*/ 26586 w 56360"/>
                <a:gd name="connsiteY22" fmla="*/ 9570 h 6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60" h="62741">
                  <a:moveTo>
                    <a:pt x="25522" y="54234"/>
                  </a:moveTo>
                  <a:cubicBezTo>
                    <a:pt x="18079" y="54234"/>
                    <a:pt x="11698" y="51044"/>
                    <a:pt x="7444" y="46790"/>
                  </a:cubicBezTo>
                  <a:cubicBezTo>
                    <a:pt x="2127" y="42536"/>
                    <a:pt x="0" y="35092"/>
                    <a:pt x="0" y="27648"/>
                  </a:cubicBezTo>
                  <a:cubicBezTo>
                    <a:pt x="0" y="19141"/>
                    <a:pt x="2127" y="12761"/>
                    <a:pt x="7444" y="7444"/>
                  </a:cubicBezTo>
                  <a:cubicBezTo>
                    <a:pt x="11698" y="2127"/>
                    <a:pt x="18079" y="0"/>
                    <a:pt x="26586" y="0"/>
                  </a:cubicBezTo>
                  <a:cubicBezTo>
                    <a:pt x="34030" y="0"/>
                    <a:pt x="40410" y="2127"/>
                    <a:pt x="44663" y="7444"/>
                  </a:cubicBezTo>
                  <a:cubicBezTo>
                    <a:pt x="49980" y="12761"/>
                    <a:pt x="52107" y="19141"/>
                    <a:pt x="52107" y="27648"/>
                  </a:cubicBezTo>
                  <a:cubicBezTo>
                    <a:pt x="52107" y="36156"/>
                    <a:pt x="49980" y="42536"/>
                    <a:pt x="44663" y="47853"/>
                  </a:cubicBezTo>
                  <a:cubicBezTo>
                    <a:pt x="44663" y="47853"/>
                    <a:pt x="44663" y="47853"/>
                    <a:pt x="43600" y="48917"/>
                  </a:cubicBezTo>
                  <a:cubicBezTo>
                    <a:pt x="43600" y="48917"/>
                    <a:pt x="43600" y="48917"/>
                    <a:pt x="42536" y="49980"/>
                  </a:cubicBezTo>
                  <a:lnTo>
                    <a:pt x="56361" y="62741"/>
                  </a:lnTo>
                  <a:lnTo>
                    <a:pt x="39346" y="62741"/>
                  </a:lnTo>
                  <a:lnTo>
                    <a:pt x="32966" y="55297"/>
                  </a:lnTo>
                  <a:cubicBezTo>
                    <a:pt x="30839" y="54234"/>
                    <a:pt x="28713" y="54234"/>
                    <a:pt x="25522" y="54234"/>
                  </a:cubicBezTo>
                  <a:close/>
                  <a:moveTo>
                    <a:pt x="26586" y="9570"/>
                  </a:moveTo>
                  <a:cubicBezTo>
                    <a:pt x="22332" y="9570"/>
                    <a:pt x="19141" y="10634"/>
                    <a:pt x="15952" y="13825"/>
                  </a:cubicBezTo>
                  <a:cubicBezTo>
                    <a:pt x="12761" y="17014"/>
                    <a:pt x="12761" y="21268"/>
                    <a:pt x="12761" y="26586"/>
                  </a:cubicBezTo>
                  <a:cubicBezTo>
                    <a:pt x="12761" y="31902"/>
                    <a:pt x="13825" y="36156"/>
                    <a:pt x="15952" y="39346"/>
                  </a:cubicBezTo>
                  <a:cubicBezTo>
                    <a:pt x="19141" y="42536"/>
                    <a:pt x="21269" y="43600"/>
                    <a:pt x="25522" y="43600"/>
                  </a:cubicBezTo>
                  <a:cubicBezTo>
                    <a:pt x="29776" y="43600"/>
                    <a:pt x="32966" y="42536"/>
                    <a:pt x="35093" y="39346"/>
                  </a:cubicBezTo>
                  <a:cubicBezTo>
                    <a:pt x="37219" y="36156"/>
                    <a:pt x="38283" y="31902"/>
                    <a:pt x="38283" y="26586"/>
                  </a:cubicBezTo>
                  <a:cubicBezTo>
                    <a:pt x="38283" y="21268"/>
                    <a:pt x="37219" y="17014"/>
                    <a:pt x="35093" y="13825"/>
                  </a:cubicBezTo>
                  <a:cubicBezTo>
                    <a:pt x="34030" y="10634"/>
                    <a:pt x="30839" y="9570"/>
                    <a:pt x="26586" y="957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F0DFF6F3-9C34-4474-8EFE-5D7CBD719421}"/>
                </a:ext>
              </a:extLst>
            </p:cNvPr>
            <p:cNvSpPr/>
            <p:nvPr/>
          </p:nvSpPr>
          <p:spPr>
            <a:xfrm>
              <a:off x="6662320" y="6023148"/>
              <a:ext cx="31902" cy="53170"/>
            </a:xfrm>
            <a:custGeom>
              <a:avLst/>
              <a:gdLst>
                <a:gd name="connsiteX0" fmla="*/ 31902 w 31902"/>
                <a:gd name="connsiteY0" fmla="*/ 53170 h 53170"/>
                <a:gd name="connsiteX1" fmla="*/ 0 w 31902"/>
                <a:gd name="connsiteY1" fmla="*/ 53170 h 53170"/>
                <a:gd name="connsiteX2" fmla="*/ 0 w 31902"/>
                <a:gd name="connsiteY2" fmla="*/ 0 h 53170"/>
                <a:gd name="connsiteX3" fmla="*/ 11697 w 31902"/>
                <a:gd name="connsiteY3" fmla="*/ 0 h 53170"/>
                <a:gd name="connsiteX4" fmla="*/ 11697 w 31902"/>
                <a:gd name="connsiteY4" fmla="*/ 43600 h 53170"/>
                <a:gd name="connsiteX5" fmla="*/ 31902 w 31902"/>
                <a:gd name="connsiteY5" fmla="*/ 43600 h 53170"/>
                <a:gd name="connsiteX6" fmla="*/ 31902 w 31902"/>
                <a:gd name="connsiteY6" fmla="*/ 53170 h 53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2" h="53170">
                  <a:moveTo>
                    <a:pt x="31902" y="53170"/>
                  </a:moveTo>
                  <a:lnTo>
                    <a:pt x="0" y="53170"/>
                  </a:lnTo>
                  <a:lnTo>
                    <a:pt x="0" y="0"/>
                  </a:lnTo>
                  <a:lnTo>
                    <a:pt x="11697" y="0"/>
                  </a:lnTo>
                  <a:lnTo>
                    <a:pt x="11697" y="43600"/>
                  </a:lnTo>
                  <a:lnTo>
                    <a:pt x="31902" y="43600"/>
                  </a:lnTo>
                  <a:lnTo>
                    <a:pt x="31902" y="53170"/>
                  </a:ln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6" name="Freeform 60" descr="Azure SQL Database">
            <a:extLst>
              <a:ext uri="{FF2B5EF4-FFF2-40B4-BE49-F238E27FC236}">
                <a16:creationId xmlns:a16="http://schemas.microsoft.com/office/drawing/2014/main" id="{2BFCE26A-066E-4A38-932B-6CCAA6CE1249}"/>
              </a:ext>
            </a:extLst>
          </p:cNvPr>
          <p:cNvSpPr>
            <a:spLocks noChangeAspect="1"/>
          </p:cNvSpPr>
          <p:nvPr/>
        </p:nvSpPr>
        <p:spPr bwMode="auto">
          <a:xfrm>
            <a:off x="9061252" y="3212152"/>
            <a:ext cx="761121" cy="482023"/>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22225"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 name="Rectangle 325">
            <a:extLst>
              <a:ext uri="{FF2B5EF4-FFF2-40B4-BE49-F238E27FC236}">
                <a16:creationId xmlns:a16="http://schemas.microsoft.com/office/drawing/2014/main" id="{5C5AB348-E75C-41D2-A64E-59D4AC7A8835}"/>
              </a:ext>
            </a:extLst>
          </p:cNvPr>
          <p:cNvSpPr/>
          <p:nvPr/>
        </p:nvSpPr>
        <p:spPr>
          <a:xfrm>
            <a:off x="5625311" y="1629167"/>
            <a:ext cx="1386106" cy="374910"/>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lnSpc>
                <a:spcPct val="90000"/>
              </a:lnSpc>
              <a:defRPr/>
            </a:pPr>
            <a:r>
              <a:rPr lang="en-US" sz="1400" dirty="0">
                <a:solidFill>
                  <a:schemeClr val="tx1"/>
                </a:solidFill>
                <a:latin typeface="Segoe UI Semibold" panose="020B0702040204020203" pitchFamily="34" charset="0"/>
                <a:ea typeface="Kozuka Gothic Pro R" pitchFamily="34" charset="-128"/>
                <a:cs typeface="Segoe UI Semibold" panose="020B0702040204020203" pitchFamily="34" charset="0"/>
              </a:rPr>
              <a:t>On-premises</a:t>
            </a:r>
          </a:p>
        </p:txBody>
      </p:sp>
      <p:sp>
        <p:nvSpPr>
          <p:cNvPr id="328" name="Rectangle 327">
            <a:extLst>
              <a:ext uri="{FF2B5EF4-FFF2-40B4-BE49-F238E27FC236}">
                <a16:creationId xmlns:a16="http://schemas.microsoft.com/office/drawing/2014/main" id="{37742351-D24E-44A2-8373-6FFE4F9F3BEF}"/>
              </a:ext>
            </a:extLst>
          </p:cNvPr>
          <p:cNvSpPr/>
          <p:nvPr/>
        </p:nvSpPr>
        <p:spPr>
          <a:xfrm>
            <a:off x="5487146" y="5587136"/>
            <a:ext cx="1662436"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center Management</a:t>
            </a:r>
          </a:p>
        </p:txBody>
      </p:sp>
      <p:sp>
        <p:nvSpPr>
          <p:cNvPr id="329" name="Rectangle 328">
            <a:extLst>
              <a:ext uri="{FF2B5EF4-FFF2-40B4-BE49-F238E27FC236}">
                <a16:creationId xmlns:a16="http://schemas.microsoft.com/office/drawing/2014/main" id="{8023C85F-B2E6-4F6F-B58D-3939853AB56F}"/>
              </a:ext>
            </a:extLst>
          </p:cNvPr>
          <p:cNvSpPr/>
          <p:nvPr/>
        </p:nvSpPr>
        <p:spPr>
          <a:xfrm>
            <a:off x="5487146" y="5108375"/>
            <a:ext cx="1662436"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Hardware</a:t>
            </a:r>
          </a:p>
        </p:txBody>
      </p:sp>
      <p:sp>
        <p:nvSpPr>
          <p:cNvPr id="331" name="Rectangle 330">
            <a:extLst>
              <a:ext uri="{FF2B5EF4-FFF2-40B4-BE49-F238E27FC236}">
                <a16:creationId xmlns:a16="http://schemas.microsoft.com/office/drawing/2014/main" id="{27159407-87B6-405D-B087-B703B7E178C2}"/>
              </a:ext>
            </a:extLst>
          </p:cNvPr>
          <p:cNvSpPr/>
          <p:nvPr/>
        </p:nvSpPr>
        <p:spPr>
          <a:xfrm>
            <a:off x="5487146" y="4153281"/>
            <a:ext cx="1662436"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O/S provision /patching</a:t>
            </a:r>
          </a:p>
        </p:txBody>
      </p:sp>
      <p:sp>
        <p:nvSpPr>
          <p:cNvPr id="332" name="Rectangle 331">
            <a:extLst>
              <a:ext uri="{FF2B5EF4-FFF2-40B4-BE49-F238E27FC236}">
                <a16:creationId xmlns:a16="http://schemas.microsoft.com/office/drawing/2014/main" id="{EC612568-4108-4DFE-85D6-10572AD2EDF8}"/>
              </a:ext>
            </a:extLst>
          </p:cNvPr>
          <p:cNvSpPr/>
          <p:nvPr/>
        </p:nvSpPr>
        <p:spPr>
          <a:xfrm>
            <a:off x="5487146" y="3674518"/>
            <a:ext cx="1662436"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base Provision/ Patch/Scaling</a:t>
            </a:r>
          </a:p>
        </p:txBody>
      </p:sp>
      <p:sp>
        <p:nvSpPr>
          <p:cNvPr id="333" name="Rectangle 332">
            <a:extLst>
              <a:ext uri="{FF2B5EF4-FFF2-40B4-BE49-F238E27FC236}">
                <a16:creationId xmlns:a16="http://schemas.microsoft.com/office/drawing/2014/main" id="{04B73E38-D3C9-4452-B1CC-D3AAC1AB0EF0}"/>
              </a:ext>
            </a:extLst>
          </p:cNvPr>
          <p:cNvSpPr/>
          <p:nvPr/>
        </p:nvSpPr>
        <p:spPr>
          <a:xfrm>
            <a:off x="5487146" y="4632044"/>
            <a:ext cx="1662436"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Virtualization</a:t>
            </a:r>
          </a:p>
        </p:txBody>
      </p:sp>
      <p:sp>
        <p:nvSpPr>
          <p:cNvPr id="334" name="Rectangle 333">
            <a:extLst>
              <a:ext uri="{FF2B5EF4-FFF2-40B4-BE49-F238E27FC236}">
                <a16:creationId xmlns:a16="http://schemas.microsoft.com/office/drawing/2014/main" id="{4FF62C77-3304-4315-951A-FC0BC6F04647}"/>
              </a:ext>
            </a:extLst>
          </p:cNvPr>
          <p:cNvSpPr/>
          <p:nvPr/>
        </p:nvSpPr>
        <p:spPr>
          <a:xfrm>
            <a:off x="5487146" y="2716992"/>
            <a:ext cx="1662436"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a:t>
            </a:r>
          </a:p>
        </p:txBody>
      </p:sp>
      <p:sp>
        <p:nvSpPr>
          <p:cNvPr id="335" name="Rectangle 334">
            <a:extLst>
              <a:ext uri="{FF2B5EF4-FFF2-40B4-BE49-F238E27FC236}">
                <a16:creationId xmlns:a16="http://schemas.microsoft.com/office/drawing/2014/main" id="{375D6CF8-B702-4FD6-98FB-E85A57AA33CD}"/>
              </a:ext>
            </a:extLst>
          </p:cNvPr>
          <p:cNvSpPr>
            <a:spLocks/>
          </p:cNvSpPr>
          <p:nvPr/>
        </p:nvSpPr>
        <p:spPr>
          <a:xfrm>
            <a:off x="5487146" y="2238228"/>
            <a:ext cx="1662436"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Applications</a:t>
            </a:r>
          </a:p>
        </p:txBody>
      </p:sp>
      <p:sp>
        <p:nvSpPr>
          <p:cNvPr id="336" name="Rectangle 335">
            <a:extLst>
              <a:ext uri="{FF2B5EF4-FFF2-40B4-BE49-F238E27FC236}">
                <a16:creationId xmlns:a16="http://schemas.microsoft.com/office/drawing/2014/main" id="{28F17679-1E0C-45A8-90BE-9A10311ECA20}"/>
              </a:ext>
            </a:extLst>
          </p:cNvPr>
          <p:cNvSpPr/>
          <p:nvPr/>
        </p:nvSpPr>
        <p:spPr>
          <a:xfrm>
            <a:off x="5487146" y="3195755"/>
            <a:ext cx="1662436"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High availability /DR/Backups</a:t>
            </a:r>
          </a:p>
        </p:txBody>
      </p:sp>
      <p:sp>
        <p:nvSpPr>
          <p:cNvPr id="102" name="Rectangle 101">
            <a:extLst>
              <a:ext uri="{FF2B5EF4-FFF2-40B4-BE49-F238E27FC236}">
                <a16:creationId xmlns:a16="http://schemas.microsoft.com/office/drawing/2014/main" id="{40FDFF73-BE2C-4747-A2F3-A1C19787D5F0}"/>
              </a:ext>
            </a:extLst>
          </p:cNvPr>
          <p:cNvSpPr/>
          <p:nvPr/>
        </p:nvSpPr>
        <p:spPr>
          <a:xfrm>
            <a:off x="5566132" y="6044590"/>
            <a:ext cx="1504467" cy="513409"/>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lnSpc>
                <a:spcPct val="90000"/>
              </a:lnSpc>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SQL Server 2017/2019</a:t>
            </a:r>
          </a:p>
        </p:txBody>
      </p:sp>
      <p:sp>
        <p:nvSpPr>
          <p:cNvPr id="380" name="Rectangle 379">
            <a:extLst>
              <a:ext uri="{FF2B5EF4-FFF2-40B4-BE49-F238E27FC236}">
                <a16:creationId xmlns:a16="http://schemas.microsoft.com/office/drawing/2014/main" id="{827CD6D7-9ED3-45D4-8883-E33FBC09EC55}"/>
              </a:ext>
            </a:extLst>
          </p:cNvPr>
          <p:cNvSpPr/>
          <p:nvPr/>
        </p:nvSpPr>
        <p:spPr>
          <a:xfrm>
            <a:off x="7758934" y="1629167"/>
            <a:ext cx="1447251" cy="568809"/>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lnSpc>
                <a:spcPct val="90000"/>
              </a:lnSpc>
              <a:defRPr/>
            </a:pPr>
            <a:r>
              <a:rPr lang="en-US" sz="1400" dirty="0">
                <a:solidFill>
                  <a:schemeClr val="tx1"/>
                </a:solidFill>
                <a:latin typeface="Segoe UI Semibold" panose="020B0702040204020203" pitchFamily="34" charset="0"/>
                <a:ea typeface="Kozuka Gothic Pro R" pitchFamily="34" charset="-128"/>
                <a:cs typeface="Segoe UI Semibold" panose="020B0702040204020203" pitchFamily="34" charset="0"/>
              </a:rPr>
              <a:t>Infrastructure</a:t>
            </a:r>
          </a:p>
          <a:p>
            <a:pPr marL="0" lvl="1" algn="ctr" defTabSz="1217996" fontAlgn="base">
              <a:lnSpc>
                <a:spcPct val="90000"/>
              </a:lnSpc>
              <a:defRPr/>
            </a:pPr>
            <a:r>
              <a:rPr lang="en-US" sz="1400" dirty="0">
                <a:solidFill>
                  <a:schemeClr val="tx1"/>
                </a:solidFill>
                <a:latin typeface="Segoe UI Semibold" panose="020B0702040204020203" pitchFamily="34" charset="0"/>
                <a:ea typeface="Kozuka Gothic Pro R" pitchFamily="34" charset="-128"/>
                <a:cs typeface="Segoe UI Semibold" panose="020B0702040204020203" pitchFamily="34" charset="0"/>
              </a:rPr>
              <a:t>(as a Service)</a:t>
            </a:r>
          </a:p>
        </p:txBody>
      </p:sp>
      <p:sp>
        <p:nvSpPr>
          <p:cNvPr id="388" name="Rectangle 387">
            <a:extLst>
              <a:ext uri="{FF2B5EF4-FFF2-40B4-BE49-F238E27FC236}">
                <a16:creationId xmlns:a16="http://schemas.microsoft.com/office/drawing/2014/main" id="{21288FD3-AB70-4664-9BBA-23D72942366D}"/>
              </a:ext>
            </a:extLst>
          </p:cNvPr>
          <p:cNvSpPr/>
          <p:nvPr/>
        </p:nvSpPr>
        <p:spPr>
          <a:xfrm>
            <a:off x="7651342" y="5585735"/>
            <a:ext cx="166243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Datacenter Management</a:t>
            </a:r>
          </a:p>
        </p:txBody>
      </p:sp>
      <p:sp>
        <p:nvSpPr>
          <p:cNvPr id="389" name="Rectangle 388">
            <a:extLst>
              <a:ext uri="{FF2B5EF4-FFF2-40B4-BE49-F238E27FC236}">
                <a16:creationId xmlns:a16="http://schemas.microsoft.com/office/drawing/2014/main" id="{E62A6D1A-2795-454D-A7FF-1A6572C479A4}"/>
              </a:ext>
            </a:extLst>
          </p:cNvPr>
          <p:cNvSpPr/>
          <p:nvPr/>
        </p:nvSpPr>
        <p:spPr>
          <a:xfrm>
            <a:off x="7651342" y="5106973"/>
            <a:ext cx="166243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Hardware</a:t>
            </a:r>
          </a:p>
        </p:txBody>
      </p:sp>
      <p:sp>
        <p:nvSpPr>
          <p:cNvPr id="391" name="Rectangle 390">
            <a:extLst>
              <a:ext uri="{FF2B5EF4-FFF2-40B4-BE49-F238E27FC236}">
                <a16:creationId xmlns:a16="http://schemas.microsoft.com/office/drawing/2014/main" id="{B0F545D2-DCAE-404F-8814-AE6941FC9960}"/>
              </a:ext>
            </a:extLst>
          </p:cNvPr>
          <p:cNvSpPr/>
          <p:nvPr/>
        </p:nvSpPr>
        <p:spPr>
          <a:xfrm>
            <a:off x="7651342" y="4630639"/>
            <a:ext cx="166243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Virtualization</a:t>
            </a:r>
          </a:p>
        </p:txBody>
      </p:sp>
      <p:sp>
        <p:nvSpPr>
          <p:cNvPr id="383" name="Rectangle 382">
            <a:extLst>
              <a:ext uri="{FF2B5EF4-FFF2-40B4-BE49-F238E27FC236}">
                <a16:creationId xmlns:a16="http://schemas.microsoft.com/office/drawing/2014/main" id="{A45AE035-F041-4091-A37E-B92AF1890848}"/>
              </a:ext>
            </a:extLst>
          </p:cNvPr>
          <p:cNvSpPr/>
          <p:nvPr/>
        </p:nvSpPr>
        <p:spPr>
          <a:xfrm>
            <a:off x="7651342" y="4151875"/>
            <a:ext cx="1662438"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O/S</a:t>
            </a:r>
          </a:p>
        </p:txBody>
      </p:sp>
      <p:sp>
        <p:nvSpPr>
          <p:cNvPr id="384" name="Rectangle 383">
            <a:extLst>
              <a:ext uri="{FF2B5EF4-FFF2-40B4-BE49-F238E27FC236}">
                <a16:creationId xmlns:a16="http://schemas.microsoft.com/office/drawing/2014/main" id="{361E662F-2C71-4845-8F33-7786B24EF9E3}"/>
              </a:ext>
            </a:extLst>
          </p:cNvPr>
          <p:cNvSpPr/>
          <p:nvPr/>
        </p:nvSpPr>
        <p:spPr>
          <a:xfrm>
            <a:off x="7651342" y="3673115"/>
            <a:ext cx="1662438"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base Provision/ Patch/Scaling</a:t>
            </a:r>
          </a:p>
        </p:txBody>
      </p:sp>
      <p:sp>
        <p:nvSpPr>
          <p:cNvPr id="385" name="Rectangle 384">
            <a:extLst>
              <a:ext uri="{FF2B5EF4-FFF2-40B4-BE49-F238E27FC236}">
                <a16:creationId xmlns:a16="http://schemas.microsoft.com/office/drawing/2014/main" id="{CA516A82-DE11-4409-B2C7-D295969291D1}"/>
              </a:ext>
            </a:extLst>
          </p:cNvPr>
          <p:cNvSpPr/>
          <p:nvPr/>
        </p:nvSpPr>
        <p:spPr>
          <a:xfrm>
            <a:off x="7651342" y="2715590"/>
            <a:ext cx="1662438"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a:t>
            </a:r>
          </a:p>
        </p:txBody>
      </p:sp>
      <p:sp>
        <p:nvSpPr>
          <p:cNvPr id="386" name="Rectangle 385">
            <a:extLst>
              <a:ext uri="{FF2B5EF4-FFF2-40B4-BE49-F238E27FC236}">
                <a16:creationId xmlns:a16="http://schemas.microsoft.com/office/drawing/2014/main" id="{2942E14C-C3D7-4EAE-BFC9-CBF439361005}"/>
              </a:ext>
            </a:extLst>
          </p:cNvPr>
          <p:cNvSpPr>
            <a:spLocks/>
          </p:cNvSpPr>
          <p:nvPr/>
        </p:nvSpPr>
        <p:spPr>
          <a:xfrm>
            <a:off x="7651342" y="2236825"/>
            <a:ext cx="1662438"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Applications</a:t>
            </a:r>
          </a:p>
        </p:txBody>
      </p:sp>
      <p:sp>
        <p:nvSpPr>
          <p:cNvPr id="387" name="Rectangle 386">
            <a:extLst>
              <a:ext uri="{FF2B5EF4-FFF2-40B4-BE49-F238E27FC236}">
                <a16:creationId xmlns:a16="http://schemas.microsoft.com/office/drawing/2014/main" id="{09484967-9419-40F6-9227-89468593D338}"/>
              </a:ext>
            </a:extLst>
          </p:cNvPr>
          <p:cNvSpPr/>
          <p:nvPr/>
        </p:nvSpPr>
        <p:spPr>
          <a:xfrm>
            <a:off x="7651342" y="3194351"/>
            <a:ext cx="1662438"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High availability /DR/Backups</a:t>
            </a:r>
          </a:p>
        </p:txBody>
      </p:sp>
      <p:sp>
        <p:nvSpPr>
          <p:cNvPr id="103" name="Rectangle 102">
            <a:extLst>
              <a:ext uri="{FF2B5EF4-FFF2-40B4-BE49-F238E27FC236}">
                <a16:creationId xmlns:a16="http://schemas.microsoft.com/office/drawing/2014/main" id="{BA6313E0-AA7E-43F7-845E-C5345C1EF189}"/>
              </a:ext>
            </a:extLst>
          </p:cNvPr>
          <p:cNvSpPr/>
          <p:nvPr/>
        </p:nvSpPr>
        <p:spPr>
          <a:xfrm>
            <a:off x="7730327" y="6044590"/>
            <a:ext cx="1504467" cy="347185"/>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lnSpc>
                <a:spcPct val="90000"/>
              </a:lnSpc>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Azure SQL VMs</a:t>
            </a:r>
          </a:p>
        </p:txBody>
      </p:sp>
      <p:sp>
        <p:nvSpPr>
          <p:cNvPr id="338" name="Rectangle 337">
            <a:extLst>
              <a:ext uri="{FF2B5EF4-FFF2-40B4-BE49-F238E27FC236}">
                <a16:creationId xmlns:a16="http://schemas.microsoft.com/office/drawing/2014/main" id="{E6859764-545D-42FD-AFBC-6DB61D372D3D}"/>
              </a:ext>
            </a:extLst>
          </p:cNvPr>
          <p:cNvSpPr/>
          <p:nvPr/>
        </p:nvSpPr>
        <p:spPr>
          <a:xfrm>
            <a:off x="10020246" y="1629167"/>
            <a:ext cx="1346129" cy="568809"/>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lnSpc>
                <a:spcPct val="90000"/>
              </a:lnSpc>
              <a:defRPr/>
            </a:pPr>
            <a:r>
              <a:rPr lang="en-US" sz="1400" dirty="0">
                <a:solidFill>
                  <a:schemeClr val="tx1"/>
                </a:solidFill>
                <a:latin typeface="Segoe UI Semibold" panose="020B0702040204020203" pitchFamily="34" charset="0"/>
                <a:ea typeface="Kozuka Gothic Pro R" pitchFamily="34" charset="-128"/>
                <a:cs typeface="Segoe UI Semibold" panose="020B0702040204020203" pitchFamily="34" charset="0"/>
              </a:rPr>
              <a:t>Platform</a:t>
            </a:r>
          </a:p>
          <a:p>
            <a:pPr marL="0" lvl="1" algn="ctr" defTabSz="1217996" fontAlgn="base">
              <a:lnSpc>
                <a:spcPct val="90000"/>
              </a:lnSpc>
              <a:defRPr/>
            </a:pPr>
            <a:r>
              <a:rPr lang="en-US" sz="1400" dirty="0">
                <a:solidFill>
                  <a:schemeClr val="tx1"/>
                </a:solidFill>
                <a:latin typeface="Segoe UI Semibold" panose="020B0702040204020203" pitchFamily="34" charset="0"/>
                <a:ea typeface="Kozuka Gothic Pro R" pitchFamily="34" charset="-128"/>
                <a:cs typeface="Segoe UI Semibold" panose="020B0702040204020203" pitchFamily="34" charset="0"/>
              </a:rPr>
              <a:t>(as a Service)</a:t>
            </a:r>
          </a:p>
        </p:txBody>
      </p:sp>
      <p:sp>
        <p:nvSpPr>
          <p:cNvPr id="354" name="Rectangle 353">
            <a:extLst>
              <a:ext uri="{FF2B5EF4-FFF2-40B4-BE49-F238E27FC236}">
                <a16:creationId xmlns:a16="http://schemas.microsoft.com/office/drawing/2014/main" id="{C6889EDB-B547-4894-9E68-1325B12A3152}"/>
              </a:ext>
            </a:extLst>
          </p:cNvPr>
          <p:cNvSpPr/>
          <p:nvPr/>
        </p:nvSpPr>
        <p:spPr>
          <a:xfrm>
            <a:off x="9889522" y="2726611"/>
            <a:ext cx="1607578"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a:t>
            </a:r>
          </a:p>
        </p:txBody>
      </p:sp>
      <p:sp>
        <p:nvSpPr>
          <p:cNvPr id="355" name="Rectangle 354">
            <a:extLst>
              <a:ext uri="{FF2B5EF4-FFF2-40B4-BE49-F238E27FC236}">
                <a16:creationId xmlns:a16="http://schemas.microsoft.com/office/drawing/2014/main" id="{737440F1-687D-4B3C-A94C-BAC0462B96B7}"/>
              </a:ext>
            </a:extLst>
          </p:cNvPr>
          <p:cNvSpPr>
            <a:spLocks/>
          </p:cNvSpPr>
          <p:nvPr/>
        </p:nvSpPr>
        <p:spPr>
          <a:xfrm>
            <a:off x="9889522" y="2247848"/>
            <a:ext cx="1607578"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Applications</a:t>
            </a:r>
          </a:p>
        </p:txBody>
      </p:sp>
      <p:sp>
        <p:nvSpPr>
          <p:cNvPr id="347" name="Rectangle 346">
            <a:extLst>
              <a:ext uri="{FF2B5EF4-FFF2-40B4-BE49-F238E27FC236}">
                <a16:creationId xmlns:a16="http://schemas.microsoft.com/office/drawing/2014/main" id="{8A24D846-46BE-4D34-975B-24B0D4FF7652}"/>
              </a:ext>
            </a:extLst>
          </p:cNvPr>
          <p:cNvSpPr/>
          <p:nvPr/>
        </p:nvSpPr>
        <p:spPr>
          <a:xfrm>
            <a:off x="9889522" y="5587134"/>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Datacenter Management</a:t>
            </a:r>
          </a:p>
        </p:txBody>
      </p:sp>
      <p:sp>
        <p:nvSpPr>
          <p:cNvPr id="348" name="Rectangle 347">
            <a:extLst>
              <a:ext uri="{FF2B5EF4-FFF2-40B4-BE49-F238E27FC236}">
                <a16:creationId xmlns:a16="http://schemas.microsoft.com/office/drawing/2014/main" id="{94A22BD9-5258-4FD2-AAB9-6B1824A25480}"/>
              </a:ext>
            </a:extLst>
          </p:cNvPr>
          <p:cNvSpPr/>
          <p:nvPr/>
        </p:nvSpPr>
        <p:spPr>
          <a:xfrm>
            <a:off x="9889522" y="5108371"/>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Hardware</a:t>
            </a:r>
          </a:p>
        </p:txBody>
      </p:sp>
      <p:sp>
        <p:nvSpPr>
          <p:cNvPr id="350" name="Rectangle 349">
            <a:extLst>
              <a:ext uri="{FF2B5EF4-FFF2-40B4-BE49-F238E27FC236}">
                <a16:creationId xmlns:a16="http://schemas.microsoft.com/office/drawing/2014/main" id="{4BE8E2AA-3D9E-4D68-BD88-5E9D1E577D24}"/>
              </a:ext>
            </a:extLst>
          </p:cNvPr>
          <p:cNvSpPr/>
          <p:nvPr/>
        </p:nvSpPr>
        <p:spPr>
          <a:xfrm>
            <a:off x="9889522" y="4641663"/>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Virtualization</a:t>
            </a:r>
          </a:p>
        </p:txBody>
      </p:sp>
      <p:sp>
        <p:nvSpPr>
          <p:cNvPr id="351" name="Rectangle 350">
            <a:extLst>
              <a:ext uri="{FF2B5EF4-FFF2-40B4-BE49-F238E27FC236}">
                <a16:creationId xmlns:a16="http://schemas.microsoft.com/office/drawing/2014/main" id="{7EC59310-BA56-4726-ADD6-65D1F8701C91}"/>
              </a:ext>
            </a:extLst>
          </p:cNvPr>
          <p:cNvSpPr/>
          <p:nvPr/>
        </p:nvSpPr>
        <p:spPr>
          <a:xfrm>
            <a:off x="9889522" y="4162900"/>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O/S</a:t>
            </a:r>
          </a:p>
        </p:txBody>
      </p:sp>
      <p:sp>
        <p:nvSpPr>
          <p:cNvPr id="352" name="Rectangle 351">
            <a:extLst>
              <a:ext uri="{FF2B5EF4-FFF2-40B4-BE49-F238E27FC236}">
                <a16:creationId xmlns:a16="http://schemas.microsoft.com/office/drawing/2014/main" id="{8286D5EE-50B8-48CB-A9AB-65FCB2A2A3E6}"/>
              </a:ext>
            </a:extLst>
          </p:cNvPr>
          <p:cNvSpPr/>
          <p:nvPr/>
        </p:nvSpPr>
        <p:spPr>
          <a:xfrm>
            <a:off x="9889522" y="3684138"/>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Database Provision/ Patch/Scaling</a:t>
            </a:r>
          </a:p>
        </p:txBody>
      </p:sp>
      <p:sp>
        <p:nvSpPr>
          <p:cNvPr id="353" name="Rectangle 352">
            <a:extLst>
              <a:ext uri="{FF2B5EF4-FFF2-40B4-BE49-F238E27FC236}">
                <a16:creationId xmlns:a16="http://schemas.microsoft.com/office/drawing/2014/main" id="{D66B5819-4074-4BA9-8B0A-8C9F95B95B01}"/>
              </a:ext>
            </a:extLst>
          </p:cNvPr>
          <p:cNvSpPr/>
          <p:nvPr/>
        </p:nvSpPr>
        <p:spPr>
          <a:xfrm>
            <a:off x="9889522" y="3205374"/>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High Availability/ DR/Backups</a:t>
            </a:r>
          </a:p>
        </p:txBody>
      </p:sp>
      <p:sp>
        <p:nvSpPr>
          <p:cNvPr id="104" name="Rectangle 103">
            <a:extLst>
              <a:ext uri="{FF2B5EF4-FFF2-40B4-BE49-F238E27FC236}">
                <a16:creationId xmlns:a16="http://schemas.microsoft.com/office/drawing/2014/main" id="{32C8AE07-695C-456F-BB1E-1CCE6E0F787E}"/>
              </a:ext>
            </a:extLst>
          </p:cNvPr>
          <p:cNvSpPr/>
          <p:nvPr/>
        </p:nvSpPr>
        <p:spPr>
          <a:xfrm>
            <a:off x="9847236" y="6044590"/>
            <a:ext cx="1746196" cy="369367"/>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spcBef>
                <a:spcPts val="600"/>
              </a:spcBef>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Azure SQL Database</a:t>
            </a:r>
          </a:p>
        </p:txBody>
      </p:sp>
      <p:sp>
        <p:nvSpPr>
          <p:cNvPr id="106" name="Rectangle 105">
            <a:extLst>
              <a:ext uri="{FF2B5EF4-FFF2-40B4-BE49-F238E27FC236}">
                <a16:creationId xmlns:a16="http://schemas.microsoft.com/office/drawing/2014/main" id="{4E4CAA2D-2060-4CEE-9035-CD518219275B}"/>
              </a:ext>
            </a:extLst>
          </p:cNvPr>
          <p:cNvSpPr/>
          <p:nvPr/>
        </p:nvSpPr>
        <p:spPr>
          <a:xfrm>
            <a:off x="480762" y="1802759"/>
            <a:ext cx="4323047" cy="41549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defTabSz="914225">
              <a:defRPr/>
            </a:pPr>
            <a:r>
              <a:rPr lang="en-US" sz="1600" dirty="0">
                <a:solidFill>
                  <a:srgbClr val="0078D7"/>
                </a:solidFill>
                <a:latin typeface="Segoe UI Semibold"/>
              </a:rPr>
              <a:t>On-premises costs</a:t>
            </a:r>
            <a:r>
              <a:rPr lang="en-US" sz="1600" dirty="0">
                <a:solidFill>
                  <a:srgbClr val="505050">
                    <a:lumMod val="50000"/>
                  </a:srgbClr>
                </a:solidFill>
                <a:latin typeface="Segoe UI Semibold"/>
              </a:rPr>
              <a:t> </a:t>
            </a:r>
            <a:r>
              <a:rPr lang="en-US" sz="1600" dirty="0">
                <a:solidFill>
                  <a:srgbClr val="505050">
                    <a:lumMod val="50000"/>
                  </a:srgbClr>
                </a:solidFill>
                <a:latin typeface="Segoe UI"/>
              </a:rPr>
              <a:t>tend to be driven by hardware and data center management costs</a:t>
            </a:r>
          </a:p>
          <a:p>
            <a:pPr defTabSz="914225">
              <a:spcBef>
                <a:spcPts val="1200"/>
              </a:spcBef>
              <a:defRPr/>
            </a:pPr>
            <a:r>
              <a:rPr lang="en-US" sz="1600" b="1" dirty="0">
                <a:solidFill>
                  <a:srgbClr val="0078D7"/>
                </a:solidFill>
                <a:latin typeface="Segoe UI Semibold"/>
              </a:rPr>
              <a:t>Infrastructure-as-a-Service </a:t>
            </a:r>
            <a:r>
              <a:rPr lang="en-US" sz="1600" dirty="0">
                <a:solidFill>
                  <a:srgbClr val="505050">
                    <a:lumMod val="50000"/>
                  </a:srgbClr>
                </a:solidFill>
                <a:latin typeface="Segoe UI"/>
              </a:rPr>
              <a:t>reduces cost categories related to data center and compute</a:t>
            </a:r>
          </a:p>
          <a:p>
            <a:pPr defTabSz="914225">
              <a:spcBef>
                <a:spcPts val="1200"/>
              </a:spcBef>
              <a:defRPr/>
            </a:pPr>
            <a:r>
              <a:rPr lang="en-US" sz="1600" b="1" dirty="0">
                <a:solidFill>
                  <a:srgbClr val="0078D7"/>
                </a:solidFill>
                <a:latin typeface="Segoe UI"/>
              </a:rPr>
              <a:t>Platform-as-a-Service </a:t>
            </a:r>
            <a:r>
              <a:rPr lang="en-US" sz="1600" dirty="0">
                <a:solidFill>
                  <a:srgbClr val="505050">
                    <a:lumMod val="50000"/>
                  </a:srgbClr>
                </a:solidFill>
                <a:latin typeface="Segoe UI"/>
              </a:rPr>
              <a:t>off-loads customers’ most administrative tasks to Azure, further improving efficiency with machine-learning capabilities for performance and security </a:t>
            </a:r>
          </a:p>
          <a:p>
            <a:pPr marL="285695" indent="-285695" defTabSz="914225">
              <a:spcBef>
                <a:spcPts val="1200"/>
              </a:spcBef>
              <a:buFont typeface="Arial" panose="020B0604020202020204" pitchFamily="34" charset="0"/>
              <a:buChar char="•"/>
              <a:defRPr/>
            </a:pPr>
            <a:r>
              <a:rPr lang="en-US" sz="1600" b="1" dirty="0">
                <a:solidFill>
                  <a:srgbClr val="505050">
                    <a:lumMod val="50000"/>
                  </a:srgbClr>
                </a:solidFill>
                <a:latin typeface="Segoe UI"/>
              </a:rPr>
              <a:t>Managed Instance</a:t>
            </a:r>
            <a:r>
              <a:rPr lang="en-US" sz="1600" dirty="0">
                <a:solidFill>
                  <a:srgbClr val="505050">
                    <a:lumMod val="50000"/>
                  </a:srgbClr>
                </a:solidFill>
                <a:latin typeface="Segoe UI"/>
              </a:rPr>
              <a:t>: instance-level deployment for lift-shift existing apps to Azure, fully backward compatible</a:t>
            </a:r>
          </a:p>
          <a:p>
            <a:pPr marL="285695" indent="-285695" defTabSz="914225">
              <a:spcBef>
                <a:spcPts val="1200"/>
              </a:spcBef>
              <a:buFont typeface="Arial" panose="020B0604020202020204" pitchFamily="34" charset="0"/>
              <a:buChar char="•"/>
              <a:defRPr/>
            </a:pPr>
            <a:r>
              <a:rPr lang="en-US" sz="1600" b="1" dirty="0">
                <a:solidFill>
                  <a:srgbClr val="505050">
                    <a:lumMod val="50000"/>
                  </a:srgbClr>
                </a:solidFill>
                <a:latin typeface="Segoe UI"/>
              </a:rPr>
              <a:t>Single database</a:t>
            </a:r>
            <a:r>
              <a:rPr lang="en-US" sz="1600" dirty="0">
                <a:solidFill>
                  <a:srgbClr val="505050">
                    <a:lumMod val="50000"/>
                  </a:srgbClr>
                </a:solidFill>
                <a:latin typeface="Segoe UI"/>
              </a:rPr>
              <a:t>: database-level deployment for new apps</a:t>
            </a:r>
          </a:p>
        </p:txBody>
      </p:sp>
      <p:sp>
        <p:nvSpPr>
          <p:cNvPr id="2" name="Title 1">
            <a:extLst>
              <a:ext uri="{FF2B5EF4-FFF2-40B4-BE49-F238E27FC236}">
                <a16:creationId xmlns:a16="http://schemas.microsoft.com/office/drawing/2014/main" id="{7FD8E7F3-E6CB-4721-8A50-7810E5B7FCEA}"/>
              </a:ext>
            </a:extLst>
          </p:cNvPr>
          <p:cNvSpPr>
            <a:spLocks noGrp="1"/>
          </p:cNvSpPr>
          <p:nvPr>
            <p:ph type="title"/>
          </p:nvPr>
        </p:nvSpPr>
        <p:spPr>
          <a:xfrm>
            <a:off x="455994" y="300001"/>
            <a:ext cx="11306469" cy="461665"/>
          </a:xfrm>
        </p:spPr>
        <p:txBody>
          <a:bodyPr/>
          <a:lstStyle/>
          <a:p>
            <a:r>
              <a:rPr lang="en-US" dirty="0"/>
              <a:t>Hosting Models</a:t>
            </a:r>
          </a:p>
        </p:txBody>
      </p:sp>
      <p:grpSp>
        <p:nvGrpSpPr>
          <p:cNvPr id="3" name="Group 2">
            <a:extLst>
              <a:ext uri="{FF2B5EF4-FFF2-40B4-BE49-F238E27FC236}">
                <a16:creationId xmlns:a16="http://schemas.microsoft.com/office/drawing/2014/main" id="{AF938559-552A-4B82-AFF1-5C21832731B7}"/>
              </a:ext>
            </a:extLst>
          </p:cNvPr>
          <p:cNvGrpSpPr/>
          <p:nvPr/>
        </p:nvGrpSpPr>
        <p:grpSpPr>
          <a:xfrm>
            <a:off x="8284124" y="228486"/>
            <a:ext cx="3309308" cy="385861"/>
            <a:chOff x="5733892" y="458689"/>
            <a:chExt cx="3822809" cy="286191"/>
          </a:xfrm>
        </p:grpSpPr>
        <p:sp>
          <p:nvSpPr>
            <p:cNvPr id="148" name="TextBox 147">
              <a:extLst>
                <a:ext uri="{FF2B5EF4-FFF2-40B4-BE49-F238E27FC236}">
                  <a16:creationId xmlns:a16="http://schemas.microsoft.com/office/drawing/2014/main" id="{11FB6D9E-315A-4FB3-B9E0-86C72DD17414}"/>
                </a:ext>
              </a:extLst>
            </p:cNvPr>
            <p:cNvSpPr txBox="1"/>
            <p:nvPr/>
          </p:nvSpPr>
          <p:spPr>
            <a:xfrm>
              <a:off x="7684830" y="458689"/>
              <a:ext cx="1871871" cy="286191"/>
            </a:xfrm>
            <a:prstGeom prst="rect">
              <a:avLst/>
            </a:prstGeom>
            <a:solidFill>
              <a:srgbClr val="50E6FF"/>
            </a:solidFill>
            <a:ln>
              <a:noFill/>
            </a:ln>
          </p:spPr>
          <p:txBody>
            <a:bodyPr wrap="square" lIns="91427" tIns="73141" rIns="91427" bIns="73141" rtlCol="0" anchor="ctr" anchorCtr="0">
              <a:noAutofit/>
            </a:bodyPr>
            <a:lstStyle/>
            <a:p>
              <a:pPr algn="ctr" defTabSz="914225">
                <a:lnSpc>
                  <a:spcPct val="90000"/>
                </a:lnSpc>
                <a:spcAft>
                  <a:spcPts val="600"/>
                </a:spcAft>
                <a:defRPr/>
              </a:pPr>
              <a:r>
                <a:rPr lang="en-US" sz="1000" dirty="0">
                  <a:latin typeface="Segoe UI"/>
                </a:rPr>
                <a:t>Managed by Microsoft</a:t>
              </a:r>
            </a:p>
          </p:txBody>
        </p:sp>
        <p:sp>
          <p:nvSpPr>
            <p:cNvPr id="150" name="TextBox 149">
              <a:extLst>
                <a:ext uri="{FF2B5EF4-FFF2-40B4-BE49-F238E27FC236}">
                  <a16:creationId xmlns:a16="http://schemas.microsoft.com/office/drawing/2014/main" id="{893876BE-CA30-42B8-8340-6DDD1DBA559D}"/>
                </a:ext>
              </a:extLst>
            </p:cNvPr>
            <p:cNvSpPr txBox="1"/>
            <p:nvPr/>
          </p:nvSpPr>
          <p:spPr>
            <a:xfrm>
              <a:off x="5733892" y="458689"/>
              <a:ext cx="1871871" cy="286191"/>
            </a:xfrm>
            <a:prstGeom prst="rect">
              <a:avLst/>
            </a:prstGeom>
            <a:solidFill>
              <a:schemeClr val="tx2"/>
            </a:solidFill>
            <a:ln w="9525" cap="flat" cmpd="sng" algn="ctr">
              <a:noFill/>
              <a:prstDash val="solid"/>
            </a:ln>
            <a:effectLst/>
          </p:spPr>
          <p:txBody>
            <a:bodyPr lIns="91440" tIns="89630" rIns="91440" bIns="89630" rtlCol="0" anchor="ctr" anchorCtr="0">
              <a:noAutofit/>
            </a:bodyPr>
            <a:lstStyle>
              <a:defPPr>
                <a:defRPr lang="en-US"/>
              </a:defPPr>
              <a:lvl1pPr algn="ctr" defTabSz="1218096">
                <a:defRPr sz="1100" kern="0">
                  <a:solidFill>
                    <a:srgbClr val="FFFFFF"/>
                  </a:solidFill>
                  <a:latin typeface="Segoe UI"/>
                  <a:ea typeface="Segoe UI" pitchFamily="34" charset="0"/>
                  <a:cs typeface="Segoe UI" pitchFamily="34" charset="0"/>
                </a:defRPr>
              </a:lvl1pPr>
            </a:lstStyle>
            <a:p>
              <a:r>
                <a:rPr lang="en-US" dirty="0"/>
                <a:t>Managed by customer</a:t>
              </a:r>
            </a:p>
          </p:txBody>
        </p:sp>
      </p:grpSp>
    </p:spTree>
    <p:extLst>
      <p:ext uri="{BB962C8B-B14F-4D97-AF65-F5344CB8AC3E}">
        <p14:creationId xmlns:p14="http://schemas.microsoft.com/office/powerpoint/2010/main" val="383153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Data platform continuum</a:t>
            </a:r>
          </a:p>
        </p:txBody>
      </p:sp>
      <p:cxnSp>
        <p:nvCxnSpPr>
          <p:cNvPr id="5" name="Straight Connector 4">
            <a:extLst>
              <a:ext uri="{FF2B5EF4-FFF2-40B4-BE49-F238E27FC236}">
                <a16:creationId xmlns:a16="http://schemas.microsoft.com/office/drawing/2014/main" id="{0640F10E-3D4D-4607-A5DA-B52E23FEC385}"/>
              </a:ext>
            </a:extLst>
          </p:cNvPr>
          <p:cNvCxnSpPr/>
          <p:nvPr/>
        </p:nvCxnSpPr>
        <p:spPr>
          <a:xfrm>
            <a:off x="821778" y="1356404"/>
            <a:ext cx="0" cy="4833205"/>
          </a:xfrm>
          <a:prstGeom prst="line">
            <a:avLst/>
          </a:prstGeom>
          <a:noFill/>
          <a:ln w="19050" cap="flat" cmpd="sng" algn="ctr">
            <a:solidFill>
              <a:srgbClr val="3C3C41">
                <a:lumMod val="40000"/>
                <a:lumOff val="60000"/>
              </a:srgbClr>
            </a:solidFill>
            <a:prstDash val="solid"/>
          </a:ln>
          <a:effectLst/>
        </p:spPr>
      </p:cxnSp>
      <p:cxnSp>
        <p:nvCxnSpPr>
          <p:cNvPr id="6" name="Straight Connector 5">
            <a:extLst>
              <a:ext uri="{FF2B5EF4-FFF2-40B4-BE49-F238E27FC236}">
                <a16:creationId xmlns:a16="http://schemas.microsoft.com/office/drawing/2014/main" id="{B9241C04-909B-4E30-9876-DE906770C23D}"/>
              </a:ext>
            </a:extLst>
          </p:cNvPr>
          <p:cNvCxnSpPr/>
          <p:nvPr/>
        </p:nvCxnSpPr>
        <p:spPr>
          <a:xfrm flipH="1">
            <a:off x="814825" y="6186162"/>
            <a:ext cx="11006275" cy="0"/>
          </a:xfrm>
          <a:prstGeom prst="line">
            <a:avLst/>
          </a:prstGeom>
          <a:noFill/>
          <a:ln w="19050" cap="flat" cmpd="sng" algn="ctr">
            <a:solidFill>
              <a:srgbClr val="3C3C41">
                <a:lumMod val="40000"/>
                <a:lumOff val="60000"/>
              </a:srgbClr>
            </a:solidFill>
            <a:prstDash val="solid"/>
          </a:ln>
          <a:effectLst/>
        </p:spPr>
      </p:cxnSp>
      <p:sp>
        <p:nvSpPr>
          <p:cNvPr id="7" name="TextBox 6">
            <a:extLst>
              <a:ext uri="{FF2B5EF4-FFF2-40B4-BE49-F238E27FC236}">
                <a16:creationId xmlns:a16="http://schemas.microsoft.com/office/drawing/2014/main" id="{9DB4AB84-2198-4C98-B783-4216D89DFC70}"/>
              </a:ext>
            </a:extLst>
          </p:cNvPr>
          <p:cNvSpPr txBox="1"/>
          <p:nvPr/>
        </p:nvSpPr>
        <p:spPr>
          <a:xfrm rot="16200000">
            <a:off x="-135951" y="1913490"/>
            <a:ext cx="1476067" cy="286306"/>
          </a:xfrm>
          <a:prstGeom prst="rect">
            <a:avLst/>
          </a:prstGeom>
          <a:noFill/>
        </p:spPr>
        <p:txBody>
          <a:bodyPr wrap="none" lIns="93260" tIns="46630" rIns="93260" bIns="46630" rtlCol="0">
            <a:spAutoFit/>
          </a:bodyPr>
          <a:lstStyle/>
          <a:p>
            <a:pPr algn="ctr" defTabSz="932225">
              <a:defRPr/>
            </a:pPr>
            <a:r>
              <a:rPr lang="en-US" sz="1224" b="1">
                <a:solidFill>
                  <a:srgbClr val="0072C6"/>
                </a:solidFill>
                <a:latin typeface="Segoe UI Semibold" charset="0"/>
                <a:ea typeface="Segoe UI Semibold" charset="0"/>
                <a:cs typeface="Segoe UI Semibold" charset="0"/>
              </a:rPr>
              <a:t>Shared lower cost</a:t>
            </a:r>
          </a:p>
        </p:txBody>
      </p:sp>
      <p:sp>
        <p:nvSpPr>
          <p:cNvPr id="8" name="TextBox 7">
            <a:extLst>
              <a:ext uri="{FF2B5EF4-FFF2-40B4-BE49-F238E27FC236}">
                <a16:creationId xmlns:a16="http://schemas.microsoft.com/office/drawing/2014/main" id="{BC679F4B-5A25-406E-9AB1-FEBB5B7D02DB}"/>
              </a:ext>
            </a:extLst>
          </p:cNvPr>
          <p:cNvSpPr txBox="1"/>
          <p:nvPr/>
        </p:nvSpPr>
        <p:spPr>
          <a:xfrm rot="16200000">
            <a:off x="-286200" y="5253872"/>
            <a:ext cx="1776563" cy="286306"/>
          </a:xfrm>
          <a:prstGeom prst="rect">
            <a:avLst/>
          </a:prstGeom>
          <a:noFill/>
        </p:spPr>
        <p:txBody>
          <a:bodyPr wrap="none" lIns="93260" tIns="46630" rIns="93260" bIns="46630" rtlCol="0">
            <a:spAutoFit/>
          </a:bodyPr>
          <a:lstStyle/>
          <a:p>
            <a:pPr algn="r" defTabSz="932225">
              <a:defRPr/>
            </a:pPr>
            <a:r>
              <a:rPr lang="en-US" sz="1224" b="1">
                <a:solidFill>
                  <a:srgbClr val="0072C6"/>
                </a:solidFill>
                <a:latin typeface="Segoe UI Semibold" charset="0"/>
                <a:ea typeface="Segoe UI Semibold" charset="0"/>
                <a:cs typeface="Segoe UI Semibold" charset="0"/>
              </a:rPr>
              <a:t>Dedicated higher cost</a:t>
            </a:r>
          </a:p>
        </p:txBody>
      </p:sp>
      <p:sp>
        <p:nvSpPr>
          <p:cNvPr id="9" name="TextBox 8">
            <a:extLst>
              <a:ext uri="{FF2B5EF4-FFF2-40B4-BE49-F238E27FC236}">
                <a16:creationId xmlns:a16="http://schemas.microsoft.com/office/drawing/2014/main" id="{A6E31221-811A-4FE6-9F55-DB265272886B}"/>
              </a:ext>
            </a:extLst>
          </p:cNvPr>
          <p:cNvSpPr txBox="1"/>
          <p:nvPr/>
        </p:nvSpPr>
        <p:spPr>
          <a:xfrm>
            <a:off x="883450" y="6253836"/>
            <a:ext cx="1782384" cy="286306"/>
          </a:xfrm>
          <a:prstGeom prst="rect">
            <a:avLst/>
          </a:prstGeom>
          <a:noFill/>
        </p:spPr>
        <p:txBody>
          <a:bodyPr wrap="none" lIns="93260" tIns="46630" rIns="93260" bIns="46630" rtlCol="0">
            <a:spAutoFit/>
          </a:bodyPr>
          <a:lstStyle/>
          <a:p>
            <a:pPr defTabSz="932225">
              <a:defRPr/>
            </a:pPr>
            <a:r>
              <a:rPr lang="en-US" sz="1224" b="1">
                <a:solidFill>
                  <a:srgbClr val="0072C6"/>
                </a:solidFill>
                <a:latin typeface="Segoe UI Semibold" charset="0"/>
                <a:ea typeface="Segoe UI Semibold" charset="0"/>
                <a:cs typeface="Segoe UI Semibold" charset="0"/>
              </a:rPr>
              <a:t>Higher administration</a:t>
            </a:r>
          </a:p>
        </p:txBody>
      </p:sp>
      <p:sp>
        <p:nvSpPr>
          <p:cNvPr id="10" name="TextBox 9">
            <a:extLst>
              <a:ext uri="{FF2B5EF4-FFF2-40B4-BE49-F238E27FC236}">
                <a16:creationId xmlns:a16="http://schemas.microsoft.com/office/drawing/2014/main" id="{BA4B6107-D530-461C-A46D-BE4B33B709F9}"/>
              </a:ext>
            </a:extLst>
          </p:cNvPr>
          <p:cNvSpPr txBox="1"/>
          <p:nvPr/>
        </p:nvSpPr>
        <p:spPr>
          <a:xfrm>
            <a:off x="10184542" y="6253836"/>
            <a:ext cx="1726013" cy="286306"/>
          </a:xfrm>
          <a:prstGeom prst="rect">
            <a:avLst/>
          </a:prstGeom>
          <a:noFill/>
        </p:spPr>
        <p:txBody>
          <a:bodyPr wrap="none" lIns="93260" tIns="46630" rIns="93260" bIns="46630" rtlCol="0">
            <a:spAutoFit/>
          </a:bodyPr>
          <a:lstStyle/>
          <a:p>
            <a:pPr defTabSz="932225">
              <a:defRPr/>
            </a:pPr>
            <a:r>
              <a:rPr lang="en-US" sz="1224" b="1">
                <a:solidFill>
                  <a:srgbClr val="0072C6"/>
                </a:solidFill>
                <a:latin typeface="Segoe UI Semibold" charset="0"/>
                <a:ea typeface="Segoe UI Semibold" charset="0"/>
                <a:cs typeface="Segoe UI Semibold" charset="0"/>
              </a:rPr>
              <a:t>Lower administration</a:t>
            </a:r>
          </a:p>
        </p:txBody>
      </p:sp>
      <p:sp>
        <p:nvSpPr>
          <p:cNvPr id="11" name="Rectangle 10">
            <a:extLst>
              <a:ext uri="{FF2B5EF4-FFF2-40B4-BE49-F238E27FC236}">
                <a16:creationId xmlns:a16="http://schemas.microsoft.com/office/drawing/2014/main" id="{5619F0A2-A648-4BE6-B1FC-CB3E32915210}"/>
              </a:ext>
            </a:extLst>
          </p:cNvPr>
          <p:cNvSpPr/>
          <p:nvPr/>
        </p:nvSpPr>
        <p:spPr>
          <a:xfrm>
            <a:off x="993491" y="4951399"/>
            <a:ext cx="5940580" cy="1053657"/>
          </a:xfrm>
          <a:prstGeom prst="rect">
            <a:avLst/>
          </a:prstGeom>
          <a:solidFill>
            <a:srgbClr val="0078D3"/>
          </a:solidFill>
          <a:ln w="3175" cap="flat" cmpd="sng" algn="ctr">
            <a:noFill/>
            <a:prstDash val="solid"/>
          </a:ln>
          <a:effectLst/>
        </p:spPr>
        <p:txBody>
          <a:bodyPr wrap="square" lIns="1072494" tIns="130564" rIns="91427" bIns="45713" rtlCol="0" anchor="t" anchorCtr="0">
            <a:noAutofit/>
          </a:bodyPr>
          <a:lstStyle/>
          <a:p>
            <a:pPr marL="0" marR="0" lvl="0" indent="0" defTabSz="932225" eaLnBrk="1" fontAlgn="auto" latinLnBrk="0" hangingPunct="1">
              <a:lnSpc>
                <a:spcPct val="100000"/>
              </a:lnSpc>
              <a:spcBef>
                <a:spcPts val="0"/>
              </a:spcBef>
              <a:spcAft>
                <a:spcPts val="0"/>
              </a:spcAft>
              <a:buClrTx/>
              <a:buSzTx/>
              <a:buFontTx/>
              <a:buNone/>
              <a:tabLst/>
              <a:defRPr/>
            </a:pPr>
            <a:r>
              <a:rPr kumimoji="0" lang="en-US" sz="2040" b="0" i="0" u="none" strike="noStrike" kern="0" cap="none" spc="102"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hysical</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SQL Server</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Physical Machine (raw iron)</a:t>
            </a:r>
          </a:p>
        </p:txBody>
      </p:sp>
      <p:sp>
        <p:nvSpPr>
          <p:cNvPr id="12" name="Rectangle 11">
            <a:extLst>
              <a:ext uri="{FF2B5EF4-FFF2-40B4-BE49-F238E27FC236}">
                <a16:creationId xmlns:a16="http://schemas.microsoft.com/office/drawing/2014/main" id="{0C98BD19-BA86-43DB-8C10-A661DBB3A430}"/>
              </a:ext>
            </a:extLst>
          </p:cNvPr>
          <p:cNvSpPr/>
          <p:nvPr/>
        </p:nvSpPr>
        <p:spPr>
          <a:xfrm>
            <a:off x="4210411" y="2587806"/>
            <a:ext cx="5940580" cy="1053657"/>
          </a:xfrm>
          <a:prstGeom prst="rect">
            <a:avLst/>
          </a:prstGeom>
          <a:solidFill>
            <a:srgbClr val="0078D3"/>
          </a:solidFill>
          <a:ln w="3175" cap="flat" cmpd="sng" algn="ctr">
            <a:noFill/>
            <a:prstDash val="solid"/>
          </a:ln>
          <a:effectLst/>
        </p:spPr>
        <p:txBody>
          <a:bodyPr wrap="square" lIns="1072494" tIns="130564" rIns="91427" bIns="45713" rtlCol="0" anchor="t" anchorCtr="0">
            <a:noAutofit/>
          </a:bodyPr>
          <a:lstStyle/>
          <a:p>
            <a:pPr marL="0" marR="0" lvl="0" indent="0" defTabSz="932225" eaLnBrk="1" fontAlgn="auto" latinLnBrk="0" hangingPunct="1">
              <a:lnSpc>
                <a:spcPct val="100000"/>
              </a:lnSpc>
              <a:spcBef>
                <a:spcPts val="0"/>
              </a:spcBef>
              <a:spcAft>
                <a:spcPts val="0"/>
              </a:spcAft>
              <a:buClrTx/>
              <a:buSzTx/>
              <a:buFontTx/>
              <a:buNone/>
              <a:tabLst/>
              <a:defRPr/>
            </a:pPr>
            <a:r>
              <a:rPr kumimoji="0" lang="en-US" sz="2040" b="0" i="0" u="none" strike="noStrike" kern="0" cap="none" spc="102"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aaS</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SQL Server in Azure VM</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Virtualized Machines</a:t>
            </a:r>
          </a:p>
        </p:txBody>
      </p:sp>
      <p:sp>
        <p:nvSpPr>
          <p:cNvPr id="13" name="Rectangle 12">
            <a:extLst>
              <a:ext uri="{FF2B5EF4-FFF2-40B4-BE49-F238E27FC236}">
                <a16:creationId xmlns:a16="http://schemas.microsoft.com/office/drawing/2014/main" id="{16A8A2FD-28F4-46C4-8D0F-24392BFD1AE0}"/>
              </a:ext>
            </a:extLst>
          </p:cNvPr>
          <p:cNvSpPr/>
          <p:nvPr/>
        </p:nvSpPr>
        <p:spPr>
          <a:xfrm>
            <a:off x="2606314" y="3776567"/>
            <a:ext cx="5940580" cy="1053657"/>
          </a:xfrm>
          <a:prstGeom prst="rect">
            <a:avLst/>
          </a:prstGeom>
          <a:solidFill>
            <a:srgbClr val="0078D3"/>
          </a:solidFill>
          <a:ln w="3175" cap="flat" cmpd="sng" algn="ctr">
            <a:noFill/>
            <a:prstDash val="solid"/>
          </a:ln>
          <a:effectLst/>
        </p:spPr>
        <p:txBody>
          <a:bodyPr wrap="square" lIns="1072494" tIns="130564" rIns="91427" bIns="45713" rtlCol="0" anchor="t" anchorCtr="0">
            <a:noAutofit/>
          </a:bodyPr>
          <a:lstStyle/>
          <a:p>
            <a:pPr marL="0" marR="0" lvl="0" indent="0" defTabSz="932225" eaLnBrk="1" fontAlgn="auto" latinLnBrk="0" hangingPunct="1">
              <a:lnSpc>
                <a:spcPct val="100000"/>
              </a:lnSpc>
              <a:spcBef>
                <a:spcPts val="0"/>
              </a:spcBef>
              <a:spcAft>
                <a:spcPts val="0"/>
              </a:spcAft>
              <a:buClrTx/>
              <a:buSzTx/>
              <a:buFontTx/>
              <a:buNone/>
              <a:tabLst/>
              <a:defRPr/>
            </a:pPr>
            <a:r>
              <a:rPr kumimoji="0" lang="en-US" sz="2040" b="0" i="0" u="none" strike="noStrike" kern="0" cap="none" spc="102"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Virtual</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SQL Server Private Cloud</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Virtualized Machine + Appliance</a:t>
            </a:r>
          </a:p>
        </p:txBody>
      </p:sp>
      <p:sp>
        <p:nvSpPr>
          <p:cNvPr id="14" name="Rectangle 13">
            <a:extLst>
              <a:ext uri="{FF2B5EF4-FFF2-40B4-BE49-F238E27FC236}">
                <a16:creationId xmlns:a16="http://schemas.microsoft.com/office/drawing/2014/main" id="{CAAAA016-D598-4EC9-AE11-90F3F80BAF38}"/>
              </a:ext>
            </a:extLst>
          </p:cNvPr>
          <p:cNvSpPr/>
          <p:nvPr/>
        </p:nvSpPr>
        <p:spPr>
          <a:xfrm>
            <a:off x="5880518" y="1422840"/>
            <a:ext cx="5940580" cy="1053657"/>
          </a:xfrm>
          <a:prstGeom prst="rect">
            <a:avLst/>
          </a:prstGeom>
          <a:solidFill>
            <a:srgbClr val="0078D3"/>
          </a:solidFill>
          <a:ln w="3175" cap="flat" cmpd="sng" algn="ctr">
            <a:noFill/>
            <a:prstDash val="solid"/>
          </a:ln>
          <a:effectLst/>
        </p:spPr>
        <p:txBody>
          <a:bodyPr wrap="square" lIns="1072494" tIns="130564" rIns="91427" bIns="45713" rtlCol="0" anchor="t" anchorCtr="0">
            <a:noAutofit/>
          </a:bodyPr>
          <a:lstStyle/>
          <a:p>
            <a:pPr marL="0" marR="0" lvl="0" indent="0" defTabSz="932225" eaLnBrk="1" fontAlgn="auto" latinLnBrk="0" hangingPunct="1">
              <a:lnSpc>
                <a:spcPct val="100000"/>
              </a:lnSpc>
              <a:spcBef>
                <a:spcPts val="0"/>
              </a:spcBef>
              <a:spcAft>
                <a:spcPts val="0"/>
              </a:spcAft>
              <a:buClrTx/>
              <a:buSzTx/>
              <a:buFontTx/>
              <a:buNone/>
              <a:tabLst/>
              <a:defRPr/>
            </a:pPr>
            <a:r>
              <a:rPr kumimoji="0" lang="en-US" sz="2040" b="0" i="0" u="none" strike="noStrike" kern="0" cap="none" spc="102"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aS</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dirty="0">
                <a:ln>
                  <a:noFill/>
                </a:ln>
                <a:solidFill>
                  <a:srgbClr val="FFFFFF"/>
                </a:solidFill>
                <a:effectLst/>
                <a:uLnTx/>
                <a:uFillTx/>
                <a:latin typeface="Segoe UI Semilight" charset="0"/>
                <a:ea typeface="Segoe UI Semilight" charset="0"/>
                <a:cs typeface="Segoe UI Semilight" charset="0"/>
              </a:rPr>
              <a:t>Azure SQL Database</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dirty="0">
                <a:ln>
                  <a:noFill/>
                </a:ln>
                <a:solidFill>
                  <a:srgbClr val="FFFFFF"/>
                </a:solidFill>
                <a:effectLst/>
                <a:uLnTx/>
                <a:uFillTx/>
                <a:latin typeface="Segoe UI Semilight" charset="0"/>
                <a:ea typeface="Segoe UI Semilight" charset="0"/>
                <a:cs typeface="Segoe UI Semilight" charset="0"/>
              </a:rPr>
              <a:t>Virtualized Database</a:t>
            </a:r>
          </a:p>
        </p:txBody>
      </p:sp>
      <p:grpSp>
        <p:nvGrpSpPr>
          <p:cNvPr id="15" name="Group 21" descr="IAAS">
            <a:extLst>
              <a:ext uri="{FF2B5EF4-FFF2-40B4-BE49-F238E27FC236}">
                <a16:creationId xmlns:a16="http://schemas.microsoft.com/office/drawing/2014/main" id="{7E9CF5E4-4749-4387-A912-9D9A862F10A7}"/>
              </a:ext>
            </a:extLst>
          </p:cNvPr>
          <p:cNvGrpSpPr>
            <a:grpSpLocks noChangeAspect="1"/>
          </p:cNvGrpSpPr>
          <p:nvPr/>
        </p:nvGrpSpPr>
        <p:grpSpPr bwMode="auto">
          <a:xfrm>
            <a:off x="4476078" y="2800387"/>
            <a:ext cx="520546" cy="518719"/>
            <a:chOff x="2211" y="778"/>
            <a:chExt cx="285" cy="284"/>
          </a:xfrm>
        </p:grpSpPr>
        <p:sp>
          <p:nvSpPr>
            <p:cNvPr id="16" name="AutoShape 20">
              <a:extLst>
                <a:ext uri="{FF2B5EF4-FFF2-40B4-BE49-F238E27FC236}">
                  <a16:creationId xmlns:a16="http://schemas.microsoft.com/office/drawing/2014/main" id="{B29FBD26-031C-4EBE-ADC6-A7E20CA898ED}"/>
                </a:ext>
              </a:extLst>
            </p:cNvPr>
            <p:cNvSpPr>
              <a:spLocks noChangeAspect="1" noChangeArrowheads="1" noTextEdit="1"/>
            </p:cNvSpPr>
            <p:nvPr/>
          </p:nvSpPr>
          <p:spPr bwMode="auto">
            <a:xfrm>
              <a:off x="2211" y="778"/>
              <a:ext cx="285"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7" name="Oval 22">
              <a:extLst>
                <a:ext uri="{FF2B5EF4-FFF2-40B4-BE49-F238E27FC236}">
                  <a16:creationId xmlns:a16="http://schemas.microsoft.com/office/drawing/2014/main" id="{12CD34F7-F480-47DE-84FB-031A3EE69192}"/>
                </a:ext>
              </a:extLst>
            </p:cNvPr>
            <p:cNvSpPr>
              <a:spLocks noChangeArrowheads="1"/>
            </p:cNvSpPr>
            <p:nvPr/>
          </p:nvSpPr>
          <p:spPr bwMode="auto">
            <a:xfrm>
              <a:off x="2331" y="898"/>
              <a:ext cx="45" cy="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8" name="Freeform 23">
              <a:extLst>
                <a:ext uri="{FF2B5EF4-FFF2-40B4-BE49-F238E27FC236}">
                  <a16:creationId xmlns:a16="http://schemas.microsoft.com/office/drawing/2014/main" id="{EB38C187-F19F-452C-99DC-2651344EC95A}"/>
                </a:ext>
              </a:extLst>
            </p:cNvPr>
            <p:cNvSpPr>
              <a:spLocks noEditPoints="1"/>
            </p:cNvSpPr>
            <p:nvPr/>
          </p:nvSpPr>
          <p:spPr bwMode="auto">
            <a:xfrm>
              <a:off x="2247" y="809"/>
              <a:ext cx="213" cy="218"/>
            </a:xfrm>
            <a:custGeom>
              <a:avLst/>
              <a:gdLst>
                <a:gd name="T0" fmla="*/ 98 w 144"/>
                <a:gd name="T1" fmla="*/ 8 h 147"/>
                <a:gd name="T2" fmla="*/ 88 w 144"/>
                <a:gd name="T3" fmla="*/ 0 h 147"/>
                <a:gd name="T4" fmla="*/ 80 w 144"/>
                <a:gd name="T5" fmla="*/ 4 h 147"/>
                <a:gd name="T6" fmla="*/ 72 w 144"/>
                <a:gd name="T7" fmla="*/ 3 h 147"/>
                <a:gd name="T8" fmla="*/ 0 w 144"/>
                <a:gd name="T9" fmla="*/ 75 h 147"/>
                <a:gd name="T10" fmla="*/ 72 w 144"/>
                <a:gd name="T11" fmla="*/ 147 h 147"/>
                <a:gd name="T12" fmla="*/ 144 w 144"/>
                <a:gd name="T13" fmla="*/ 75 h 147"/>
                <a:gd name="T14" fmla="*/ 98 w 144"/>
                <a:gd name="T15" fmla="*/ 8 h 147"/>
                <a:gd name="T16" fmla="*/ 119 w 144"/>
                <a:gd name="T17" fmla="*/ 123 h 147"/>
                <a:gd name="T18" fmla="*/ 98 w 144"/>
                <a:gd name="T19" fmla="*/ 137 h 147"/>
                <a:gd name="T20" fmla="*/ 72 w 144"/>
                <a:gd name="T21" fmla="*/ 142 h 147"/>
                <a:gd name="T22" fmla="*/ 46 w 144"/>
                <a:gd name="T23" fmla="*/ 137 h 147"/>
                <a:gd name="T24" fmla="*/ 25 w 144"/>
                <a:gd name="T25" fmla="*/ 123 h 147"/>
                <a:gd name="T26" fmla="*/ 10 w 144"/>
                <a:gd name="T27" fmla="*/ 101 h 147"/>
                <a:gd name="T28" fmla="*/ 5 w 144"/>
                <a:gd name="T29" fmla="*/ 75 h 147"/>
                <a:gd name="T30" fmla="*/ 10 w 144"/>
                <a:gd name="T31" fmla="*/ 49 h 147"/>
                <a:gd name="T32" fmla="*/ 25 w 144"/>
                <a:gd name="T33" fmla="*/ 28 h 147"/>
                <a:gd name="T34" fmla="*/ 46 w 144"/>
                <a:gd name="T35" fmla="*/ 14 h 147"/>
                <a:gd name="T36" fmla="*/ 72 w 144"/>
                <a:gd name="T37" fmla="*/ 8 h 147"/>
                <a:gd name="T38" fmla="*/ 78 w 144"/>
                <a:gd name="T39" fmla="*/ 9 h 147"/>
                <a:gd name="T40" fmla="*/ 78 w 144"/>
                <a:gd name="T41" fmla="*/ 10 h 147"/>
                <a:gd name="T42" fmla="*/ 88 w 144"/>
                <a:gd name="T43" fmla="*/ 20 h 147"/>
                <a:gd name="T44" fmla="*/ 97 w 144"/>
                <a:gd name="T45" fmla="*/ 13 h 147"/>
                <a:gd name="T46" fmla="*/ 98 w 144"/>
                <a:gd name="T47" fmla="*/ 14 h 147"/>
                <a:gd name="T48" fmla="*/ 119 w 144"/>
                <a:gd name="T49" fmla="*/ 28 h 147"/>
                <a:gd name="T50" fmla="*/ 134 w 144"/>
                <a:gd name="T51" fmla="*/ 49 h 147"/>
                <a:gd name="T52" fmla="*/ 139 w 144"/>
                <a:gd name="T53" fmla="*/ 75 h 147"/>
                <a:gd name="T54" fmla="*/ 134 w 144"/>
                <a:gd name="T55" fmla="*/ 101 h 147"/>
                <a:gd name="T56" fmla="*/ 119 w 144"/>
                <a:gd name="T57" fmla="*/ 1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7">
                  <a:moveTo>
                    <a:pt x="98" y="8"/>
                  </a:moveTo>
                  <a:cubicBezTo>
                    <a:pt x="97" y="3"/>
                    <a:pt x="93" y="0"/>
                    <a:pt x="88" y="0"/>
                  </a:cubicBezTo>
                  <a:cubicBezTo>
                    <a:pt x="84" y="0"/>
                    <a:pt x="81" y="1"/>
                    <a:pt x="80" y="4"/>
                  </a:cubicBezTo>
                  <a:cubicBezTo>
                    <a:pt x="77" y="3"/>
                    <a:pt x="75" y="3"/>
                    <a:pt x="72" y="3"/>
                  </a:cubicBezTo>
                  <a:cubicBezTo>
                    <a:pt x="32" y="3"/>
                    <a:pt x="0" y="35"/>
                    <a:pt x="0" y="75"/>
                  </a:cubicBezTo>
                  <a:cubicBezTo>
                    <a:pt x="0" y="115"/>
                    <a:pt x="32" y="147"/>
                    <a:pt x="72" y="147"/>
                  </a:cubicBezTo>
                  <a:cubicBezTo>
                    <a:pt x="112" y="147"/>
                    <a:pt x="144" y="115"/>
                    <a:pt x="144" y="75"/>
                  </a:cubicBezTo>
                  <a:cubicBezTo>
                    <a:pt x="144" y="44"/>
                    <a:pt x="125" y="18"/>
                    <a:pt x="98" y="8"/>
                  </a:cubicBezTo>
                  <a:close/>
                  <a:moveTo>
                    <a:pt x="119" y="123"/>
                  </a:moveTo>
                  <a:cubicBezTo>
                    <a:pt x="113" y="129"/>
                    <a:pt x="106" y="134"/>
                    <a:pt x="98" y="137"/>
                  </a:cubicBezTo>
                  <a:cubicBezTo>
                    <a:pt x="90" y="140"/>
                    <a:pt x="81" y="142"/>
                    <a:pt x="72" y="142"/>
                  </a:cubicBezTo>
                  <a:cubicBezTo>
                    <a:pt x="63" y="142"/>
                    <a:pt x="54" y="140"/>
                    <a:pt x="46" y="137"/>
                  </a:cubicBezTo>
                  <a:cubicBezTo>
                    <a:pt x="38" y="134"/>
                    <a:pt x="31" y="129"/>
                    <a:pt x="25" y="123"/>
                  </a:cubicBezTo>
                  <a:cubicBezTo>
                    <a:pt x="19" y="116"/>
                    <a:pt x="14" y="109"/>
                    <a:pt x="10" y="101"/>
                  </a:cubicBezTo>
                  <a:cubicBezTo>
                    <a:pt x="7" y="93"/>
                    <a:pt x="5" y="84"/>
                    <a:pt x="5" y="75"/>
                  </a:cubicBezTo>
                  <a:cubicBezTo>
                    <a:pt x="5" y="66"/>
                    <a:pt x="7" y="57"/>
                    <a:pt x="10" y="49"/>
                  </a:cubicBezTo>
                  <a:cubicBezTo>
                    <a:pt x="14" y="41"/>
                    <a:pt x="19" y="34"/>
                    <a:pt x="25" y="28"/>
                  </a:cubicBezTo>
                  <a:cubicBezTo>
                    <a:pt x="31" y="22"/>
                    <a:pt x="38" y="17"/>
                    <a:pt x="46" y="14"/>
                  </a:cubicBezTo>
                  <a:cubicBezTo>
                    <a:pt x="54" y="10"/>
                    <a:pt x="63" y="8"/>
                    <a:pt x="72" y="8"/>
                  </a:cubicBezTo>
                  <a:cubicBezTo>
                    <a:pt x="74" y="8"/>
                    <a:pt x="76" y="8"/>
                    <a:pt x="78" y="9"/>
                  </a:cubicBezTo>
                  <a:cubicBezTo>
                    <a:pt x="78" y="9"/>
                    <a:pt x="78" y="9"/>
                    <a:pt x="78" y="10"/>
                  </a:cubicBezTo>
                  <a:cubicBezTo>
                    <a:pt x="78" y="15"/>
                    <a:pt x="82" y="20"/>
                    <a:pt x="88" y="20"/>
                  </a:cubicBezTo>
                  <a:cubicBezTo>
                    <a:pt x="92" y="20"/>
                    <a:pt x="96" y="17"/>
                    <a:pt x="97" y="13"/>
                  </a:cubicBezTo>
                  <a:cubicBezTo>
                    <a:pt x="97" y="13"/>
                    <a:pt x="98" y="13"/>
                    <a:pt x="98" y="14"/>
                  </a:cubicBezTo>
                  <a:cubicBezTo>
                    <a:pt x="106" y="17"/>
                    <a:pt x="113" y="22"/>
                    <a:pt x="119" y="28"/>
                  </a:cubicBezTo>
                  <a:cubicBezTo>
                    <a:pt x="126" y="34"/>
                    <a:pt x="130" y="41"/>
                    <a:pt x="134" y="49"/>
                  </a:cubicBezTo>
                  <a:cubicBezTo>
                    <a:pt x="137" y="58"/>
                    <a:pt x="139" y="66"/>
                    <a:pt x="139" y="75"/>
                  </a:cubicBezTo>
                  <a:cubicBezTo>
                    <a:pt x="139" y="84"/>
                    <a:pt x="137" y="93"/>
                    <a:pt x="134" y="101"/>
                  </a:cubicBezTo>
                  <a:cubicBezTo>
                    <a:pt x="130" y="109"/>
                    <a:pt x="126" y="116"/>
                    <a:pt x="119" y="1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9" name="Freeform 24">
              <a:extLst>
                <a:ext uri="{FF2B5EF4-FFF2-40B4-BE49-F238E27FC236}">
                  <a16:creationId xmlns:a16="http://schemas.microsoft.com/office/drawing/2014/main" id="{5C63ECFB-26D3-4532-BFCA-40C0CDBA554A}"/>
                </a:ext>
              </a:extLst>
            </p:cNvPr>
            <p:cNvSpPr>
              <a:spLocks noEditPoints="1"/>
            </p:cNvSpPr>
            <p:nvPr/>
          </p:nvSpPr>
          <p:spPr bwMode="auto">
            <a:xfrm>
              <a:off x="2211" y="780"/>
              <a:ext cx="285" cy="282"/>
            </a:xfrm>
            <a:custGeom>
              <a:avLst/>
              <a:gdLst>
                <a:gd name="T0" fmla="*/ 192 w 192"/>
                <a:gd name="T1" fmla="*/ 95 h 191"/>
                <a:gd name="T2" fmla="*/ 179 w 192"/>
                <a:gd name="T3" fmla="*/ 47 h 191"/>
                <a:gd name="T4" fmla="*/ 182 w 192"/>
                <a:gd name="T5" fmla="*/ 39 h 191"/>
                <a:gd name="T6" fmla="*/ 172 w 192"/>
                <a:gd name="T7" fmla="*/ 29 h 191"/>
                <a:gd name="T8" fmla="*/ 167 w 192"/>
                <a:gd name="T9" fmla="*/ 31 h 191"/>
                <a:gd name="T10" fmla="*/ 96 w 192"/>
                <a:gd name="T11" fmla="*/ 0 h 191"/>
                <a:gd name="T12" fmla="*/ 0 w 192"/>
                <a:gd name="T13" fmla="*/ 95 h 191"/>
                <a:gd name="T14" fmla="*/ 14 w 192"/>
                <a:gd name="T15" fmla="*/ 144 h 191"/>
                <a:gd name="T16" fmla="*/ 10 w 192"/>
                <a:gd name="T17" fmla="*/ 151 h 191"/>
                <a:gd name="T18" fmla="*/ 20 w 192"/>
                <a:gd name="T19" fmla="*/ 161 h 191"/>
                <a:gd name="T20" fmla="*/ 25 w 192"/>
                <a:gd name="T21" fmla="*/ 160 h 191"/>
                <a:gd name="T22" fmla="*/ 96 w 192"/>
                <a:gd name="T23" fmla="*/ 191 h 191"/>
                <a:gd name="T24" fmla="*/ 141 w 192"/>
                <a:gd name="T25" fmla="*/ 180 h 191"/>
                <a:gd name="T26" fmla="*/ 147 w 192"/>
                <a:gd name="T27" fmla="*/ 181 h 191"/>
                <a:gd name="T28" fmla="*/ 157 w 192"/>
                <a:gd name="T29" fmla="*/ 171 h 191"/>
                <a:gd name="T30" fmla="*/ 157 w 192"/>
                <a:gd name="T31" fmla="*/ 169 h 191"/>
                <a:gd name="T32" fmla="*/ 192 w 192"/>
                <a:gd name="T33" fmla="*/ 95 h 191"/>
                <a:gd name="T34" fmla="*/ 155 w 192"/>
                <a:gd name="T35" fmla="*/ 165 h 191"/>
                <a:gd name="T36" fmla="*/ 147 w 192"/>
                <a:gd name="T37" fmla="*/ 161 h 191"/>
                <a:gd name="T38" fmla="*/ 137 w 192"/>
                <a:gd name="T39" fmla="*/ 171 h 191"/>
                <a:gd name="T40" fmla="*/ 138 w 192"/>
                <a:gd name="T41" fmla="*/ 176 h 191"/>
                <a:gd name="T42" fmla="*/ 131 w 192"/>
                <a:gd name="T43" fmla="*/ 179 h 191"/>
                <a:gd name="T44" fmla="*/ 96 w 192"/>
                <a:gd name="T45" fmla="*/ 186 h 191"/>
                <a:gd name="T46" fmla="*/ 61 w 192"/>
                <a:gd name="T47" fmla="*/ 179 h 191"/>
                <a:gd name="T48" fmla="*/ 32 w 192"/>
                <a:gd name="T49" fmla="*/ 159 h 191"/>
                <a:gd name="T50" fmla="*/ 29 w 192"/>
                <a:gd name="T51" fmla="*/ 156 h 191"/>
                <a:gd name="T52" fmla="*/ 30 w 192"/>
                <a:gd name="T53" fmla="*/ 151 h 191"/>
                <a:gd name="T54" fmla="*/ 20 w 192"/>
                <a:gd name="T55" fmla="*/ 141 h 191"/>
                <a:gd name="T56" fmla="*/ 18 w 192"/>
                <a:gd name="T57" fmla="*/ 141 h 191"/>
                <a:gd name="T58" fmla="*/ 13 w 192"/>
                <a:gd name="T59" fmla="*/ 131 h 191"/>
                <a:gd name="T60" fmla="*/ 5 w 192"/>
                <a:gd name="T61" fmla="*/ 95 h 191"/>
                <a:gd name="T62" fmla="*/ 13 w 192"/>
                <a:gd name="T63" fmla="*/ 60 h 191"/>
                <a:gd name="T64" fmla="*/ 32 w 192"/>
                <a:gd name="T65" fmla="*/ 31 h 191"/>
                <a:gd name="T66" fmla="*/ 61 w 192"/>
                <a:gd name="T67" fmla="*/ 12 h 191"/>
                <a:gd name="T68" fmla="*/ 96 w 192"/>
                <a:gd name="T69" fmla="*/ 5 h 191"/>
                <a:gd name="T70" fmla="*/ 131 w 192"/>
                <a:gd name="T71" fmla="*/ 12 h 191"/>
                <a:gd name="T72" fmla="*/ 160 w 192"/>
                <a:gd name="T73" fmla="*/ 31 h 191"/>
                <a:gd name="T74" fmla="*/ 163 w 192"/>
                <a:gd name="T75" fmla="*/ 34 h 191"/>
                <a:gd name="T76" fmla="*/ 162 w 192"/>
                <a:gd name="T77" fmla="*/ 40 h 191"/>
                <a:gd name="T78" fmla="*/ 172 w 192"/>
                <a:gd name="T79" fmla="*/ 50 h 191"/>
                <a:gd name="T80" fmla="*/ 174 w 192"/>
                <a:gd name="T81" fmla="*/ 49 h 191"/>
                <a:gd name="T82" fmla="*/ 180 w 192"/>
                <a:gd name="T83" fmla="*/ 60 h 191"/>
                <a:gd name="T84" fmla="*/ 187 w 192"/>
                <a:gd name="T85" fmla="*/ 95 h 191"/>
                <a:gd name="T86" fmla="*/ 180 w 192"/>
                <a:gd name="T87" fmla="*/ 131 h 191"/>
                <a:gd name="T88" fmla="*/ 160 w 192"/>
                <a:gd name="T89" fmla="*/ 159 h 191"/>
                <a:gd name="T90" fmla="*/ 155 w 192"/>
                <a:gd name="T91"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91">
                  <a:moveTo>
                    <a:pt x="192" y="95"/>
                  </a:moveTo>
                  <a:cubicBezTo>
                    <a:pt x="192" y="78"/>
                    <a:pt x="187" y="61"/>
                    <a:pt x="179" y="47"/>
                  </a:cubicBezTo>
                  <a:cubicBezTo>
                    <a:pt x="181" y="45"/>
                    <a:pt x="182" y="42"/>
                    <a:pt x="182" y="39"/>
                  </a:cubicBezTo>
                  <a:cubicBezTo>
                    <a:pt x="182" y="34"/>
                    <a:pt x="177" y="29"/>
                    <a:pt x="172" y="29"/>
                  </a:cubicBezTo>
                  <a:cubicBezTo>
                    <a:pt x="170" y="29"/>
                    <a:pt x="168" y="30"/>
                    <a:pt x="167" y="31"/>
                  </a:cubicBezTo>
                  <a:cubicBezTo>
                    <a:pt x="149" y="12"/>
                    <a:pt x="124" y="0"/>
                    <a:pt x="96" y="0"/>
                  </a:cubicBezTo>
                  <a:cubicBezTo>
                    <a:pt x="43" y="0"/>
                    <a:pt x="0" y="42"/>
                    <a:pt x="0" y="95"/>
                  </a:cubicBezTo>
                  <a:cubicBezTo>
                    <a:pt x="0" y="113"/>
                    <a:pt x="5" y="129"/>
                    <a:pt x="14" y="144"/>
                  </a:cubicBezTo>
                  <a:cubicBezTo>
                    <a:pt x="11" y="145"/>
                    <a:pt x="10" y="148"/>
                    <a:pt x="10" y="151"/>
                  </a:cubicBezTo>
                  <a:cubicBezTo>
                    <a:pt x="10" y="157"/>
                    <a:pt x="15" y="161"/>
                    <a:pt x="20" y="161"/>
                  </a:cubicBezTo>
                  <a:cubicBezTo>
                    <a:pt x="22" y="161"/>
                    <a:pt x="24" y="161"/>
                    <a:pt x="25" y="160"/>
                  </a:cubicBezTo>
                  <a:cubicBezTo>
                    <a:pt x="43" y="179"/>
                    <a:pt x="68" y="191"/>
                    <a:pt x="96" y="191"/>
                  </a:cubicBezTo>
                  <a:cubicBezTo>
                    <a:pt x="112" y="191"/>
                    <a:pt x="128" y="187"/>
                    <a:pt x="141" y="180"/>
                  </a:cubicBezTo>
                  <a:cubicBezTo>
                    <a:pt x="143" y="181"/>
                    <a:pt x="145" y="181"/>
                    <a:pt x="147" y="181"/>
                  </a:cubicBezTo>
                  <a:cubicBezTo>
                    <a:pt x="153" y="181"/>
                    <a:pt x="157" y="177"/>
                    <a:pt x="157" y="171"/>
                  </a:cubicBezTo>
                  <a:cubicBezTo>
                    <a:pt x="157" y="171"/>
                    <a:pt x="157" y="170"/>
                    <a:pt x="157" y="169"/>
                  </a:cubicBezTo>
                  <a:cubicBezTo>
                    <a:pt x="178" y="152"/>
                    <a:pt x="192" y="125"/>
                    <a:pt x="192" y="95"/>
                  </a:cubicBezTo>
                  <a:close/>
                  <a:moveTo>
                    <a:pt x="155" y="165"/>
                  </a:moveTo>
                  <a:cubicBezTo>
                    <a:pt x="153" y="162"/>
                    <a:pt x="150" y="161"/>
                    <a:pt x="147" y="161"/>
                  </a:cubicBezTo>
                  <a:cubicBezTo>
                    <a:pt x="141" y="161"/>
                    <a:pt x="137" y="166"/>
                    <a:pt x="137" y="171"/>
                  </a:cubicBezTo>
                  <a:cubicBezTo>
                    <a:pt x="137" y="173"/>
                    <a:pt x="137" y="174"/>
                    <a:pt x="138" y="176"/>
                  </a:cubicBezTo>
                  <a:cubicBezTo>
                    <a:pt x="136" y="177"/>
                    <a:pt x="134" y="178"/>
                    <a:pt x="131" y="179"/>
                  </a:cubicBezTo>
                  <a:cubicBezTo>
                    <a:pt x="120" y="183"/>
                    <a:pt x="108" y="186"/>
                    <a:pt x="96" y="186"/>
                  </a:cubicBezTo>
                  <a:cubicBezTo>
                    <a:pt x="84" y="186"/>
                    <a:pt x="72" y="183"/>
                    <a:pt x="61" y="179"/>
                  </a:cubicBezTo>
                  <a:cubicBezTo>
                    <a:pt x="50" y="174"/>
                    <a:pt x="40" y="168"/>
                    <a:pt x="32" y="159"/>
                  </a:cubicBezTo>
                  <a:cubicBezTo>
                    <a:pt x="31" y="158"/>
                    <a:pt x="30" y="157"/>
                    <a:pt x="29" y="156"/>
                  </a:cubicBezTo>
                  <a:cubicBezTo>
                    <a:pt x="30" y="155"/>
                    <a:pt x="30" y="153"/>
                    <a:pt x="30" y="151"/>
                  </a:cubicBezTo>
                  <a:cubicBezTo>
                    <a:pt x="30" y="145"/>
                    <a:pt x="26" y="141"/>
                    <a:pt x="20" y="141"/>
                  </a:cubicBezTo>
                  <a:cubicBezTo>
                    <a:pt x="20" y="141"/>
                    <a:pt x="19" y="141"/>
                    <a:pt x="18" y="141"/>
                  </a:cubicBezTo>
                  <a:cubicBezTo>
                    <a:pt x="16" y="138"/>
                    <a:pt x="14" y="134"/>
                    <a:pt x="13" y="131"/>
                  </a:cubicBezTo>
                  <a:cubicBezTo>
                    <a:pt x="8" y="119"/>
                    <a:pt x="5" y="108"/>
                    <a:pt x="5" y="95"/>
                  </a:cubicBezTo>
                  <a:cubicBezTo>
                    <a:pt x="5" y="83"/>
                    <a:pt x="8" y="71"/>
                    <a:pt x="13" y="60"/>
                  </a:cubicBezTo>
                  <a:cubicBezTo>
                    <a:pt x="17" y="49"/>
                    <a:pt x="24" y="40"/>
                    <a:pt x="32" y="31"/>
                  </a:cubicBezTo>
                  <a:cubicBezTo>
                    <a:pt x="40" y="23"/>
                    <a:pt x="50" y="16"/>
                    <a:pt x="61" y="12"/>
                  </a:cubicBezTo>
                  <a:cubicBezTo>
                    <a:pt x="72" y="7"/>
                    <a:pt x="84" y="5"/>
                    <a:pt x="96" y="5"/>
                  </a:cubicBezTo>
                  <a:cubicBezTo>
                    <a:pt x="108" y="5"/>
                    <a:pt x="120" y="7"/>
                    <a:pt x="131" y="12"/>
                  </a:cubicBezTo>
                  <a:cubicBezTo>
                    <a:pt x="142" y="16"/>
                    <a:pt x="152" y="23"/>
                    <a:pt x="160" y="31"/>
                  </a:cubicBezTo>
                  <a:cubicBezTo>
                    <a:pt x="161" y="32"/>
                    <a:pt x="162" y="33"/>
                    <a:pt x="163" y="34"/>
                  </a:cubicBezTo>
                  <a:cubicBezTo>
                    <a:pt x="162" y="36"/>
                    <a:pt x="162" y="38"/>
                    <a:pt x="162" y="40"/>
                  </a:cubicBezTo>
                  <a:cubicBezTo>
                    <a:pt x="162" y="45"/>
                    <a:pt x="166" y="50"/>
                    <a:pt x="172" y="50"/>
                  </a:cubicBezTo>
                  <a:cubicBezTo>
                    <a:pt x="173" y="50"/>
                    <a:pt x="173" y="49"/>
                    <a:pt x="174" y="49"/>
                  </a:cubicBezTo>
                  <a:cubicBezTo>
                    <a:pt x="176" y="53"/>
                    <a:pt x="178" y="56"/>
                    <a:pt x="180" y="60"/>
                  </a:cubicBezTo>
                  <a:cubicBezTo>
                    <a:pt x="184" y="71"/>
                    <a:pt x="187" y="83"/>
                    <a:pt x="187" y="95"/>
                  </a:cubicBezTo>
                  <a:cubicBezTo>
                    <a:pt x="187" y="108"/>
                    <a:pt x="184" y="119"/>
                    <a:pt x="180" y="131"/>
                  </a:cubicBezTo>
                  <a:cubicBezTo>
                    <a:pt x="175" y="141"/>
                    <a:pt x="169" y="151"/>
                    <a:pt x="160" y="159"/>
                  </a:cubicBezTo>
                  <a:cubicBezTo>
                    <a:pt x="158" y="161"/>
                    <a:pt x="156" y="163"/>
                    <a:pt x="155" y="1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20" name="Freeform 25">
              <a:extLst>
                <a:ext uri="{FF2B5EF4-FFF2-40B4-BE49-F238E27FC236}">
                  <a16:creationId xmlns:a16="http://schemas.microsoft.com/office/drawing/2014/main" id="{279933F9-AE39-4CDB-8C30-B330ECB0334E}"/>
                </a:ext>
              </a:extLst>
            </p:cNvPr>
            <p:cNvSpPr>
              <a:spLocks noEditPoints="1"/>
            </p:cNvSpPr>
            <p:nvPr/>
          </p:nvSpPr>
          <p:spPr bwMode="auto">
            <a:xfrm>
              <a:off x="2272" y="849"/>
              <a:ext cx="153" cy="142"/>
            </a:xfrm>
            <a:custGeom>
              <a:avLst/>
              <a:gdLst>
                <a:gd name="T0" fmla="*/ 98 w 103"/>
                <a:gd name="T1" fmla="*/ 70 h 96"/>
                <a:gd name="T2" fmla="*/ 103 w 103"/>
                <a:gd name="T3" fmla="*/ 48 h 96"/>
                <a:gd name="T4" fmla="*/ 55 w 103"/>
                <a:gd name="T5" fmla="*/ 0 h 96"/>
                <a:gd name="T6" fmla="*/ 8 w 103"/>
                <a:gd name="T7" fmla="*/ 38 h 96"/>
                <a:gd name="T8" fmla="*/ 0 w 103"/>
                <a:gd name="T9" fmla="*/ 48 h 96"/>
                <a:gd name="T10" fmla="*/ 8 w 103"/>
                <a:gd name="T11" fmla="*/ 58 h 96"/>
                <a:gd name="T12" fmla="*/ 55 w 103"/>
                <a:gd name="T13" fmla="*/ 96 h 96"/>
                <a:gd name="T14" fmla="*/ 85 w 103"/>
                <a:gd name="T15" fmla="*/ 86 h 96"/>
                <a:gd name="T16" fmla="*/ 91 w 103"/>
                <a:gd name="T17" fmla="*/ 88 h 96"/>
                <a:gd name="T18" fmla="*/ 101 w 103"/>
                <a:gd name="T19" fmla="*/ 77 h 96"/>
                <a:gd name="T20" fmla="*/ 98 w 103"/>
                <a:gd name="T21" fmla="*/ 70 h 96"/>
                <a:gd name="T22" fmla="*/ 25 w 103"/>
                <a:gd name="T23" fmla="*/ 79 h 96"/>
                <a:gd name="T24" fmla="*/ 13 w 103"/>
                <a:gd name="T25" fmla="*/ 58 h 96"/>
                <a:gd name="T26" fmla="*/ 20 w 103"/>
                <a:gd name="T27" fmla="*/ 48 h 96"/>
                <a:gd name="T28" fmla="*/ 13 w 103"/>
                <a:gd name="T29" fmla="*/ 39 h 96"/>
                <a:gd name="T30" fmla="*/ 25 w 103"/>
                <a:gd name="T31" fmla="*/ 18 h 96"/>
                <a:gd name="T32" fmla="*/ 55 w 103"/>
                <a:gd name="T33" fmla="*/ 6 h 96"/>
                <a:gd name="T34" fmla="*/ 85 w 103"/>
                <a:gd name="T35" fmla="*/ 18 h 96"/>
                <a:gd name="T36" fmla="*/ 98 w 103"/>
                <a:gd name="T37" fmla="*/ 48 h 96"/>
                <a:gd name="T38" fmla="*/ 93 w 103"/>
                <a:gd name="T39" fmla="*/ 68 h 96"/>
                <a:gd name="T40" fmla="*/ 90 w 103"/>
                <a:gd name="T41" fmla="*/ 67 h 96"/>
                <a:gd name="T42" fmla="*/ 80 w 103"/>
                <a:gd name="T43" fmla="*/ 77 h 96"/>
                <a:gd name="T44" fmla="*/ 81 w 103"/>
                <a:gd name="T45" fmla="*/ 82 h 96"/>
                <a:gd name="T46" fmla="*/ 55 w 103"/>
                <a:gd name="T47" fmla="*/ 91 h 96"/>
                <a:gd name="T48" fmla="*/ 25 w 103"/>
                <a:gd name="T49"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96">
                  <a:moveTo>
                    <a:pt x="98" y="70"/>
                  </a:moveTo>
                  <a:cubicBezTo>
                    <a:pt x="101" y="64"/>
                    <a:pt x="103" y="56"/>
                    <a:pt x="103" y="48"/>
                  </a:cubicBezTo>
                  <a:cubicBezTo>
                    <a:pt x="103" y="22"/>
                    <a:pt x="81" y="0"/>
                    <a:pt x="55" y="0"/>
                  </a:cubicBezTo>
                  <a:cubicBezTo>
                    <a:pt x="32" y="0"/>
                    <a:pt x="13" y="17"/>
                    <a:pt x="8" y="38"/>
                  </a:cubicBezTo>
                  <a:cubicBezTo>
                    <a:pt x="4" y="39"/>
                    <a:pt x="0" y="43"/>
                    <a:pt x="0" y="48"/>
                  </a:cubicBezTo>
                  <a:cubicBezTo>
                    <a:pt x="0" y="53"/>
                    <a:pt x="4" y="58"/>
                    <a:pt x="8" y="58"/>
                  </a:cubicBezTo>
                  <a:cubicBezTo>
                    <a:pt x="13" y="80"/>
                    <a:pt x="32" y="96"/>
                    <a:pt x="55" y="96"/>
                  </a:cubicBezTo>
                  <a:cubicBezTo>
                    <a:pt x="66" y="96"/>
                    <a:pt x="77" y="92"/>
                    <a:pt x="85" y="86"/>
                  </a:cubicBezTo>
                  <a:cubicBezTo>
                    <a:pt x="86" y="87"/>
                    <a:pt x="88" y="88"/>
                    <a:pt x="91" y="88"/>
                  </a:cubicBezTo>
                  <a:cubicBezTo>
                    <a:pt x="96" y="88"/>
                    <a:pt x="101" y="83"/>
                    <a:pt x="101" y="77"/>
                  </a:cubicBezTo>
                  <a:cubicBezTo>
                    <a:pt x="101" y="75"/>
                    <a:pt x="99" y="72"/>
                    <a:pt x="98" y="70"/>
                  </a:cubicBezTo>
                  <a:close/>
                  <a:moveTo>
                    <a:pt x="25" y="79"/>
                  </a:moveTo>
                  <a:cubicBezTo>
                    <a:pt x="19" y="73"/>
                    <a:pt x="15" y="66"/>
                    <a:pt x="13" y="58"/>
                  </a:cubicBezTo>
                  <a:cubicBezTo>
                    <a:pt x="17" y="56"/>
                    <a:pt x="20" y="53"/>
                    <a:pt x="20" y="48"/>
                  </a:cubicBezTo>
                  <a:cubicBezTo>
                    <a:pt x="20" y="44"/>
                    <a:pt x="17" y="40"/>
                    <a:pt x="13" y="39"/>
                  </a:cubicBezTo>
                  <a:cubicBezTo>
                    <a:pt x="15" y="31"/>
                    <a:pt x="19" y="24"/>
                    <a:pt x="25" y="18"/>
                  </a:cubicBezTo>
                  <a:cubicBezTo>
                    <a:pt x="33" y="10"/>
                    <a:pt x="44" y="6"/>
                    <a:pt x="55" y="6"/>
                  </a:cubicBezTo>
                  <a:cubicBezTo>
                    <a:pt x="67" y="6"/>
                    <a:pt x="77" y="10"/>
                    <a:pt x="85" y="18"/>
                  </a:cubicBezTo>
                  <a:cubicBezTo>
                    <a:pt x="93" y="26"/>
                    <a:pt x="98" y="37"/>
                    <a:pt x="98" y="48"/>
                  </a:cubicBezTo>
                  <a:cubicBezTo>
                    <a:pt x="98" y="55"/>
                    <a:pt x="96" y="62"/>
                    <a:pt x="93" y="68"/>
                  </a:cubicBezTo>
                  <a:cubicBezTo>
                    <a:pt x="92" y="67"/>
                    <a:pt x="91" y="67"/>
                    <a:pt x="90" y="67"/>
                  </a:cubicBezTo>
                  <a:cubicBezTo>
                    <a:pt x="85" y="67"/>
                    <a:pt x="80" y="72"/>
                    <a:pt x="80" y="77"/>
                  </a:cubicBezTo>
                  <a:cubicBezTo>
                    <a:pt x="80" y="79"/>
                    <a:pt x="81" y="81"/>
                    <a:pt x="81" y="82"/>
                  </a:cubicBezTo>
                  <a:cubicBezTo>
                    <a:pt x="74" y="88"/>
                    <a:pt x="65" y="91"/>
                    <a:pt x="55" y="91"/>
                  </a:cubicBezTo>
                  <a:cubicBezTo>
                    <a:pt x="44" y="91"/>
                    <a:pt x="33" y="87"/>
                    <a:pt x="25"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grpSp>
        <p:nvGrpSpPr>
          <p:cNvPr id="21" name="Group 20">
            <a:extLst>
              <a:ext uri="{FF2B5EF4-FFF2-40B4-BE49-F238E27FC236}">
                <a16:creationId xmlns:a16="http://schemas.microsoft.com/office/drawing/2014/main" id="{5071E6B1-0F7E-4BD3-A2EE-F40C4335263F}"/>
              </a:ext>
            </a:extLst>
          </p:cNvPr>
          <p:cNvGrpSpPr/>
          <p:nvPr/>
        </p:nvGrpSpPr>
        <p:grpSpPr>
          <a:xfrm>
            <a:off x="6110421" y="1589390"/>
            <a:ext cx="680979" cy="656835"/>
            <a:chOff x="5592823" y="1161775"/>
            <a:chExt cx="806341" cy="777753"/>
          </a:xfrm>
        </p:grpSpPr>
        <p:pic>
          <p:nvPicPr>
            <p:cNvPr id="22" name="Graphic 21" descr="SQL Database R">
              <a:extLst>
                <a:ext uri="{FF2B5EF4-FFF2-40B4-BE49-F238E27FC236}">
                  <a16:creationId xmlns:a16="http://schemas.microsoft.com/office/drawing/2014/main" id="{E68A4B41-398C-41E5-A44A-5B945CE0A5E3}"/>
                </a:ext>
              </a:extLst>
            </p:cNvPr>
            <p:cNvPicPr>
              <a:picLocks noChangeAspect="1"/>
            </p:cNvPicPr>
            <p:nvPr/>
          </p:nvPicPr>
          <p:blipFill>
            <a:blip r:embed="rId3">
              <a:lum bright="1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23" name="Freeform: Shape 22">
              <a:extLst>
                <a:ext uri="{FF2B5EF4-FFF2-40B4-BE49-F238E27FC236}">
                  <a16:creationId xmlns:a16="http://schemas.microsoft.com/office/drawing/2014/main" id="{A1597B2D-4E6E-4565-8203-72BC92117838}"/>
                </a:ext>
              </a:extLst>
            </p:cNvPr>
            <p:cNvSpPr/>
            <p:nvPr/>
          </p:nvSpPr>
          <p:spPr bwMode="auto">
            <a:xfrm>
              <a:off x="5937201" y="1165650"/>
              <a:ext cx="461963" cy="333565"/>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294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31847" y="151402"/>
                  </a:lnTo>
                  <a:cubicBezTo>
                    <a:pt x="76674" y="170404"/>
                    <a:pt x="80337" y="170405"/>
                    <a:pt x="95074" y="186730"/>
                  </a:cubicBezTo>
                  <a:cubicBezTo>
                    <a:pt x="109811" y="203055"/>
                    <a:pt x="81360" y="289719"/>
                    <a:pt x="140494" y="304800"/>
                  </a:cubicBezTo>
                  <a:close/>
                </a:path>
              </a:pathLst>
            </a:cu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24" name="Graphic 23" descr=" SQL Server">
            <a:extLst>
              <a:ext uri="{FF2B5EF4-FFF2-40B4-BE49-F238E27FC236}">
                <a16:creationId xmlns:a16="http://schemas.microsoft.com/office/drawing/2014/main" id="{C68ECC30-66AF-4F52-9FC0-5A168BA6FE00}"/>
              </a:ext>
            </a:extLst>
          </p:cNvPr>
          <p:cNvPicPr>
            <a:picLocks noChangeAspect="1"/>
          </p:cNvPicPr>
          <p:nvPr/>
        </p:nvPicPr>
        <p:blipFill>
          <a:blip r:embed="rId5">
            <a:lum bright="8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37066" y="3983217"/>
            <a:ext cx="573646" cy="573646"/>
          </a:xfrm>
          <a:prstGeom prst="rect">
            <a:avLst/>
          </a:prstGeom>
        </p:spPr>
      </p:pic>
      <p:pic>
        <p:nvPicPr>
          <p:cNvPr id="25" name="Graphic 24" descr="Virtual Machines">
            <a:extLst>
              <a:ext uri="{FF2B5EF4-FFF2-40B4-BE49-F238E27FC236}">
                <a16:creationId xmlns:a16="http://schemas.microsoft.com/office/drawing/2014/main" id="{79EAC907-6549-420E-BDB4-F5B93052D217}"/>
              </a:ext>
            </a:extLst>
          </p:cNvPr>
          <p:cNvPicPr>
            <a:picLocks noChangeAspect="1"/>
          </p:cNvPicPr>
          <p:nvPr/>
        </p:nvPicPr>
        <p:blipFill>
          <a:blip r:embed="rId7">
            <a:lum bright="8000"/>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98154" y="5163695"/>
            <a:ext cx="466659" cy="466659"/>
          </a:xfrm>
          <a:prstGeom prst="rect">
            <a:avLst/>
          </a:prstGeom>
        </p:spPr>
      </p:pic>
      <p:pic>
        <p:nvPicPr>
          <p:cNvPr id="26" name="Graphic 25" descr="SQL Database">
            <a:extLst>
              <a:ext uri="{FF2B5EF4-FFF2-40B4-BE49-F238E27FC236}">
                <a16:creationId xmlns:a16="http://schemas.microsoft.com/office/drawing/2014/main" id="{308FD28A-10C7-40EC-BA04-41DEC509ECB3}"/>
              </a:ext>
            </a:extLst>
          </p:cNvPr>
          <p:cNvPicPr>
            <a:picLocks noChangeAspect="1"/>
          </p:cNvPicPr>
          <p:nvPr/>
        </p:nvPicPr>
        <p:blipFill>
          <a:blip r:embed="rId9">
            <a:lum bright="8000"/>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582358" y="5366163"/>
            <a:ext cx="308330" cy="308330"/>
          </a:xfrm>
          <a:prstGeom prst="rect">
            <a:avLst/>
          </a:prstGeom>
        </p:spPr>
      </p:pic>
    </p:spTree>
    <p:extLst>
      <p:ext uri="{BB962C8B-B14F-4D97-AF65-F5344CB8AC3E}">
        <p14:creationId xmlns:p14="http://schemas.microsoft.com/office/powerpoint/2010/main" val="4100642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DE79-E4B2-0D42-8CA8-BDF4575636FE}"/>
              </a:ext>
            </a:extLst>
          </p:cNvPr>
          <p:cNvSpPr>
            <a:spLocks noGrp="1"/>
          </p:cNvSpPr>
          <p:nvPr>
            <p:ph type="title"/>
          </p:nvPr>
        </p:nvSpPr>
        <p:spPr>
          <a:xfrm>
            <a:off x="578836" y="476054"/>
            <a:ext cx="11018520" cy="553998"/>
          </a:xfrm>
        </p:spPr>
        <p:txBody>
          <a:bodyPr/>
          <a:lstStyle/>
          <a:p>
            <a:r>
              <a:rPr lang="en-US">
                <a:gradFill>
                  <a:gsLst>
                    <a:gs pos="1250">
                      <a:sysClr val="windowText" lastClr="000000"/>
                    </a:gs>
                    <a:gs pos="100000">
                      <a:sysClr val="windowText" lastClr="000000"/>
                    </a:gs>
                  </a:gsLst>
                  <a:lin ang="5400000" scaled="0"/>
                </a:gradFill>
              </a:rPr>
              <a:t>Azure SQL has come a long way</a:t>
            </a:r>
            <a:endParaRPr lang="en-US"/>
          </a:p>
        </p:txBody>
      </p:sp>
      <p:grpSp>
        <p:nvGrpSpPr>
          <p:cNvPr id="4" name="Group 3">
            <a:extLst>
              <a:ext uri="{FF2B5EF4-FFF2-40B4-BE49-F238E27FC236}">
                <a16:creationId xmlns:a16="http://schemas.microsoft.com/office/drawing/2014/main" id="{5BDA9A88-9AB9-4626-8BAA-7F9DD5757D97}"/>
              </a:ext>
            </a:extLst>
          </p:cNvPr>
          <p:cNvGrpSpPr/>
          <p:nvPr/>
        </p:nvGrpSpPr>
        <p:grpSpPr>
          <a:xfrm>
            <a:off x="223101" y="1975631"/>
            <a:ext cx="11745798" cy="3301125"/>
            <a:chOff x="1" y="1703256"/>
            <a:chExt cx="11745798" cy="3301125"/>
          </a:xfrm>
        </p:grpSpPr>
        <p:sp>
          <p:nvSpPr>
            <p:cNvPr id="5" name="Straight Connector 4">
              <a:extLst>
                <a:ext uri="{FF2B5EF4-FFF2-40B4-BE49-F238E27FC236}">
                  <a16:creationId xmlns:a16="http://schemas.microsoft.com/office/drawing/2014/main" id="{0956397A-B23B-49D2-9FB8-EC612DD05CB8}"/>
                </a:ext>
              </a:extLst>
            </p:cNvPr>
            <p:cNvSpPr/>
            <p:nvPr/>
          </p:nvSpPr>
          <p:spPr>
            <a:xfrm>
              <a:off x="1" y="3353819"/>
              <a:ext cx="11745798" cy="0"/>
            </a:xfrm>
            <a:prstGeom prst="line">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tailEnd type="triangle" w="lg" len="lg"/>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6" name="Teardrop 5">
              <a:extLst>
                <a:ext uri="{FF2B5EF4-FFF2-40B4-BE49-F238E27FC236}">
                  <a16:creationId xmlns:a16="http://schemas.microsoft.com/office/drawing/2014/main" id="{F8F0DA9C-8E36-46CF-B1E5-DF153FB24852}"/>
                </a:ext>
              </a:extLst>
            </p:cNvPr>
            <p:cNvSpPr/>
            <p:nvPr/>
          </p:nvSpPr>
          <p:spPr>
            <a:xfrm rot="8100000">
              <a:off x="525298" y="1770588"/>
              <a:ext cx="294482" cy="29448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Oval 6">
              <a:extLst>
                <a:ext uri="{FF2B5EF4-FFF2-40B4-BE49-F238E27FC236}">
                  <a16:creationId xmlns:a16="http://schemas.microsoft.com/office/drawing/2014/main" id="{AC4AB486-B7B7-476C-BBEB-135B71D4D2E3}"/>
                </a:ext>
              </a:extLst>
            </p:cNvPr>
            <p:cNvSpPr/>
            <p:nvPr/>
          </p:nvSpPr>
          <p:spPr>
            <a:xfrm>
              <a:off x="558012" y="1803302"/>
              <a:ext cx="229053" cy="229053"/>
            </a:xfrm>
            <a:prstGeom prst="ellipse">
              <a:avLst/>
            </a:prstGeom>
            <a:solidFill>
              <a:schemeClr val="accent1">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8" name="Freeform: Shape 7">
              <a:extLst>
                <a:ext uri="{FF2B5EF4-FFF2-40B4-BE49-F238E27FC236}">
                  <a16:creationId xmlns:a16="http://schemas.microsoft.com/office/drawing/2014/main" id="{419DA14D-FF0A-4399-B789-A4F5615E4F77}"/>
                </a:ext>
              </a:extLst>
            </p:cNvPr>
            <p:cNvSpPr/>
            <p:nvPr/>
          </p:nvSpPr>
          <p:spPr>
            <a:xfrm>
              <a:off x="896386" y="2132402"/>
              <a:ext cx="1724351" cy="1221416"/>
            </a:xfrm>
            <a:custGeom>
              <a:avLst/>
              <a:gdLst>
                <a:gd name="connsiteX0" fmla="*/ 0 w 1724351"/>
                <a:gd name="connsiteY0" fmla="*/ 0 h 1221416"/>
                <a:gd name="connsiteX1" fmla="*/ 1724351 w 1724351"/>
                <a:gd name="connsiteY1" fmla="*/ 0 h 1221416"/>
                <a:gd name="connsiteX2" fmla="*/ 1724351 w 1724351"/>
                <a:gd name="connsiteY2" fmla="*/ 1221416 h 1221416"/>
                <a:gd name="connsiteX3" fmla="*/ 0 w 1724351"/>
                <a:gd name="connsiteY3" fmla="*/ 1221416 h 1221416"/>
                <a:gd name="connsiteX4" fmla="*/ 0 w 1724351"/>
                <a:gd name="connsiteY4" fmla="*/ 0 h 1221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1221416">
                  <a:moveTo>
                    <a:pt x="0" y="0"/>
                  </a:moveTo>
                  <a:lnTo>
                    <a:pt x="1724351" y="0"/>
                  </a:lnTo>
                  <a:lnTo>
                    <a:pt x="1724351" y="1221416"/>
                  </a:lnTo>
                  <a:lnTo>
                    <a:pt x="0" y="12214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76200" rIns="76200" bIns="114300" numCol="1" spcCol="1270" anchor="t" anchorCtr="0">
              <a:noAutofit/>
            </a:bodyPr>
            <a:lstStyle/>
            <a:p>
              <a:pPr marL="0" lvl="0" indent="0" algn="l" defTabSz="533400">
                <a:lnSpc>
                  <a:spcPct val="90000"/>
                </a:lnSpc>
                <a:spcBef>
                  <a:spcPct val="0"/>
                </a:spcBef>
                <a:spcAft>
                  <a:spcPct val="35000"/>
                </a:spcAft>
                <a:buNone/>
              </a:pPr>
              <a:r>
                <a:rPr lang="en-US" sz="1200" kern="1200" err="1"/>
                <a:t>CloudDB</a:t>
              </a:r>
              <a:endParaRPr lang="en-US" sz="1200" kern="1200"/>
            </a:p>
            <a:p>
              <a:pPr marL="0" lvl="0" indent="0" algn="l" defTabSz="533400">
                <a:lnSpc>
                  <a:spcPct val="90000"/>
                </a:lnSpc>
                <a:spcBef>
                  <a:spcPct val="0"/>
                </a:spcBef>
                <a:spcAft>
                  <a:spcPct val="35000"/>
                </a:spcAft>
                <a:buNone/>
              </a:pPr>
              <a:r>
                <a:rPr lang="en-US" sz="1200" kern="1200" err="1"/>
                <a:t>RedDog</a:t>
              </a:r>
              <a:endParaRPr lang="en-US" sz="1200" kern="1200"/>
            </a:p>
          </p:txBody>
        </p:sp>
        <p:sp>
          <p:nvSpPr>
            <p:cNvPr id="9" name="Freeform: Shape 8">
              <a:extLst>
                <a:ext uri="{FF2B5EF4-FFF2-40B4-BE49-F238E27FC236}">
                  <a16:creationId xmlns:a16="http://schemas.microsoft.com/office/drawing/2014/main" id="{1EC42183-962B-44B3-B121-E2F8B397C88F}"/>
                </a:ext>
              </a:extLst>
            </p:cNvPr>
            <p:cNvSpPr/>
            <p:nvPr/>
          </p:nvSpPr>
          <p:spPr>
            <a:xfrm>
              <a:off x="896386" y="1703256"/>
              <a:ext cx="1724351" cy="429146"/>
            </a:xfrm>
            <a:custGeom>
              <a:avLst/>
              <a:gdLst>
                <a:gd name="connsiteX0" fmla="*/ 0 w 1724351"/>
                <a:gd name="connsiteY0" fmla="*/ 0 h 429146"/>
                <a:gd name="connsiteX1" fmla="*/ 1724351 w 1724351"/>
                <a:gd name="connsiteY1" fmla="*/ 0 h 429146"/>
                <a:gd name="connsiteX2" fmla="*/ 1724351 w 1724351"/>
                <a:gd name="connsiteY2" fmla="*/ 429146 h 429146"/>
                <a:gd name="connsiteX3" fmla="*/ 0 w 1724351"/>
                <a:gd name="connsiteY3" fmla="*/ 429146 h 429146"/>
                <a:gd name="connsiteX4" fmla="*/ 0 w 1724351"/>
                <a:gd name="connsiteY4" fmla="*/ 0 h 429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429146">
                  <a:moveTo>
                    <a:pt x="0" y="0"/>
                  </a:moveTo>
                  <a:lnTo>
                    <a:pt x="1724351" y="0"/>
                  </a:lnTo>
                  <a:lnTo>
                    <a:pt x="1724351" y="429146"/>
                  </a:lnTo>
                  <a:lnTo>
                    <a:pt x="0" y="4291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01600" bIns="0" numCol="1" spcCol="1270" anchor="ctr" anchorCtr="0">
              <a:noAutofit/>
            </a:bodyPr>
            <a:lstStyle/>
            <a:p>
              <a:pPr marL="0" lvl="0" indent="0" algn="l" defTabSz="711200">
                <a:lnSpc>
                  <a:spcPct val="90000"/>
                </a:lnSpc>
                <a:spcBef>
                  <a:spcPct val="0"/>
                </a:spcBef>
                <a:spcAft>
                  <a:spcPct val="35000"/>
                </a:spcAft>
                <a:buNone/>
                <a:defRPr b="1"/>
              </a:pPr>
              <a:r>
                <a:rPr lang="en-US" sz="1600" b="1" kern="1200">
                  <a:solidFill>
                    <a:srgbClr val="0078D4"/>
                  </a:solidFill>
                  <a:latin typeface="Segoe UI"/>
                  <a:ea typeface="+mn-ea"/>
                  <a:cs typeface="+mn-cs"/>
                </a:rPr>
                <a:t>2006</a:t>
              </a:r>
            </a:p>
          </p:txBody>
        </p:sp>
        <p:sp>
          <p:nvSpPr>
            <p:cNvPr id="10" name="Straight Connector 9">
              <a:extLst>
                <a:ext uri="{FF2B5EF4-FFF2-40B4-BE49-F238E27FC236}">
                  <a16:creationId xmlns:a16="http://schemas.microsoft.com/office/drawing/2014/main" id="{262B261B-67EC-4C6A-8974-B5C0955A3D3E}"/>
                </a:ext>
              </a:extLst>
            </p:cNvPr>
            <p:cNvSpPr/>
            <p:nvPr/>
          </p:nvSpPr>
          <p:spPr>
            <a:xfrm>
              <a:off x="672491" y="2132402"/>
              <a:ext cx="0" cy="1221416"/>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11" name="Oval 10">
              <a:extLst>
                <a:ext uri="{FF2B5EF4-FFF2-40B4-BE49-F238E27FC236}">
                  <a16:creationId xmlns:a16="http://schemas.microsoft.com/office/drawing/2014/main" id="{801FEB36-389B-4D82-BCC4-9C26CAD269B2}"/>
                </a:ext>
              </a:extLst>
            </p:cNvPr>
            <p:cNvSpPr/>
            <p:nvPr/>
          </p:nvSpPr>
          <p:spPr>
            <a:xfrm>
              <a:off x="641353" y="3315195"/>
              <a:ext cx="74962" cy="77246"/>
            </a:xfrm>
            <a:prstGeom prst="ellipse">
              <a:avLst/>
            </a:prstGeom>
            <a:solidFill>
              <a:schemeClr val="accent1">
                <a:hueOff val="0"/>
                <a:satOff val="0"/>
                <a:lumOff val="0"/>
                <a:alphaOff val="0"/>
              </a:schemeClr>
            </a:solidFill>
            <a:ln w="6350" cap="flat" cmpd="sng" algn="ctr">
              <a:noFill/>
              <a:prstDash val="solid"/>
            </a:ln>
            <a:effectLst/>
          </p:spPr>
          <p:style>
            <a:lnRef idx="2">
              <a:scrgbClr r="0" g="0" b="0"/>
            </a:lnRef>
            <a:fillRef idx="1">
              <a:scrgbClr r="0" g="0" b="0"/>
            </a:fillRef>
            <a:effectRef idx="0">
              <a:scrgbClr r="0" g="0" b="0"/>
            </a:effectRef>
            <a:fontRef idx="minor">
              <a:schemeClr val="lt1"/>
            </a:fontRef>
          </p:style>
        </p:sp>
        <p:sp>
          <p:nvSpPr>
            <p:cNvPr id="12" name="Teardrop 11">
              <a:extLst>
                <a:ext uri="{FF2B5EF4-FFF2-40B4-BE49-F238E27FC236}">
                  <a16:creationId xmlns:a16="http://schemas.microsoft.com/office/drawing/2014/main" id="{3BBFFC71-657B-445B-B95C-D58568EC5ECA}"/>
                </a:ext>
              </a:extLst>
            </p:cNvPr>
            <p:cNvSpPr/>
            <p:nvPr/>
          </p:nvSpPr>
          <p:spPr>
            <a:xfrm rot="18900000">
              <a:off x="1129379" y="4642567"/>
              <a:ext cx="294482" cy="29448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Oval 13">
              <a:extLst>
                <a:ext uri="{FF2B5EF4-FFF2-40B4-BE49-F238E27FC236}">
                  <a16:creationId xmlns:a16="http://schemas.microsoft.com/office/drawing/2014/main" id="{96A95E70-2F7F-4D85-807A-9E7A4574DC5A}"/>
                </a:ext>
              </a:extLst>
            </p:cNvPr>
            <p:cNvSpPr/>
            <p:nvPr/>
          </p:nvSpPr>
          <p:spPr>
            <a:xfrm>
              <a:off x="1162094" y="4675281"/>
              <a:ext cx="229053" cy="229053"/>
            </a:xfrm>
            <a:prstGeom prst="ellipse">
              <a:avLst/>
            </a:prstGeom>
            <a:solidFill>
              <a:schemeClr val="accent1">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5" name="Freeform: Shape 14">
              <a:extLst>
                <a:ext uri="{FF2B5EF4-FFF2-40B4-BE49-F238E27FC236}">
                  <a16:creationId xmlns:a16="http://schemas.microsoft.com/office/drawing/2014/main" id="{0313BFC4-5960-4884-B309-3AF4EF81B793}"/>
                </a:ext>
              </a:extLst>
            </p:cNvPr>
            <p:cNvSpPr/>
            <p:nvPr/>
          </p:nvSpPr>
          <p:spPr>
            <a:xfrm>
              <a:off x="1484851" y="3353819"/>
              <a:ext cx="1724351" cy="1221416"/>
            </a:xfrm>
            <a:custGeom>
              <a:avLst/>
              <a:gdLst>
                <a:gd name="connsiteX0" fmla="*/ 0 w 1724351"/>
                <a:gd name="connsiteY0" fmla="*/ 0 h 1221416"/>
                <a:gd name="connsiteX1" fmla="*/ 1724351 w 1724351"/>
                <a:gd name="connsiteY1" fmla="*/ 0 h 1221416"/>
                <a:gd name="connsiteX2" fmla="*/ 1724351 w 1724351"/>
                <a:gd name="connsiteY2" fmla="*/ 1221416 h 1221416"/>
                <a:gd name="connsiteX3" fmla="*/ 0 w 1724351"/>
                <a:gd name="connsiteY3" fmla="*/ 1221416 h 1221416"/>
                <a:gd name="connsiteX4" fmla="*/ 0 w 1724351"/>
                <a:gd name="connsiteY4" fmla="*/ 0 h 1221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1221416">
                  <a:moveTo>
                    <a:pt x="0" y="0"/>
                  </a:moveTo>
                  <a:lnTo>
                    <a:pt x="1724351" y="0"/>
                  </a:lnTo>
                  <a:lnTo>
                    <a:pt x="1724351" y="1221416"/>
                  </a:lnTo>
                  <a:lnTo>
                    <a:pt x="0" y="12214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114300" rIns="0" bIns="76200" numCol="1" spcCol="1270" anchor="b" anchorCtr="0">
              <a:noAutofit/>
            </a:bodyPr>
            <a:lstStyle/>
            <a:p>
              <a:pPr marL="0" lvl="0" indent="0" algn="l" defTabSz="533400">
                <a:lnSpc>
                  <a:spcPct val="90000"/>
                </a:lnSpc>
                <a:spcBef>
                  <a:spcPct val="0"/>
                </a:spcBef>
                <a:spcAft>
                  <a:spcPct val="35000"/>
                </a:spcAft>
                <a:buNone/>
              </a:pPr>
              <a:r>
                <a:rPr lang="en-US" sz="1200" kern="1200">
                  <a:solidFill>
                    <a:prstClr val="black">
                      <a:hueOff val="0"/>
                      <a:satOff val="0"/>
                      <a:lumOff val="0"/>
                      <a:alphaOff val="0"/>
                    </a:prstClr>
                  </a:solidFill>
                  <a:latin typeface="Segoe UI"/>
                  <a:ea typeface="+mn-ea"/>
                  <a:cs typeface="+mn-cs"/>
                </a:rPr>
                <a:t>Windows Azure and SQL Data Services announced</a:t>
              </a:r>
            </a:p>
          </p:txBody>
        </p:sp>
        <p:sp>
          <p:nvSpPr>
            <p:cNvPr id="16" name="Freeform: Shape 15">
              <a:extLst>
                <a:ext uri="{FF2B5EF4-FFF2-40B4-BE49-F238E27FC236}">
                  <a16:creationId xmlns:a16="http://schemas.microsoft.com/office/drawing/2014/main" id="{2FF68EED-E90B-4173-9196-65B7D1F13CFE}"/>
                </a:ext>
              </a:extLst>
            </p:cNvPr>
            <p:cNvSpPr/>
            <p:nvPr/>
          </p:nvSpPr>
          <p:spPr>
            <a:xfrm>
              <a:off x="1484851" y="4575235"/>
              <a:ext cx="1724351" cy="429146"/>
            </a:xfrm>
            <a:custGeom>
              <a:avLst/>
              <a:gdLst>
                <a:gd name="connsiteX0" fmla="*/ 0 w 1724351"/>
                <a:gd name="connsiteY0" fmla="*/ 0 h 429146"/>
                <a:gd name="connsiteX1" fmla="*/ 1724351 w 1724351"/>
                <a:gd name="connsiteY1" fmla="*/ 0 h 429146"/>
                <a:gd name="connsiteX2" fmla="*/ 1724351 w 1724351"/>
                <a:gd name="connsiteY2" fmla="*/ 429146 h 429146"/>
                <a:gd name="connsiteX3" fmla="*/ 0 w 1724351"/>
                <a:gd name="connsiteY3" fmla="*/ 429146 h 429146"/>
                <a:gd name="connsiteX4" fmla="*/ 0 w 1724351"/>
                <a:gd name="connsiteY4" fmla="*/ 0 h 429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429146">
                  <a:moveTo>
                    <a:pt x="0" y="0"/>
                  </a:moveTo>
                  <a:lnTo>
                    <a:pt x="1724351" y="0"/>
                  </a:lnTo>
                  <a:lnTo>
                    <a:pt x="1724351" y="429146"/>
                  </a:lnTo>
                  <a:lnTo>
                    <a:pt x="0" y="4291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01600" bIns="0" numCol="1" spcCol="1270" anchor="ctr" anchorCtr="0">
              <a:noAutofit/>
            </a:bodyPr>
            <a:lstStyle/>
            <a:p>
              <a:pPr marL="0" lvl="0" indent="0" algn="l" defTabSz="711200">
                <a:lnSpc>
                  <a:spcPct val="90000"/>
                </a:lnSpc>
                <a:spcBef>
                  <a:spcPct val="0"/>
                </a:spcBef>
                <a:spcAft>
                  <a:spcPct val="35000"/>
                </a:spcAft>
                <a:buNone/>
                <a:defRPr b="1"/>
              </a:pPr>
              <a:r>
                <a:rPr lang="en-US" sz="1600" b="1" kern="1200">
                  <a:solidFill>
                    <a:srgbClr val="0078D4"/>
                  </a:solidFill>
                  <a:latin typeface="Segoe UI"/>
                  <a:ea typeface="+mn-ea"/>
                  <a:cs typeface="+mn-cs"/>
                </a:rPr>
                <a:t>2008</a:t>
              </a:r>
            </a:p>
          </p:txBody>
        </p:sp>
        <p:sp>
          <p:nvSpPr>
            <p:cNvPr id="17" name="Straight Connector 16">
              <a:extLst>
                <a:ext uri="{FF2B5EF4-FFF2-40B4-BE49-F238E27FC236}">
                  <a16:creationId xmlns:a16="http://schemas.microsoft.com/office/drawing/2014/main" id="{6B950C97-BC6C-4FAB-BBA6-6A2DD661AF60}"/>
                </a:ext>
              </a:extLst>
            </p:cNvPr>
            <p:cNvSpPr/>
            <p:nvPr/>
          </p:nvSpPr>
          <p:spPr>
            <a:xfrm>
              <a:off x="1276621" y="3353819"/>
              <a:ext cx="0" cy="1221416"/>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29" name="Oval 28">
              <a:extLst>
                <a:ext uri="{FF2B5EF4-FFF2-40B4-BE49-F238E27FC236}">
                  <a16:creationId xmlns:a16="http://schemas.microsoft.com/office/drawing/2014/main" id="{6CD5C504-70ED-4879-88A6-7607BCE0E055}"/>
                </a:ext>
              </a:extLst>
            </p:cNvPr>
            <p:cNvSpPr/>
            <p:nvPr/>
          </p:nvSpPr>
          <p:spPr>
            <a:xfrm>
              <a:off x="1245482" y="3315195"/>
              <a:ext cx="74962" cy="77246"/>
            </a:xfrm>
            <a:prstGeom prst="ellipse">
              <a:avLst/>
            </a:prstGeom>
            <a:solidFill>
              <a:schemeClr val="accent1">
                <a:hueOff val="0"/>
                <a:satOff val="0"/>
                <a:lumOff val="0"/>
                <a:alphaOff val="0"/>
              </a:schemeClr>
            </a:solidFill>
            <a:ln w="6350" cap="flat" cmpd="sng" algn="ctr">
              <a:noFill/>
              <a:prstDash val="solid"/>
            </a:ln>
            <a:effectLst/>
          </p:spPr>
          <p:style>
            <a:lnRef idx="2">
              <a:scrgbClr r="0" g="0" b="0"/>
            </a:lnRef>
            <a:fillRef idx="1">
              <a:scrgbClr r="0" g="0" b="0"/>
            </a:fillRef>
            <a:effectRef idx="0">
              <a:scrgbClr r="0" g="0" b="0"/>
            </a:effectRef>
            <a:fontRef idx="minor">
              <a:schemeClr val="lt1"/>
            </a:fontRef>
          </p:style>
        </p:sp>
        <p:sp>
          <p:nvSpPr>
            <p:cNvPr id="30" name="Teardrop 29">
              <a:extLst>
                <a:ext uri="{FF2B5EF4-FFF2-40B4-BE49-F238E27FC236}">
                  <a16:creationId xmlns:a16="http://schemas.microsoft.com/office/drawing/2014/main" id="{BA6A983A-71CC-4EEA-9CB5-3C7D0D9DE9A5}"/>
                </a:ext>
              </a:extLst>
            </p:cNvPr>
            <p:cNvSpPr/>
            <p:nvPr/>
          </p:nvSpPr>
          <p:spPr>
            <a:xfrm rot="8100000">
              <a:off x="2196266" y="1770588"/>
              <a:ext cx="294482" cy="29448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Oval 30">
              <a:extLst>
                <a:ext uri="{FF2B5EF4-FFF2-40B4-BE49-F238E27FC236}">
                  <a16:creationId xmlns:a16="http://schemas.microsoft.com/office/drawing/2014/main" id="{37E878EA-B0D4-4688-B97E-749C1702E9BF}"/>
                </a:ext>
              </a:extLst>
            </p:cNvPr>
            <p:cNvSpPr/>
            <p:nvPr/>
          </p:nvSpPr>
          <p:spPr>
            <a:xfrm>
              <a:off x="2228980" y="1803302"/>
              <a:ext cx="229053" cy="229053"/>
            </a:xfrm>
            <a:prstGeom prst="ellipse">
              <a:avLst/>
            </a:prstGeom>
            <a:solidFill>
              <a:schemeClr val="accent1">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32" name="Freeform: Shape 31">
              <a:extLst>
                <a:ext uri="{FF2B5EF4-FFF2-40B4-BE49-F238E27FC236}">
                  <a16:creationId xmlns:a16="http://schemas.microsoft.com/office/drawing/2014/main" id="{6C42CD8A-9786-4650-B165-5DB09136CB1E}"/>
                </a:ext>
              </a:extLst>
            </p:cNvPr>
            <p:cNvSpPr/>
            <p:nvPr/>
          </p:nvSpPr>
          <p:spPr>
            <a:xfrm>
              <a:off x="2551738" y="2132402"/>
              <a:ext cx="1724351" cy="1221416"/>
            </a:xfrm>
            <a:custGeom>
              <a:avLst/>
              <a:gdLst>
                <a:gd name="connsiteX0" fmla="*/ 0 w 1724351"/>
                <a:gd name="connsiteY0" fmla="*/ 0 h 1221416"/>
                <a:gd name="connsiteX1" fmla="*/ 1724351 w 1724351"/>
                <a:gd name="connsiteY1" fmla="*/ 0 h 1221416"/>
                <a:gd name="connsiteX2" fmla="*/ 1724351 w 1724351"/>
                <a:gd name="connsiteY2" fmla="*/ 1221416 h 1221416"/>
                <a:gd name="connsiteX3" fmla="*/ 0 w 1724351"/>
                <a:gd name="connsiteY3" fmla="*/ 1221416 h 1221416"/>
                <a:gd name="connsiteX4" fmla="*/ 0 w 1724351"/>
                <a:gd name="connsiteY4" fmla="*/ 0 h 1221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1221416">
                  <a:moveTo>
                    <a:pt x="0" y="0"/>
                  </a:moveTo>
                  <a:lnTo>
                    <a:pt x="1724351" y="0"/>
                  </a:lnTo>
                  <a:lnTo>
                    <a:pt x="1724351" y="1221416"/>
                  </a:lnTo>
                  <a:lnTo>
                    <a:pt x="0" y="12214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76200" rIns="76200" bIns="114300" numCol="1" spcCol="1270" anchor="t" anchorCtr="0">
              <a:noAutofit/>
            </a:bodyPr>
            <a:lstStyle/>
            <a:p>
              <a:pPr marL="0" lvl="0" indent="0" algn="l" defTabSz="533400">
                <a:lnSpc>
                  <a:spcPct val="90000"/>
                </a:lnSpc>
                <a:spcBef>
                  <a:spcPct val="0"/>
                </a:spcBef>
                <a:spcAft>
                  <a:spcPct val="35000"/>
                </a:spcAft>
                <a:buNone/>
              </a:pPr>
              <a:r>
                <a:rPr lang="en-US" sz="1200" kern="1200">
                  <a:solidFill>
                    <a:prstClr val="black">
                      <a:hueOff val="0"/>
                      <a:satOff val="0"/>
                      <a:lumOff val="0"/>
                      <a:alphaOff val="0"/>
                    </a:prstClr>
                  </a:solidFill>
                  <a:latin typeface="Segoe UI"/>
                  <a:ea typeface="+mn-ea"/>
                  <a:cs typeface="+mn-cs"/>
                </a:rPr>
                <a:t>Windows Azure and SQL Azure launch</a:t>
              </a:r>
            </a:p>
          </p:txBody>
        </p:sp>
        <p:sp>
          <p:nvSpPr>
            <p:cNvPr id="33" name="Freeform: Shape 32">
              <a:extLst>
                <a:ext uri="{FF2B5EF4-FFF2-40B4-BE49-F238E27FC236}">
                  <a16:creationId xmlns:a16="http://schemas.microsoft.com/office/drawing/2014/main" id="{DAD2C1D7-AE8F-429F-9DE9-A86530E9BF90}"/>
                </a:ext>
              </a:extLst>
            </p:cNvPr>
            <p:cNvSpPr/>
            <p:nvPr/>
          </p:nvSpPr>
          <p:spPr>
            <a:xfrm>
              <a:off x="2551738" y="1703256"/>
              <a:ext cx="1724351" cy="429146"/>
            </a:xfrm>
            <a:custGeom>
              <a:avLst/>
              <a:gdLst>
                <a:gd name="connsiteX0" fmla="*/ 0 w 1724351"/>
                <a:gd name="connsiteY0" fmla="*/ 0 h 429146"/>
                <a:gd name="connsiteX1" fmla="*/ 1724351 w 1724351"/>
                <a:gd name="connsiteY1" fmla="*/ 0 h 429146"/>
                <a:gd name="connsiteX2" fmla="*/ 1724351 w 1724351"/>
                <a:gd name="connsiteY2" fmla="*/ 429146 h 429146"/>
                <a:gd name="connsiteX3" fmla="*/ 0 w 1724351"/>
                <a:gd name="connsiteY3" fmla="*/ 429146 h 429146"/>
                <a:gd name="connsiteX4" fmla="*/ 0 w 1724351"/>
                <a:gd name="connsiteY4" fmla="*/ 0 h 429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429146">
                  <a:moveTo>
                    <a:pt x="0" y="0"/>
                  </a:moveTo>
                  <a:lnTo>
                    <a:pt x="1724351" y="0"/>
                  </a:lnTo>
                  <a:lnTo>
                    <a:pt x="1724351" y="429146"/>
                  </a:lnTo>
                  <a:lnTo>
                    <a:pt x="0" y="4291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01600" bIns="0" numCol="1" spcCol="1270" anchor="ctr" anchorCtr="0">
              <a:noAutofit/>
            </a:bodyPr>
            <a:lstStyle/>
            <a:p>
              <a:pPr marL="0" lvl="0" indent="0" algn="l" defTabSz="711200">
                <a:lnSpc>
                  <a:spcPct val="90000"/>
                </a:lnSpc>
                <a:spcBef>
                  <a:spcPct val="0"/>
                </a:spcBef>
                <a:spcAft>
                  <a:spcPct val="35000"/>
                </a:spcAft>
                <a:buNone/>
                <a:defRPr b="1"/>
              </a:pPr>
              <a:r>
                <a:rPr lang="en-US" sz="1600" b="1" kern="1200">
                  <a:solidFill>
                    <a:srgbClr val="0078D4"/>
                  </a:solidFill>
                  <a:latin typeface="Segoe UI"/>
                  <a:ea typeface="+mn-ea"/>
                  <a:cs typeface="+mn-cs"/>
                </a:rPr>
                <a:t>2010</a:t>
              </a:r>
            </a:p>
          </p:txBody>
        </p:sp>
        <p:sp>
          <p:nvSpPr>
            <p:cNvPr id="34" name="Straight Connector 33">
              <a:extLst>
                <a:ext uri="{FF2B5EF4-FFF2-40B4-BE49-F238E27FC236}">
                  <a16:creationId xmlns:a16="http://schemas.microsoft.com/office/drawing/2014/main" id="{936805E4-460B-404E-B47C-B751CD224A1F}"/>
                </a:ext>
              </a:extLst>
            </p:cNvPr>
            <p:cNvSpPr/>
            <p:nvPr/>
          </p:nvSpPr>
          <p:spPr>
            <a:xfrm>
              <a:off x="2343507" y="2132402"/>
              <a:ext cx="0" cy="1221416"/>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35" name="Oval 34">
              <a:extLst>
                <a:ext uri="{FF2B5EF4-FFF2-40B4-BE49-F238E27FC236}">
                  <a16:creationId xmlns:a16="http://schemas.microsoft.com/office/drawing/2014/main" id="{CB96CA0C-EE78-4795-91AE-396813620FD2}"/>
                </a:ext>
              </a:extLst>
            </p:cNvPr>
            <p:cNvSpPr/>
            <p:nvPr/>
          </p:nvSpPr>
          <p:spPr>
            <a:xfrm>
              <a:off x="2312368" y="3315195"/>
              <a:ext cx="74962" cy="77246"/>
            </a:xfrm>
            <a:prstGeom prst="ellipse">
              <a:avLst/>
            </a:prstGeom>
            <a:solidFill>
              <a:schemeClr val="accent1">
                <a:hueOff val="0"/>
                <a:satOff val="0"/>
                <a:lumOff val="0"/>
                <a:alphaOff val="0"/>
              </a:schemeClr>
            </a:solidFill>
            <a:ln w="6350" cap="flat" cmpd="sng" algn="ctr">
              <a:noFill/>
              <a:prstDash val="solid"/>
            </a:ln>
            <a:effectLst/>
          </p:spPr>
          <p:style>
            <a:lnRef idx="2">
              <a:scrgbClr r="0" g="0" b="0"/>
            </a:lnRef>
            <a:fillRef idx="1">
              <a:scrgbClr r="0" g="0" b="0"/>
            </a:fillRef>
            <a:effectRef idx="0">
              <a:scrgbClr r="0" g="0" b="0"/>
            </a:effectRef>
            <a:fontRef idx="minor">
              <a:schemeClr val="lt1"/>
            </a:fontRef>
          </p:style>
        </p:sp>
        <p:sp>
          <p:nvSpPr>
            <p:cNvPr id="36" name="Teardrop 35">
              <a:extLst>
                <a:ext uri="{FF2B5EF4-FFF2-40B4-BE49-F238E27FC236}">
                  <a16:creationId xmlns:a16="http://schemas.microsoft.com/office/drawing/2014/main" id="{87B54BB1-D07E-40D9-BA3F-79C6D886A2AE}"/>
                </a:ext>
              </a:extLst>
            </p:cNvPr>
            <p:cNvSpPr/>
            <p:nvPr/>
          </p:nvSpPr>
          <p:spPr>
            <a:xfrm rot="18900000">
              <a:off x="3363507" y="4642567"/>
              <a:ext cx="294482" cy="29448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Oval 36">
              <a:extLst>
                <a:ext uri="{FF2B5EF4-FFF2-40B4-BE49-F238E27FC236}">
                  <a16:creationId xmlns:a16="http://schemas.microsoft.com/office/drawing/2014/main" id="{830AFA1B-1BEE-436B-8F65-D3C7B0D04714}"/>
                </a:ext>
              </a:extLst>
            </p:cNvPr>
            <p:cNvSpPr/>
            <p:nvPr/>
          </p:nvSpPr>
          <p:spPr>
            <a:xfrm>
              <a:off x="3396222" y="4675281"/>
              <a:ext cx="229053" cy="229053"/>
            </a:xfrm>
            <a:prstGeom prst="ellipse">
              <a:avLst/>
            </a:prstGeom>
            <a:solidFill>
              <a:schemeClr val="accent1">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38" name="Freeform: Shape 37">
              <a:extLst>
                <a:ext uri="{FF2B5EF4-FFF2-40B4-BE49-F238E27FC236}">
                  <a16:creationId xmlns:a16="http://schemas.microsoft.com/office/drawing/2014/main" id="{53631638-9788-46AC-90E9-AD57D0BB0A7A}"/>
                </a:ext>
              </a:extLst>
            </p:cNvPr>
            <p:cNvSpPr/>
            <p:nvPr/>
          </p:nvSpPr>
          <p:spPr>
            <a:xfrm>
              <a:off x="3757383" y="3353819"/>
              <a:ext cx="1724351" cy="1221416"/>
            </a:xfrm>
            <a:custGeom>
              <a:avLst/>
              <a:gdLst>
                <a:gd name="connsiteX0" fmla="*/ 0 w 1724351"/>
                <a:gd name="connsiteY0" fmla="*/ 0 h 1221416"/>
                <a:gd name="connsiteX1" fmla="*/ 1724351 w 1724351"/>
                <a:gd name="connsiteY1" fmla="*/ 0 h 1221416"/>
                <a:gd name="connsiteX2" fmla="*/ 1724351 w 1724351"/>
                <a:gd name="connsiteY2" fmla="*/ 1221416 h 1221416"/>
                <a:gd name="connsiteX3" fmla="*/ 0 w 1724351"/>
                <a:gd name="connsiteY3" fmla="*/ 1221416 h 1221416"/>
                <a:gd name="connsiteX4" fmla="*/ 0 w 1724351"/>
                <a:gd name="connsiteY4" fmla="*/ 0 h 1221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1221416">
                  <a:moveTo>
                    <a:pt x="0" y="0"/>
                  </a:moveTo>
                  <a:lnTo>
                    <a:pt x="1724351" y="0"/>
                  </a:lnTo>
                  <a:lnTo>
                    <a:pt x="1724351" y="1221416"/>
                  </a:lnTo>
                  <a:lnTo>
                    <a:pt x="0" y="12214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114300" rIns="0" bIns="76200" numCol="1" spcCol="1270" anchor="b" anchorCtr="0">
              <a:noAutofit/>
            </a:bodyPr>
            <a:lstStyle/>
            <a:p>
              <a:pPr marL="0" lvl="0" indent="0" algn="l" defTabSz="533400">
                <a:lnSpc>
                  <a:spcPct val="90000"/>
                </a:lnSpc>
                <a:spcBef>
                  <a:spcPct val="0"/>
                </a:spcBef>
                <a:spcAft>
                  <a:spcPct val="35000"/>
                </a:spcAft>
                <a:buNone/>
              </a:pPr>
              <a:r>
                <a:rPr lang="en-US" sz="1200" kern="1200">
                  <a:solidFill>
                    <a:prstClr val="black">
                      <a:hueOff val="0"/>
                      <a:satOff val="0"/>
                      <a:lumOff val="0"/>
                      <a:alphaOff val="0"/>
                    </a:prstClr>
                  </a:solidFill>
                  <a:latin typeface="Segoe UI"/>
                  <a:ea typeface="+mn-ea"/>
                  <a:cs typeface="+mn-cs"/>
                </a:rPr>
                <a:t>SQL Azure </a:t>
              </a:r>
              <a:r>
                <a:rPr lang="en-US" sz="1200" kern="1200">
                  <a:solidFill>
                    <a:prstClr val="black">
                      <a:hueOff val="0"/>
                      <a:satOff val="0"/>
                      <a:lumOff val="0"/>
                      <a:alphaOff val="0"/>
                    </a:prstClr>
                  </a:solidFill>
                  <a:latin typeface="Segoe UI"/>
                  <a:ea typeface="+mn-ea"/>
                  <a:cs typeface="+mn-cs"/>
                  <a:sym typeface="Wingdings" panose="05000000000000000000" pitchFamily="2" charset="2"/>
                </a:rPr>
                <a:t> </a:t>
              </a:r>
            </a:p>
            <a:p>
              <a:pPr marL="0" lvl="0" indent="0" algn="l" defTabSz="533400">
                <a:lnSpc>
                  <a:spcPct val="90000"/>
                </a:lnSpc>
                <a:spcBef>
                  <a:spcPct val="0"/>
                </a:spcBef>
                <a:spcAft>
                  <a:spcPct val="35000"/>
                </a:spcAft>
                <a:buNone/>
              </a:pPr>
              <a:r>
                <a:rPr lang="en-US" sz="1200" kern="1200">
                  <a:solidFill>
                    <a:prstClr val="black">
                      <a:hueOff val="0"/>
                      <a:satOff val="0"/>
                      <a:lumOff val="0"/>
                      <a:alphaOff val="0"/>
                    </a:prstClr>
                  </a:solidFill>
                  <a:latin typeface="Segoe UI"/>
                  <a:ea typeface="+mn-ea"/>
                  <a:cs typeface="+mn-cs"/>
                </a:rPr>
                <a:t>Azure SQL Database</a:t>
              </a:r>
            </a:p>
          </p:txBody>
        </p:sp>
        <p:sp>
          <p:nvSpPr>
            <p:cNvPr id="39" name="Freeform: Shape 38">
              <a:extLst>
                <a:ext uri="{FF2B5EF4-FFF2-40B4-BE49-F238E27FC236}">
                  <a16:creationId xmlns:a16="http://schemas.microsoft.com/office/drawing/2014/main" id="{860A57E4-E632-4111-90A4-3FD450C05B27}"/>
                </a:ext>
              </a:extLst>
            </p:cNvPr>
            <p:cNvSpPr/>
            <p:nvPr/>
          </p:nvSpPr>
          <p:spPr>
            <a:xfrm>
              <a:off x="3757383" y="4575235"/>
              <a:ext cx="1724351" cy="429146"/>
            </a:xfrm>
            <a:custGeom>
              <a:avLst/>
              <a:gdLst>
                <a:gd name="connsiteX0" fmla="*/ 0 w 1724351"/>
                <a:gd name="connsiteY0" fmla="*/ 0 h 429146"/>
                <a:gd name="connsiteX1" fmla="*/ 1724351 w 1724351"/>
                <a:gd name="connsiteY1" fmla="*/ 0 h 429146"/>
                <a:gd name="connsiteX2" fmla="*/ 1724351 w 1724351"/>
                <a:gd name="connsiteY2" fmla="*/ 429146 h 429146"/>
                <a:gd name="connsiteX3" fmla="*/ 0 w 1724351"/>
                <a:gd name="connsiteY3" fmla="*/ 429146 h 429146"/>
                <a:gd name="connsiteX4" fmla="*/ 0 w 1724351"/>
                <a:gd name="connsiteY4" fmla="*/ 0 h 429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429146">
                  <a:moveTo>
                    <a:pt x="0" y="0"/>
                  </a:moveTo>
                  <a:lnTo>
                    <a:pt x="1724351" y="0"/>
                  </a:lnTo>
                  <a:lnTo>
                    <a:pt x="1724351" y="429146"/>
                  </a:lnTo>
                  <a:lnTo>
                    <a:pt x="0" y="4291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01600" bIns="0" numCol="1" spcCol="1270" anchor="ctr" anchorCtr="0">
              <a:noAutofit/>
            </a:bodyPr>
            <a:lstStyle/>
            <a:p>
              <a:pPr marL="0" lvl="0" indent="0" algn="l" defTabSz="711200">
                <a:lnSpc>
                  <a:spcPct val="90000"/>
                </a:lnSpc>
                <a:spcBef>
                  <a:spcPct val="0"/>
                </a:spcBef>
                <a:spcAft>
                  <a:spcPct val="35000"/>
                </a:spcAft>
                <a:buNone/>
                <a:defRPr b="1"/>
              </a:pPr>
              <a:r>
                <a:rPr lang="en-US" sz="1600" b="1" kern="1200">
                  <a:solidFill>
                    <a:srgbClr val="0078D4"/>
                  </a:solidFill>
                  <a:latin typeface="Segoe UI"/>
                  <a:ea typeface="+mn-ea"/>
                  <a:cs typeface="+mn-cs"/>
                </a:rPr>
                <a:t>2012</a:t>
              </a:r>
            </a:p>
          </p:txBody>
        </p:sp>
        <p:sp>
          <p:nvSpPr>
            <p:cNvPr id="40" name="Straight Connector 39">
              <a:extLst>
                <a:ext uri="{FF2B5EF4-FFF2-40B4-BE49-F238E27FC236}">
                  <a16:creationId xmlns:a16="http://schemas.microsoft.com/office/drawing/2014/main" id="{04E112F9-62CD-4761-80D7-2BAB994836E3}"/>
                </a:ext>
              </a:extLst>
            </p:cNvPr>
            <p:cNvSpPr/>
            <p:nvPr/>
          </p:nvSpPr>
          <p:spPr>
            <a:xfrm>
              <a:off x="3510748" y="3353819"/>
              <a:ext cx="0" cy="1221416"/>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41" name="Oval 40">
              <a:extLst>
                <a:ext uri="{FF2B5EF4-FFF2-40B4-BE49-F238E27FC236}">
                  <a16:creationId xmlns:a16="http://schemas.microsoft.com/office/drawing/2014/main" id="{FA69B911-A441-4112-94CA-30772B581EBF}"/>
                </a:ext>
              </a:extLst>
            </p:cNvPr>
            <p:cNvSpPr/>
            <p:nvPr/>
          </p:nvSpPr>
          <p:spPr>
            <a:xfrm>
              <a:off x="3479609" y="3315195"/>
              <a:ext cx="74962" cy="77246"/>
            </a:xfrm>
            <a:prstGeom prst="ellipse">
              <a:avLst/>
            </a:prstGeom>
            <a:solidFill>
              <a:schemeClr val="accent1">
                <a:hueOff val="0"/>
                <a:satOff val="0"/>
                <a:lumOff val="0"/>
                <a:alphaOff val="0"/>
              </a:schemeClr>
            </a:solidFill>
            <a:ln w="6350" cap="flat" cmpd="sng" algn="ctr">
              <a:noFill/>
              <a:prstDash val="solid"/>
            </a:ln>
            <a:effectLst/>
          </p:spPr>
          <p:style>
            <a:lnRef idx="2">
              <a:scrgbClr r="0" g="0" b="0"/>
            </a:lnRef>
            <a:fillRef idx="1">
              <a:scrgbClr r="0" g="0" b="0"/>
            </a:fillRef>
            <a:effectRef idx="0">
              <a:scrgbClr r="0" g="0" b="0"/>
            </a:effectRef>
            <a:fontRef idx="minor">
              <a:schemeClr val="lt1"/>
            </a:fontRef>
          </p:style>
        </p:sp>
        <p:sp>
          <p:nvSpPr>
            <p:cNvPr id="42" name="Teardrop 41">
              <a:extLst>
                <a:ext uri="{FF2B5EF4-FFF2-40B4-BE49-F238E27FC236}">
                  <a16:creationId xmlns:a16="http://schemas.microsoft.com/office/drawing/2014/main" id="{EB5DE7FF-4D12-43B8-8A5B-4A005516FAC7}"/>
                </a:ext>
              </a:extLst>
            </p:cNvPr>
            <p:cNvSpPr/>
            <p:nvPr/>
          </p:nvSpPr>
          <p:spPr>
            <a:xfrm rot="8100000">
              <a:off x="4330039" y="1770588"/>
              <a:ext cx="294482" cy="29448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3" name="Oval 42">
              <a:extLst>
                <a:ext uri="{FF2B5EF4-FFF2-40B4-BE49-F238E27FC236}">
                  <a16:creationId xmlns:a16="http://schemas.microsoft.com/office/drawing/2014/main" id="{02EFFDA1-9B59-4345-9CDD-F479C5FAE0D7}"/>
                </a:ext>
              </a:extLst>
            </p:cNvPr>
            <p:cNvSpPr/>
            <p:nvPr/>
          </p:nvSpPr>
          <p:spPr>
            <a:xfrm>
              <a:off x="4362754" y="1803302"/>
              <a:ext cx="229053" cy="229053"/>
            </a:xfrm>
            <a:prstGeom prst="ellipse">
              <a:avLst/>
            </a:prstGeom>
            <a:solidFill>
              <a:schemeClr val="accent1">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44" name="Freeform: Shape 43">
              <a:extLst>
                <a:ext uri="{FF2B5EF4-FFF2-40B4-BE49-F238E27FC236}">
                  <a16:creationId xmlns:a16="http://schemas.microsoft.com/office/drawing/2014/main" id="{2C7AFDEA-C61D-47D6-8CCA-0972A239481F}"/>
                </a:ext>
              </a:extLst>
            </p:cNvPr>
            <p:cNvSpPr/>
            <p:nvPr/>
          </p:nvSpPr>
          <p:spPr>
            <a:xfrm>
              <a:off x="4685511" y="2132402"/>
              <a:ext cx="1724351" cy="1221416"/>
            </a:xfrm>
            <a:custGeom>
              <a:avLst/>
              <a:gdLst>
                <a:gd name="connsiteX0" fmla="*/ 0 w 1724351"/>
                <a:gd name="connsiteY0" fmla="*/ 0 h 1221416"/>
                <a:gd name="connsiteX1" fmla="*/ 1724351 w 1724351"/>
                <a:gd name="connsiteY1" fmla="*/ 0 h 1221416"/>
                <a:gd name="connsiteX2" fmla="*/ 1724351 w 1724351"/>
                <a:gd name="connsiteY2" fmla="*/ 1221416 h 1221416"/>
                <a:gd name="connsiteX3" fmla="*/ 0 w 1724351"/>
                <a:gd name="connsiteY3" fmla="*/ 1221416 h 1221416"/>
                <a:gd name="connsiteX4" fmla="*/ 0 w 1724351"/>
                <a:gd name="connsiteY4" fmla="*/ 0 h 1221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1221416">
                  <a:moveTo>
                    <a:pt x="0" y="0"/>
                  </a:moveTo>
                  <a:lnTo>
                    <a:pt x="1724351" y="0"/>
                  </a:lnTo>
                  <a:lnTo>
                    <a:pt x="1724351" y="1221416"/>
                  </a:lnTo>
                  <a:lnTo>
                    <a:pt x="0" y="12214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76200" rIns="76200" bIns="114300" numCol="1" spcCol="1270" anchor="t" anchorCtr="0">
              <a:noAutofit/>
            </a:bodyPr>
            <a:lstStyle/>
            <a:p>
              <a:pPr marL="0" lvl="0" indent="0" algn="l" defTabSz="533400">
                <a:lnSpc>
                  <a:spcPct val="90000"/>
                </a:lnSpc>
                <a:spcBef>
                  <a:spcPct val="0"/>
                </a:spcBef>
                <a:spcAft>
                  <a:spcPct val="35000"/>
                </a:spcAft>
                <a:buNone/>
              </a:pPr>
              <a:r>
                <a:rPr lang="en-US" sz="1200" kern="1200">
                  <a:solidFill>
                    <a:prstClr val="black">
                      <a:hueOff val="0"/>
                      <a:satOff val="0"/>
                      <a:lumOff val="0"/>
                      <a:alphaOff val="0"/>
                    </a:prstClr>
                  </a:solidFill>
                  <a:latin typeface="Segoe UI"/>
                  <a:ea typeface="+mn-ea"/>
                  <a:cs typeface="+mn-cs"/>
                </a:rPr>
                <a:t>Azure </a:t>
              </a:r>
            </a:p>
            <a:p>
              <a:pPr marL="0" lvl="0" indent="0" algn="l" defTabSz="533400">
                <a:lnSpc>
                  <a:spcPct val="90000"/>
                </a:lnSpc>
                <a:spcBef>
                  <a:spcPct val="0"/>
                </a:spcBef>
                <a:spcAft>
                  <a:spcPct val="35000"/>
                </a:spcAft>
                <a:buNone/>
              </a:pPr>
              <a:r>
                <a:rPr lang="en-US" sz="1200" kern="1200">
                  <a:solidFill>
                    <a:prstClr val="black">
                      <a:hueOff val="0"/>
                      <a:satOff val="0"/>
                      <a:lumOff val="0"/>
                      <a:alphaOff val="0"/>
                    </a:prstClr>
                  </a:solidFill>
                  <a:latin typeface="Segoe UI"/>
                  <a:ea typeface="+mn-ea"/>
                  <a:cs typeface="+mn-cs"/>
                </a:rPr>
                <a:t>Virtual Machines</a:t>
              </a:r>
            </a:p>
          </p:txBody>
        </p:sp>
        <p:sp>
          <p:nvSpPr>
            <p:cNvPr id="45" name="Freeform: Shape 44">
              <a:extLst>
                <a:ext uri="{FF2B5EF4-FFF2-40B4-BE49-F238E27FC236}">
                  <a16:creationId xmlns:a16="http://schemas.microsoft.com/office/drawing/2014/main" id="{736E071D-1E34-44C3-866D-178A60D9BA9C}"/>
                </a:ext>
              </a:extLst>
            </p:cNvPr>
            <p:cNvSpPr/>
            <p:nvPr/>
          </p:nvSpPr>
          <p:spPr>
            <a:xfrm>
              <a:off x="4685511" y="1703256"/>
              <a:ext cx="1724351" cy="429146"/>
            </a:xfrm>
            <a:custGeom>
              <a:avLst/>
              <a:gdLst>
                <a:gd name="connsiteX0" fmla="*/ 0 w 1724351"/>
                <a:gd name="connsiteY0" fmla="*/ 0 h 429146"/>
                <a:gd name="connsiteX1" fmla="*/ 1724351 w 1724351"/>
                <a:gd name="connsiteY1" fmla="*/ 0 h 429146"/>
                <a:gd name="connsiteX2" fmla="*/ 1724351 w 1724351"/>
                <a:gd name="connsiteY2" fmla="*/ 429146 h 429146"/>
                <a:gd name="connsiteX3" fmla="*/ 0 w 1724351"/>
                <a:gd name="connsiteY3" fmla="*/ 429146 h 429146"/>
                <a:gd name="connsiteX4" fmla="*/ 0 w 1724351"/>
                <a:gd name="connsiteY4" fmla="*/ 0 h 429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429146">
                  <a:moveTo>
                    <a:pt x="0" y="0"/>
                  </a:moveTo>
                  <a:lnTo>
                    <a:pt x="1724351" y="0"/>
                  </a:lnTo>
                  <a:lnTo>
                    <a:pt x="1724351" y="429146"/>
                  </a:lnTo>
                  <a:lnTo>
                    <a:pt x="0" y="4291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01600" bIns="0" numCol="1" spcCol="1270" anchor="ctr" anchorCtr="0">
              <a:noAutofit/>
            </a:bodyPr>
            <a:lstStyle/>
            <a:p>
              <a:pPr marL="0" lvl="0" indent="0" algn="l" defTabSz="711200">
                <a:lnSpc>
                  <a:spcPct val="90000"/>
                </a:lnSpc>
                <a:spcBef>
                  <a:spcPct val="0"/>
                </a:spcBef>
                <a:spcAft>
                  <a:spcPct val="35000"/>
                </a:spcAft>
                <a:buNone/>
                <a:defRPr b="1"/>
              </a:pPr>
              <a:r>
                <a:rPr lang="en-US" sz="1600" b="1" kern="1200">
                  <a:solidFill>
                    <a:srgbClr val="0078D4"/>
                  </a:solidFill>
                  <a:latin typeface="Segoe UI"/>
                  <a:ea typeface="+mn-ea"/>
                  <a:cs typeface="+mn-cs"/>
                </a:rPr>
                <a:t>2013</a:t>
              </a:r>
            </a:p>
          </p:txBody>
        </p:sp>
        <p:sp>
          <p:nvSpPr>
            <p:cNvPr id="46" name="Straight Connector 45">
              <a:extLst>
                <a:ext uri="{FF2B5EF4-FFF2-40B4-BE49-F238E27FC236}">
                  <a16:creationId xmlns:a16="http://schemas.microsoft.com/office/drawing/2014/main" id="{1A804506-9EA6-4C6E-A0EF-9178D35FD84E}"/>
                </a:ext>
              </a:extLst>
            </p:cNvPr>
            <p:cNvSpPr/>
            <p:nvPr/>
          </p:nvSpPr>
          <p:spPr>
            <a:xfrm>
              <a:off x="4477280" y="2132402"/>
              <a:ext cx="0" cy="1221416"/>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47" name="Oval 46">
              <a:extLst>
                <a:ext uri="{FF2B5EF4-FFF2-40B4-BE49-F238E27FC236}">
                  <a16:creationId xmlns:a16="http://schemas.microsoft.com/office/drawing/2014/main" id="{50559BB2-9DBF-4A1B-A875-95B22FB668F0}"/>
                </a:ext>
              </a:extLst>
            </p:cNvPr>
            <p:cNvSpPr/>
            <p:nvPr/>
          </p:nvSpPr>
          <p:spPr>
            <a:xfrm>
              <a:off x="4446141" y="3315195"/>
              <a:ext cx="74962" cy="77246"/>
            </a:xfrm>
            <a:prstGeom prst="ellipse">
              <a:avLst/>
            </a:prstGeom>
            <a:solidFill>
              <a:schemeClr val="accent1">
                <a:hueOff val="0"/>
                <a:satOff val="0"/>
                <a:lumOff val="0"/>
                <a:alphaOff val="0"/>
              </a:schemeClr>
            </a:solidFill>
            <a:ln w="6350" cap="flat" cmpd="sng" algn="ctr">
              <a:noFill/>
              <a:prstDash val="solid"/>
            </a:ln>
            <a:effectLst/>
          </p:spPr>
          <p:style>
            <a:lnRef idx="2">
              <a:scrgbClr r="0" g="0" b="0"/>
            </a:lnRef>
            <a:fillRef idx="1">
              <a:scrgbClr r="0" g="0" b="0"/>
            </a:fillRef>
            <a:effectRef idx="0">
              <a:scrgbClr r="0" g="0" b="0"/>
            </a:effectRef>
            <a:fontRef idx="minor">
              <a:schemeClr val="lt1"/>
            </a:fontRef>
          </p:style>
        </p:sp>
        <p:sp>
          <p:nvSpPr>
            <p:cNvPr id="48" name="Teardrop 47">
              <a:extLst>
                <a:ext uri="{FF2B5EF4-FFF2-40B4-BE49-F238E27FC236}">
                  <a16:creationId xmlns:a16="http://schemas.microsoft.com/office/drawing/2014/main" id="{E194D0D5-4637-4BD8-B533-C49CC7EA78CA}"/>
                </a:ext>
              </a:extLst>
            </p:cNvPr>
            <p:cNvSpPr/>
            <p:nvPr/>
          </p:nvSpPr>
          <p:spPr>
            <a:xfrm rot="18900000">
              <a:off x="5467416" y="4642567"/>
              <a:ext cx="294482" cy="29448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9" name="Oval 48">
              <a:extLst>
                <a:ext uri="{FF2B5EF4-FFF2-40B4-BE49-F238E27FC236}">
                  <a16:creationId xmlns:a16="http://schemas.microsoft.com/office/drawing/2014/main" id="{9025505D-DE82-4783-AB45-362A0F573DC1}"/>
                </a:ext>
              </a:extLst>
            </p:cNvPr>
            <p:cNvSpPr/>
            <p:nvPr/>
          </p:nvSpPr>
          <p:spPr>
            <a:xfrm>
              <a:off x="5500130" y="4675281"/>
              <a:ext cx="229053" cy="229053"/>
            </a:xfrm>
            <a:prstGeom prst="ellipse">
              <a:avLst/>
            </a:prstGeom>
            <a:solidFill>
              <a:schemeClr val="accent1">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a:p>
          </p:txBody>
        </p:sp>
        <p:sp>
          <p:nvSpPr>
            <p:cNvPr id="50" name="Freeform: Shape 49">
              <a:extLst>
                <a:ext uri="{FF2B5EF4-FFF2-40B4-BE49-F238E27FC236}">
                  <a16:creationId xmlns:a16="http://schemas.microsoft.com/office/drawing/2014/main" id="{F76C71AE-638E-42E0-B4A7-8583D5BF8E90}"/>
                </a:ext>
              </a:extLst>
            </p:cNvPr>
            <p:cNvSpPr/>
            <p:nvPr/>
          </p:nvSpPr>
          <p:spPr>
            <a:xfrm>
              <a:off x="5903227" y="3353819"/>
              <a:ext cx="1724351" cy="1221416"/>
            </a:xfrm>
            <a:custGeom>
              <a:avLst/>
              <a:gdLst>
                <a:gd name="connsiteX0" fmla="*/ 0 w 1724351"/>
                <a:gd name="connsiteY0" fmla="*/ 0 h 1221416"/>
                <a:gd name="connsiteX1" fmla="*/ 1724351 w 1724351"/>
                <a:gd name="connsiteY1" fmla="*/ 0 h 1221416"/>
                <a:gd name="connsiteX2" fmla="*/ 1724351 w 1724351"/>
                <a:gd name="connsiteY2" fmla="*/ 1221416 h 1221416"/>
                <a:gd name="connsiteX3" fmla="*/ 0 w 1724351"/>
                <a:gd name="connsiteY3" fmla="*/ 1221416 h 1221416"/>
                <a:gd name="connsiteX4" fmla="*/ 0 w 1724351"/>
                <a:gd name="connsiteY4" fmla="*/ 0 h 1221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1221416">
                  <a:moveTo>
                    <a:pt x="0" y="0"/>
                  </a:moveTo>
                  <a:lnTo>
                    <a:pt x="1724351" y="0"/>
                  </a:lnTo>
                  <a:lnTo>
                    <a:pt x="1724351" y="1221416"/>
                  </a:lnTo>
                  <a:lnTo>
                    <a:pt x="0" y="12214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114300" rIns="0" bIns="76200" numCol="1" spcCol="1270" anchor="b" anchorCtr="0">
              <a:noAutofit/>
            </a:bodyPr>
            <a:lstStyle/>
            <a:p>
              <a:pPr marL="0" lvl="0" indent="0" algn="l" defTabSz="533400">
                <a:lnSpc>
                  <a:spcPct val="90000"/>
                </a:lnSpc>
                <a:spcBef>
                  <a:spcPct val="0"/>
                </a:spcBef>
                <a:spcAft>
                  <a:spcPct val="35000"/>
                </a:spcAft>
                <a:buNone/>
              </a:pPr>
              <a:r>
                <a:rPr lang="en-US" sz="1200" kern="1200" dirty="0">
                  <a:solidFill>
                    <a:prstClr val="black">
                      <a:hueOff val="0"/>
                      <a:satOff val="0"/>
                      <a:lumOff val="0"/>
                      <a:alphaOff val="0"/>
                    </a:prstClr>
                  </a:solidFill>
                  <a:latin typeface="Segoe UI"/>
                  <a:ea typeface="+mn-ea"/>
                  <a:cs typeface="+mn-cs"/>
                </a:rPr>
                <a:t>Windows Azure </a:t>
              </a:r>
              <a:r>
                <a:rPr lang="en-US" sz="1200" kern="1200" dirty="0">
                  <a:solidFill>
                    <a:prstClr val="black">
                      <a:hueOff val="0"/>
                      <a:satOff val="0"/>
                      <a:lumOff val="0"/>
                      <a:alphaOff val="0"/>
                    </a:prstClr>
                  </a:solidFill>
                  <a:latin typeface="Segoe UI"/>
                  <a:ea typeface="+mn-ea"/>
                  <a:cs typeface="+mn-cs"/>
                  <a:sym typeface="Wingdings" panose="05000000000000000000" pitchFamily="2" charset="2"/>
                </a:rPr>
                <a:t> </a:t>
              </a:r>
              <a:r>
                <a:rPr lang="en-US" sz="1200" kern="1200" dirty="0">
                  <a:solidFill>
                    <a:prstClr val="black">
                      <a:hueOff val="0"/>
                      <a:satOff val="0"/>
                      <a:lumOff val="0"/>
                      <a:alphaOff val="0"/>
                    </a:prstClr>
                  </a:solidFill>
                  <a:latin typeface="Segoe UI"/>
                  <a:ea typeface="+mn-ea"/>
                  <a:cs typeface="+mn-cs"/>
                </a:rPr>
                <a:t>Microsoft Azure</a:t>
              </a:r>
            </a:p>
          </p:txBody>
        </p:sp>
        <p:sp>
          <p:nvSpPr>
            <p:cNvPr id="51" name="Freeform: Shape 50">
              <a:extLst>
                <a:ext uri="{FF2B5EF4-FFF2-40B4-BE49-F238E27FC236}">
                  <a16:creationId xmlns:a16="http://schemas.microsoft.com/office/drawing/2014/main" id="{CAB1E2EA-E8E5-4E9A-B7E6-281F55B7B51B}"/>
                </a:ext>
              </a:extLst>
            </p:cNvPr>
            <p:cNvSpPr/>
            <p:nvPr/>
          </p:nvSpPr>
          <p:spPr>
            <a:xfrm>
              <a:off x="5903227" y="4575235"/>
              <a:ext cx="1724351" cy="429146"/>
            </a:xfrm>
            <a:custGeom>
              <a:avLst/>
              <a:gdLst>
                <a:gd name="connsiteX0" fmla="*/ 0 w 1724351"/>
                <a:gd name="connsiteY0" fmla="*/ 0 h 429146"/>
                <a:gd name="connsiteX1" fmla="*/ 1724351 w 1724351"/>
                <a:gd name="connsiteY1" fmla="*/ 0 h 429146"/>
                <a:gd name="connsiteX2" fmla="*/ 1724351 w 1724351"/>
                <a:gd name="connsiteY2" fmla="*/ 429146 h 429146"/>
                <a:gd name="connsiteX3" fmla="*/ 0 w 1724351"/>
                <a:gd name="connsiteY3" fmla="*/ 429146 h 429146"/>
                <a:gd name="connsiteX4" fmla="*/ 0 w 1724351"/>
                <a:gd name="connsiteY4" fmla="*/ 0 h 429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429146">
                  <a:moveTo>
                    <a:pt x="0" y="0"/>
                  </a:moveTo>
                  <a:lnTo>
                    <a:pt x="1724351" y="0"/>
                  </a:lnTo>
                  <a:lnTo>
                    <a:pt x="1724351" y="429146"/>
                  </a:lnTo>
                  <a:lnTo>
                    <a:pt x="0" y="4291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01600" bIns="0" numCol="1" spcCol="1270" anchor="ctr" anchorCtr="0">
              <a:noAutofit/>
            </a:bodyPr>
            <a:lstStyle/>
            <a:p>
              <a:pPr marL="0" lvl="0" indent="0" algn="l" defTabSz="711200">
                <a:lnSpc>
                  <a:spcPct val="90000"/>
                </a:lnSpc>
                <a:spcBef>
                  <a:spcPct val="0"/>
                </a:spcBef>
                <a:spcAft>
                  <a:spcPct val="35000"/>
                </a:spcAft>
                <a:buNone/>
                <a:defRPr b="1"/>
              </a:pPr>
              <a:r>
                <a:rPr lang="en-US" sz="1600" b="1" kern="1200">
                  <a:solidFill>
                    <a:srgbClr val="0078D4"/>
                  </a:solidFill>
                  <a:latin typeface="Segoe UI"/>
                  <a:ea typeface="+mn-ea"/>
                  <a:cs typeface="+mn-cs"/>
                </a:rPr>
                <a:t>2014</a:t>
              </a:r>
            </a:p>
          </p:txBody>
        </p:sp>
        <p:sp>
          <p:nvSpPr>
            <p:cNvPr id="52" name="Straight Connector 51">
              <a:extLst>
                <a:ext uri="{FF2B5EF4-FFF2-40B4-BE49-F238E27FC236}">
                  <a16:creationId xmlns:a16="http://schemas.microsoft.com/office/drawing/2014/main" id="{A8FA52EE-A79E-4753-A5D9-DEBEB1CEA090}"/>
                </a:ext>
              </a:extLst>
            </p:cNvPr>
            <p:cNvSpPr/>
            <p:nvPr/>
          </p:nvSpPr>
          <p:spPr>
            <a:xfrm>
              <a:off x="5614656" y="3353819"/>
              <a:ext cx="0" cy="1221416"/>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53" name="Oval 52">
              <a:extLst>
                <a:ext uri="{FF2B5EF4-FFF2-40B4-BE49-F238E27FC236}">
                  <a16:creationId xmlns:a16="http://schemas.microsoft.com/office/drawing/2014/main" id="{4151F2E0-82CD-42D7-B100-A1AF4B2A9BF7}"/>
                </a:ext>
              </a:extLst>
            </p:cNvPr>
            <p:cNvSpPr/>
            <p:nvPr/>
          </p:nvSpPr>
          <p:spPr>
            <a:xfrm>
              <a:off x="5583517" y="3315195"/>
              <a:ext cx="74962" cy="77246"/>
            </a:xfrm>
            <a:prstGeom prst="ellipse">
              <a:avLst/>
            </a:prstGeom>
            <a:solidFill>
              <a:schemeClr val="accent1">
                <a:hueOff val="0"/>
                <a:satOff val="0"/>
                <a:lumOff val="0"/>
                <a:alphaOff val="0"/>
              </a:schemeClr>
            </a:solidFill>
            <a:ln w="6350" cap="flat" cmpd="sng" algn="ctr">
              <a:noFill/>
              <a:prstDash val="solid"/>
            </a:ln>
            <a:effectLst/>
          </p:spPr>
          <p:style>
            <a:lnRef idx="2">
              <a:scrgbClr r="0" g="0" b="0"/>
            </a:lnRef>
            <a:fillRef idx="1">
              <a:scrgbClr r="0" g="0" b="0"/>
            </a:fillRef>
            <a:effectRef idx="0">
              <a:scrgbClr r="0" g="0" b="0"/>
            </a:effectRef>
            <a:fontRef idx="minor">
              <a:schemeClr val="lt1"/>
            </a:fontRef>
          </p:style>
        </p:sp>
        <p:sp>
          <p:nvSpPr>
            <p:cNvPr id="54" name="Teardrop 53">
              <a:extLst>
                <a:ext uri="{FF2B5EF4-FFF2-40B4-BE49-F238E27FC236}">
                  <a16:creationId xmlns:a16="http://schemas.microsoft.com/office/drawing/2014/main" id="{0E5B610C-4F04-4136-9F37-7638384C03BE}"/>
                </a:ext>
              </a:extLst>
            </p:cNvPr>
            <p:cNvSpPr/>
            <p:nvPr/>
          </p:nvSpPr>
          <p:spPr>
            <a:xfrm rot="8100000">
              <a:off x="6463812" y="1770588"/>
              <a:ext cx="294482" cy="29448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5" name="Oval 54">
              <a:extLst>
                <a:ext uri="{FF2B5EF4-FFF2-40B4-BE49-F238E27FC236}">
                  <a16:creationId xmlns:a16="http://schemas.microsoft.com/office/drawing/2014/main" id="{41D40933-FACB-4EFD-8427-4C0623642636}"/>
                </a:ext>
              </a:extLst>
            </p:cNvPr>
            <p:cNvSpPr/>
            <p:nvPr/>
          </p:nvSpPr>
          <p:spPr>
            <a:xfrm>
              <a:off x="6496527" y="1803302"/>
              <a:ext cx="229053" cy="229053"/>
            </a:xfrm>
            <a:prstGeom prst="ellipse">
              <a:avLst/>
            </a:prstGeom>
            <a:solidFill>
              <a:schemeClr val="accent1">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56" name="Freeform: Shape 55">
              <a:extLst>
                <a:ext uri="{FF2B5EF4-FFF2-40B4-BE49-F238E27FC236}">
                  <a16:creationId xmlns:a16="http://schemas.microsoft.com/office/drawing/2014/main" id="{0FA14CB0-D355-4859-8944-3C478A4C3B20}"/>
                </a:ext>
              </a:extLst>
            </p:cNvPr>
            <p:cNvSpPr/>
            <p:nvPr/>
          </p:nvSpPr>
          <p:spPr>
            <a:xfrm>
              <a:off x="6819284" y="2132402"/>
              <a:ext cx="1724351" cy="1221416"/>
            </a:xfrm>
            <a:custGeom>
              <a:avLst/>
              <a:gdLst>
                <a:gd name="connsiteX0" fmla="*/ 0 w 1724351"/>
                <a:gd name="connsiteY0" fmla="*/ 0 h 1221416"/>
                <a:gd name="connsiteX1" fmla="*/ 1724351 w 1724351"/>
                <a:gd name="connsiteY1" fmla="*/ 0 h 1221416"/>
                <a:gd name="connsiteX2" fmla="*/ 1724351 w 1724351"/>
                <a:gd name="connsiteY2" fmla="*/ 1221416 h 1221416"/>
                <a:gd name="connsiteX3" fmla="*/ 0 w 1724351"/>
                <a:gd name="connsiteY3" fmla="*/ 1221416 h 1221416"/>
                <a:gd name="connsiteX4" fmla="*/ 0 w 1724351"/>
                <a:gd name="connsiteY4" fmla="*/ 0 h 1221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1221416">
                  <a:moveTo>
                    <a:pt x="0" y="0"/>
                  </a:moveTo>
                  <a:lnTo>
                    <a:pt x="1724351" y="0"/>
                  </a:lnTo>
                  <a:lnTo>
                    <a:pt x="1724351" y="1221416"/>
                  </a:lnTo>
                  <a:lnTo>
                    <a:pt x="0" y="12214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76200" rIns="76200" bIns="114300" numCol="1" spcCol="1270" anchor="t" anchorCtr="0">
              <a:noAutofit/>
            </a:bodyPr>
            <a:lstStyle/>
            <a:p>
              <a:pPr marL="0" lvl="0" indent="0" algn="l" defTabSz="533400">
                <a:lnSpc>
                  <a:spcPct val="90000"/>
                </a:lnSpc>
                <a:spcBef>
                  <a:spcPct val="0"/>
                </a:spcBef>
                <a:spcAft>
                  <a:spcPct val="35000"/>
                </a:spcAft>
                <a:buNone/>
              </a:pPr>
              <a:r>
                <a:rPr lang="en-US" sz="1200" kern="1200">
                  <a:solidFill>
                    <a:prstClr val="black">
                      <a:hueOff val="0"/>
                      <a:satOff val="0"/>
                      <a:lumOff val="0"/>
                      <a:alphaOff val="0"/>
                    </a:prstClr>
                  </a:solidFill>
                  <a:latin typeface="Segoe UI"/>
                  <a:ea typeface="+mn-ea"/>
                  <a:cs typeface="+mn-cs"/>
                </a:rPr>
                <a:t>Azure SQL Database V12</a:t>
              </a:r>
            </a:p>
          </p:txBody>
        </p:sp>
        <p:sp>
          <p:nvSpPr>
            <p:cNvPr id="57" name="Freeform: Shape 56">
              <a:extLst>
                <a:ext uri="{FF2B5EF4-FFF2-40B4-BE49-F238E27FC236}">
                  <a16:creationId xmlns:a16="http://schemas.microsoft.com/office/drawing/2014/main" id="{E71877C3-66A8-4AA6-AE43-BF7E21AAB828}"/>
                </a:ext>
              </a:extLst>
            </p:cNvPr>
            <p:cNvSpPr/>
            <p:nvPr/>
          </p:nvSpPr>
          <p:spPr>
            <a:xfrm>
              <a:off x="6819284" y="1703256"/>
              <a:ext cx="1724351" cy="429146"/>
            </a:xfrm>
            <a:custGeom>
              <a:avLst/>
              <a:gdLst>
                <a:gd name="connsiteX0" fmla="*/ 0 w 1724351"/>
                <a:gd name="connsiteY0" fmla="*/ 0 h 429146"/>
                <a:gd name="connsiteX1" fmla="*/ 1724351 w 1724351"/>
                <a:gd name="connsiteY1" fmla="*/ 0 h 429146"/>
                <a:gd name="connsiteX2" fmla="*/ 1724351 w 1724351"/>
                <a:gd name="connsiteY2" fmla="*/ 429146 h 429146"/>
                <a:gd name="connsiteX3" fmla="*/ 0 w 1724351"/>
                <a:gd name="connsiteY3" fmla="*/ 429146 h 429146"/>
                <a:gd name="connsiteX4" fmla="*/ 0 w 1724351"/>
                <a:gd name="connsiteY4" fmla="*/ 0 h 429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429146">
                  <a:moveTo>
                    <a:pt x="0" y="0"/>
                  </a:moveTo>
                  <a:lnTo>
                    <a:pt x="1724351" y="0"/>
                  </a:lnTo>
                  <a:lnTo>
                    <a:pt x="1724351" y="429146"/>
                  </a:lnTo>
                  <a:lnTo>
                    <a:pt x="0" y="4291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01600" bIns="0" numCol="1" spcCol="1270" anchor="ctr" anchorCtr="0">
              <a:noAutofit/>
            </a:bodyPr>
            <a:lstStyle/>
            <a:p>
              <a:pPr marL="0" lvl="0" indent="0" algn="l" defTabSz="711200">
                <a:lnSpc>
                  <a:spcPct val="90000"/>
                </a:lnSpc>
                <a:spcBef>
                  <a:spcPct val="0"/>
                </a:spcBef>
                <a:spcAft>
                  <a:spcPct val="35000"/>
                </a:spcAft>
                <a:buNone/>
                <a:defRPr b="1"/>
              </a:pPr>
              <a:r>
                <a:rPr lang="en-US" sz="1600" b="1" kern="1200">
                  <a:solidFill>
                    <a:srgbClr val="0078D4"/>
                  </a:solidFill>
                  <a:latin typeface="Segoe UI"/>
                  <a:ea typeface="+mn-ea"/>
                  <a:cs typeface="+mn-cs"/>
                </a:rPr>
                <a:t>2015</a:t>
              </a:r>
            </a:p>
          </p:txBody>
        </p:sp>
        <p:sp>
          <p:nvSpPr>
            <p:cNvPr id="58" name="Straight Connector 57">
              <a:extLst>
                <a:ext uri="{FF2B5EF4-FFF2-40B4-BE49-F238E27FC236}">
                  <a16:creationId xmlns:a16="http://schemas.microsoft.com/office/drawing/2014/main" id="{41020F39-3E1D-43A6-9B35-2BAEC6058DA8}"/>
                </a:ext>
              </a:extLst>
            </p:cNvPr>
            <p:cNvSpPr/>
            <p:nvPr/>
          </p:nvSpPr>
          <p:spPr>
            <a:xfrm>
              <a:off x="6611054" y="2132402"/>
              <a:ext cx="0" cy="1221416"/>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59" name="Oval 58">
              <a:extLst>
                <a:ext uri="{FF2B5EF4-FFF2-40B4-BE49-F238E27FC236}">
                  <a16:creationId xmlns:a16="http://schemas.microsoft.com/office/drawing/2014/main" id="{DB9790EF-9F5A-44EE-B7C1-5DBAA0524A7B}"/>
                </a:ext>
              </a:extLst>
            </p:cNvPr>
            <p:cNvSpPr/>
            <p:nvPr/>
          </p:nvSpPr>
          <p:spPr>
            <a:xfrm>
              <a:off x="6579915" y="3315195"/>
              <a:ext cx="74962" cy="77246"/>
            </a:xfrm>
            <a:prstGeom prst="ellipse">
              <a:avLst/>
            </a:prstGeom>
            <a:solidFill>
              <a:schemeClr val="accent1">
                <a:hueOff val="0"/>
                <a:satOff val="0"/>
                <a:lumOff val="0"/>
                <a:alphaOff val="0"/>
              </a:schemeClr>
            </a:solidFill>
            <a:ln w="6350" cap="flat" cmpd="sng" algn="ctr">
              <a:noFill/>
              <a:prstDash val="solid"/>
            </a:ln>
            <a:effectLst/>
          </p:spPr>
          <p:style>
            <a:lnRef idx="2">
              <a:scrgbClr r="0" g="0" b="0"/>
            </a:lnRef>
            <a:fillRef idx="1">
              <a:scrgbClr r="0" g="0" b="0"/>
            </a:fillRef>
            <a:effectRef idx="0">
              <a:scrgbClr r="0" g="0" b="0"/>
            </a:effectRef>
            <a:fontRef idx="minor">
              <a:schemeClr val="lt1"/>
            </a:fontRef>
          </p:style>
        </p:sp>
        <p:sp>
          <p:nvSpPr>
            <p:cNvPr id="60" name="Teardrop 59">
              <a:extLst>
                <a:ext uri="{FF2B5EF4-FFF2-40B4-BE49-F238E27FC236}">
                  <a16:creationId xmlns:a16="http://schemas.microsoft.com/office/drawing/2014/main" id="{BC45D80A-DFA7-47B5-B4B5-F02AE26B3B71}"/>
                </a:ext>
              </a:extLst>
            </p:cNvPr>
            <p:cNvSpPr/>
            <p:nvPr/>
          </p:nvSpPr>
          <p:spPr>
            <a:xfrm rot="18900000">
              <a:off x="7530699" y="4642567"/>
              <a:ext cx="294482" cy="29448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1" name="Oval 60">
              <a:extLst>
                <a:ext uri="{FF2B5EF4-FFF2-40B4-BE49-F238E27FC236}">
                  <a16:creationId xmlns:a16="http://schemas.microsoft.com/office/drawing/2014/main" id="{9F978EAD-A831-4D0D-B2BF-8931AE2D23A6}"/>
                </a:ext>
              </a:extLst>
            </p:cNvPr>
            <p:cNvSpPr/>
            <p:nvPr/>
          </p:nvSpPr>
          <p:spPr>
            <a:xfrm>
              <a:off x="7563413" y="4675281"/>
              <a:ext cx="229053" cy="229053"/>
            </a:xfrm>
            <a:prstGeom prst="ellipse">
              <a:avLst/>
            </a:prstGeom>
            <a:solidFill>
              <a:schemeClr val="accent1">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62" name="Freeform: Shape 61">
              <a:extLst>
                <a:ext uri="{FF2B5EF4-FFF2-40B4-BE49-F238E27FC236}">
                  <a16:creationId xmlns:a16="http://schemas.microsoft.com/office/drawing/2014/main" id="{8E3A52CF-EF01-4270-A7D5-7C4F3D0BDBD7}"/>
                </a:ext>
              </a:extLst>
            </p:cNvPr>
            <p:cNvSpPr/>
            <p:nvPr/>
          </p:nvSpPr>
          <p:spPr>
            <a:xfrm>
              <a:off x="7886171" y="3353819"/>
              <a:ext cx="1724351" cy="1221416"/>
            </a:xfrm>
            <a:custGeom>
              <a:avLst/>
              <a:gdLst>
                <a:gd name="connsiteX0" fmla="*/ 0 w 1724351"/>
                <a:gd name="connsiteY0" fmla="*/ 0 h 1221416"/>
                <a:gd name="connsiteX1" fmla="*/ 1724351 w 1724351"/>
                <a:gd name="connsiteY1" fmla="*/ 0 h 1221416"/>
                <a:gd name="connsiteX2" fmla="*/ 1724351 w 1724351"/>
                <a:gd name="connsiteY2" fmla="*/ 1221416 h 1221416"/>
                <a:gd name="connsiteX3" fmla="*/ 0 w 1724351"/>
                <a:gd name="connsiteY3" fmla="*/ 1221416 h 1221416"/>
                <a:gd name="connsiteX4" fmla="*/ 0 w 1724351"/>
                <a:gd name="connsiteY4" fmla="*/ 0 h 1221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1221416">
                  <a:moveTo>
                    <a:pt x="0" y="0"/>
                  </a:moveTo>
                  <a:lnTo>
                    <a:pt x="1724351" y="0"/>
                  </a:lnTo>
                  <a:lnTo>
                    <a:pt x="1724351" y="1221416"/>
                  </a:lnTo>
                  <a:lnTo>
                    <a:pt x="0" y="12214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114300" rIns="0" bIns="76200" numCol="1" spcCol="1270" anchor="b" anchorCtr="0">
              <a:noAutofit/>
            </a:bodyPr>
            <a:lstStyle/>
            <a:p>
              <a:pPr marL="0" lvl="0" indent="0" algn="l" defTabSz="533400">
                <a:lnSpc>
                  <a:spcPct val="90000"/>
                </a:lnSpc>
                <a:spcBef>
                  <a:spcPct val="0"/>
                </a:spcBef>
                <a:spcAft>
                  <a:spcPct val="35000"/>
                </a:spcAft>
                <a:buNone/>
              </a:pPr>
              <a:r>
                <a:rPr lang="en-US" sz="1200" kern="1200">
                  <a:solidFill>
                    <a:prstClr val="black">
                      <a:hueOff val="0"/>
                      <a:satOff val="0"/>
                      <a:lumOff val="0"/>
                      <a:alphaOff val="0"/>
                    </a:prstClr>
                  </a:solidFill>
                  <a:latin typeface="Segoe UI"/>
                  <a:ea typeface="+mn-ea"/>
                  <a:cs typeface="+mn-cs"/>
                </a:rPr>
                <a:t>Azure SQL Database </a:t>
              </a:r>
              <a:br>
                <a:rPr lang="en-US" sz="1200" kern="1200">
                  <a:solidFill>
                    <a:prstClr val="black">
                      <a:hueOff val="0"/>
                      <a:satOff val="0"/>
                      <a:lumOff val="0"/>
                      <a:alphaOff val="0"/>
                    </a:prstClr>
                  </a:solidFill>
                  <a:latin typeface="Segoe UI"/>
                  <a:ea typeface="+mn-ea"/>
                  <a:cs typeface="+mn-cs"/>
                </a:rPr>
              </a:br>
              <a:r>
                <a:rPr lang="en-US" sz="1200" kern="1200">
                  <a:solidFill>
                    <a:prstClr val="black">
                      <a:hueOff val="0"/>
                      <a:satOff val="0"/>
                      <a:lumOff val="0"/>
                      <a:alphaOff val="0"/>
                    </a:prstClr>
                  </a:solidFill>
                  <a:latin typeface="Segoe UI"/>
                  <a:ea typeface="+mn-ea"/>
                  <a:cs typeface="+mn-cs"/>
                </a:rPr>
                <a:t>Elastic Pools</a:t>
              </a:r>
            </a:p>
          </p:txBody>
        </p:sp>
        <p:sp>
          <p:nvSpPr>
            <p:cNvPr id="63" name="Freeform: Shape 62">
              <a:extLst>
                <a:ext uri="{FF2B5EF4-FFF2-40B4-BE49-F238E27FC236}">
                  <a16:creationId xmlns:a16="http://schemas.microsoft.com/office/drawing/2014/main" id="{062BD433-0676-4ACD-9CD3-A422933CD545}"/>
                </a:ext>
              </a:extLst>
            </p:cNvPr>
            <p:cNvSpPr/>
            <p:nvPr/>
          </p:nvSpPr>
          <p:spPr>
            <a:xfrm>
              <a:off x="7886171" y="4575235"/>
              <a:ext cx="1724351" cy="429146"/>
            </a:xfrm>
            <a:custGeom>
              <a:avLst/>
              <a:gdLst>
                <a:gd name="connsiteX0" fmla="*/ 0 w 1724351"/>
                <a:gd name="connsiteY0" fmla="*/ 0 h 429146"/>
                <a:gd name="connsiteX1" fmla="*/ 1724351 w 1724351"/>
                <a:gd name="connsiteY1" fmla="*/ 0 h 429146"/>
                <a:gd name="connsiteX2" fmla="*/ 1724351 w 1724351"/>
                <a:gd name="connsiteY2" fmla="*/ 429146 h 429146"/>
                <a:gd name="connsiteX3" fmla="*/ 0 w 1724351"/>
                <a:gd name="connsiteY3" fmla="*/ 429146 h 429146"/>
                <a:gd name="connsiteX4" fmla="*/ 0 w 1724351"/>
                <a:gd name="connsiteY4" fmla="*/ 0 h 429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429146">
                  <a:moveTo>
                    <a:pt x="0" y="0"/>
                  </a:moveTo>
                  <a:lnTo>
                    <a:pt x="1724351" y="0"/>
                  </a:lnTo>
                  <a:lnTo>
                    <a:pt x="1724351" y="429146"/>
                  </a:lnTo>
                  <a:lnTo>
                    <a:pt x="0" y="4291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01600" bIns="0" numCol="1" spcCol="1270" anchor="ctr" anchorCtr="0">
              <a:noAutofit/>
            </a:bodyPr>
            <a:lstStyle/>
            <a:p>
              <a:pPr marL="0" lvl="0" indent="0" algn="l" defTabSz="711200">
                <a:lnSpc>
                  <a:spcPct val="90000"/>
                </a:lnSpc>
                <a:spcBef>
                  <a:spcPct val="0"/>
                </a:spcBef>
                <a:spcAft>
                  <a:spcPct val="35000"/>
                </a:spcAft>
                <a:buNone/>
                <a:defRPr b="1"/>
              </a:pPr>
              <a:r>
                <a:rPr lang="en-US" sz="1600" b="1" kern="1200">
                  <a:solidFill>
                    <a:srgbClr val="0078D4"/>
                  </a:solidFill>
                  <a:latin typeface="Segoe UI"/>
                  <a:ea typeface="+mn-ea"/>
                  <a:cs typeface="+mn-cs"/>
                </a:rPr>
                <a:t>2016</a:t>
              </a:r>
            </a:p>
          </p:txBody>
        </p:sp>
        <p:sp>
          <p:nvSpPr>
            <p:cNvPr id="64" name="Straight Connector 63">
              <a:extLst>
                <a:ext uri="{FF2B5EF4-FFF2-40B4-BE49-F238E27FC236}">
                  <a16:creationId xmlns:a16="http://schemas.microsoft.com/office/drawing/2014/main" id="{3130C08E-4BB2-4755-AA96-2ECA482A18F6}"/>
                </a:ext>
              </a:extLst>
            </p:cNvPr>
            <p:cNvSpPr/>
            <p:nvPr/>
          </p:nvSpPr>
          <p:spPr>
            <a:xfrm>
              <a:off x="7677940" y="3353819"/>
              <a:ext cx="0" cy="1221416"/>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65" name="Oval 64">
              <a:extLst>
                <a:ext uri="{FF2B5EF4-FFF2-40B4-BE49-F238E27FC236}">
                  <a16:creationId xmlns:a16="http://schemas.microsoft.com/office/drawing/2014/main" id="{58744DDB-710A-4584-8412-1341BBA65E1C}"/>
                </a:ext>
              </a:extLst>
            </p:cNvPr>
            <p:cNvSpPr/>
            <p:nvPr/>
          </p:nvSpPr>
          <p:spPr>
            <a:xfrm>
              <a:off x="7646801" y="3315195"/>
              <a:ext cx="74962" cy="77246"/>
            </a:xfrm>
            <a:prstGeom prst="ellipse">
              <a:avLst/>
            </a:prstGeom>
            <a:solidFill>
              <a:schemeClr val="accent1">
                <a:hueOff val="0"/>
                <a:satOff val="0"/>
                <a:lumOff val="0"/>
                <a:alphaOff val="0"/>
              </a:schemeClr>
            </a:solidFill>
            <a:ln w="6350" cap="flat" cmpd="sng" algn="ctr">
              <a:noFill/>
              <a:prstDash val="solid"/>
            </a:ln>
            <a:effectLst/>
          </p:spPr>
          <p:style>
            <a:lnRef idx="2">
              <a:scrgbClr r="0" g="0" b="0"/>
            </a:lnRef>
            <a:fillRef idx="1">
              <a:scrgbClr r="0" g="0" b="0"/>
            </a:fillRef>
            <a:effectRef idx="0">
              <a:scrgbClr r="0" g="0" b="0"/>
            </a:effectRef>
            <a:fontRef idx="minor">
              <a:schemeClr val="lt1"/>
            </a:fontRef>
          </p:style>
        </p:sp>
        <p:sp>
          <p:nvSpPr>
            <p:cNvPr id="66" name="Teardrop 65">
              <a:extLst>
                <a:ext uri="{FF2B5EF4-FFF2-40B4-BE49-F238E27FC236}">
                  <a16:creationId xmlns:a16="http://schemas.microsoft.com/office/drawing/2014/main" id="{837FAA7C-6219-47D7-82BC-BDD30F03FDB8}"/>
                </a:ext>
              </a:extLst>
            </p:cNvPr>
            <p:cNvSpPr/>
            <p:nvPr/>
          </p:nvSpPr>
          <p:spPr>
            <a:xfrm rot="8100000">
              <a:off x="8597585" y="1770588"/>
              <a:ext cx="294482" cy="29448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67" name="Oval 66">
              <a:extLst>
                <a:ext uri="{FF2B5EF4-FFF2-40B4-BE49-F238E27FC236}">
                  <a16:creationId xmlns:a16="http://schemas.microsoft.com/office/drawing/2014/main" id="{6322C801-D1F8-40A7-B454-98EB58DA3197}"/>
                </a:ext>
              </a:extLst>
            </p:cNvPr>
            <p:cNvSpPr/>
            <p:nvPr/>
          </p:nvSpPr>
          <p:spPr>
            <a:xfrm>
              <a:off x="8630300" y="1803302"/>
              <a:ext cx="229053" cy="229053"/>
            </a:xfrm>
            <a:prstGeom prst="ellipse">
              <a:avLst/>
            </a:prstGeom>
            <a:solidFill>
              <a:schemeClr val="accent1">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a:p>
          </p:txBody>
        </p:sp>
        <p:sp>
          <p:nvSpPr>
            <p:cNvPr id="68" name="Freeform: Shape 67">
              <a:extLst>
                <a:ext uri="{FF2B5EF4-FFF2-40B4-BE49-F238E27FC236}">
                  <a16:creationId xmlns:a16="http://schemas.microsoft.com/office/drawing/2014/main" id="{C660E9E7-A9DB-46BA-B5C4-1C126BAE54A3}"/>
                </a:ext>
              </a:extLst>
            </p:cNvPr>
            <p:cNvSpPr/>
            <p:nvPr/>
          </p:nvSpPr>
          <p:spPr>
            <a:xfrm>
              <a:off x="8953057" y="2132402"/>
              <a:ext cx="1724351" cy="1221416"/>
            </a:xfrm>
            <a:custGeom>
              <a:avLst/>
              <a:gdLst>
                <a:gd name="connsiteX0" fmla="*/ 0 w 1724351"/>
                <a:gd name="connsiteY0" fmla="*/ 0 h 1221416"/>
                <a:gd name="connsiteX1" fmla="*/ 1724351 w 1724351"/>
                <a:gd name="connsiteY1" fmla="*/ 0 h 1221416"/>
                <a:gd name="connsiteX2" fmla="*/ 1724351 w 1724351"/>
                <a:gd name="connsiteY2" fmla="*/ 1221416 h 1221416"/>
                <a:gd name="connsiteX3" fmla="*/ 0 w 1724351"/>
                <a:gd name="connsiteY3" fmla="*/ 1221416 h 1221416"/>
                <a:gd name="connsiteX4" fmla="*/ 0 w 1724351"/>
                <a:gd name="connsiteY4" fmla="*/ 0 h 1221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1221416">
                  <a:moveTo>
                    <a:pt x="0" y="0"/>
                  </a:moveTo>
                  <a:lnTo>
                    <a:pt x="1724351" y="0"/>
                  </a:lnTo>
                  <a:lnTo>
                    <a:pt x="1724351" y="1221416"/>
                  </a:lnTo>
                  <a:lnTo>
                    <a:pt x="0" y="12214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76200" rIns="76200" bIns="114300" numCol="1" spcCol="1270" anchor="t" anchorCtr="0">
              <a:noAutofit/>
            </a:bodyPr>
            <a:lstStyle/>
            <a:p>
              <a:pPr marL="0" lvl="0" indent="0" algn="l" defTabSz="533400">
                <a:lnSpc>
                  <a:spcPct val="90000"/>
                </a:lnSpc>
                <a:spcBef>
                  <a:spcPct val="0"/>
                </a:spcBef>
                <a:spcAft>
                  <a:spcPct val="35000"/>
                </a:spcAft>
                <a:buNone/>
              </a:pPr>
              <a:r>
                <a:rPr lang="en-US" sz="1200" kern="1200" dirty="0">
                  <a:solidFill>
                    <a:prstClr val="black">
                      <a:hueOff val="0"/>
                      <a:satOff val="0"/>
                      <a:lumOff val="0"/>
                      <a:alphaOff val="0"/>
                    </a:prstClr>
                  </a:solidFill>
                  <a:latin typeface="Segoe UI"/>
                  <a:ea typeface="+mn-ea"/>
                  <a:cs typeface="+mn-cs"/>
                </a:rPr>
                <a:t>Azure SQL Database Managed Instance</a:t>
              </a:r>
            </a:p>
          </p:txBody>
        </p:sp>
        <p:sp>
          <p:nvSpPr>
            <p:cNvPr id="69" name="Freeform: Shape 68">
              <a:extLst>
                <a:ext uri="{FF2B5EF4-FFF2-40B4-BE49-F238E27FC236}">
                  <a16:creationId xmlns:a16="http://schemas.microsoft.com/office/drawing/2014/main" id="{DABE070A-1EE2-43B2-951F-687FE98D789F}"/>
                </a:ext>
              </a:extLst>
            </p:cNvPr>
            <p:cNvSpPr/>
            <p:nvPr/>
          </p:nvSpPr>
          <p:spPr>
            <a:xfrm>
              <a:off x="8953057" y="1703256"/>
              <a:ext cx="1724351" cy="429146"/>
            </a:xfrm>
            <a:custGeom>
              <a:avLst/>
              <a:gdLst>
                <a:gd name="connsiteX0" fmla="*/ 0 w 1724351"/>
                <a:gd name="connsiteY0" fmla="*/ 0 h 429146"/>
                <a:gd name="connsiteX1" fmla="*/ 1724351 w 1724351"/>
                <a:gd name="connsiteY1" fmla="*/ 0 h 429146"/>
                <a:gd name="connsiteX2" fmla="*/ 1724351 w 1724351"/>
                <a:gd name="connsiteY2" fmla="*/ 429146 h 429146"/>
                <a:gd name="connsiteX3" fmla="*/ 0 w 1724351"/>
                <a:gd name="connsiteY3" fmla="*/ 429146 h 429146"/>
                <a:gd name="connsiteX4" fmla="*/ 0 w 1724351"/>
                <a:gd name="connsiteY4" fmla="*/ 0 h 429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429146">
                  <a:moveTo>
                    <a:pt x="0" y="0"/>
                  </a:moveTo>
                  <a:lnTo>
                    <a:pt x="1724351" y="0"/>
                  </a:lnTo>
                  <a:lnTo>
                    <a:pt x="1724351" y="429146"/>
                  </a:lnTo>
                  <a:lnTo>
                    <a:pt x="0" y="4291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01600" bIns="0" numCol="1" spcCol="1270" anchor="ctr" anchorCtr="0">
              <a:noAutofit/>
            </a:bodyPr>
            <a:lstStyle/>
            <a:p>
              <a:pPr marL="0" lvl="0" indent="0" algn="l" defTabSz="711200">
                <a:lnSpc>
                  <a:spcPct val="90000"/>
                </a:lnSpc>
                <a:spcBef>
                  <a:spcPct val="0"/>
                </a:spcBef>
                <a:spcAft>
                  <a:spcPct val="35000"/>
                </a:spcAft>
                <a:buNone/>
                <a:defRPr b="1"/>
              </a:pPr>
              <a:r>
                <a:rPr lang="en-US" sz="1600" kern="1200" dirty="0">
                  <a:solidFill>
                    <a:schemeClr val="accent1"/>
                  </a:solidFill>
                </a:rPr>
                <a:t>2018</a:t>
              </a:r>
            </a:p>
          </p:txBody>
        </p:sp>
        <p:sp>
          <p:nvSpPr>
            <p:cNvPr id="70" name="Straight Connector 69">
              <a:extLst>
                <a:ext uri="{FF2B5EF4-FFF2-40B4-BE49-F238E27FC236}">
                  <a16:creationId xmlns:a16="http://schemas.microsoft.com/office/drawing/2014/main" id="{523AA9AB-6F1D-436F-888A-1BD36D969F65}"/>
                </a:ext>
              </a:extLst>
            </p:cNvPr>
            <p:cNvSpPr/>
            <p:nvPr/>
          </p:nvSpPr>
          <p:spPr>
            <a:xfrm>
              <a:off x="8744827" y="2132402"/>
              <a:ext cx="0" cy="1221416"/>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txBody>
            <a:bodyPr/>
            <a:lstStyle/>
            <a:p>
              <a:endParaRPr lang="en-US"/>
            </a:p>
          </p:txBody>
        </p:sp>
        <p:sp>
          <p:nvSpPr>
            <p:cNvPr id="71" name="Oval 70">
              <a:extLst>
                <a:ext uri="{FF2B5EF4-FFF2-40B4-BE49-F238E27FC236}">
                  <a16:creationId xmlns:a16="http://schemas.microsoft.com/office/drawing/2014/main" id="{1B9BBEEE-E152-4447-A457-FBFBB9C885DF}"/>
                </a:ext>
              </a:extLst>
            </p:cNvPr>
            <p:cNvSpPr/>
            <p:nvPr/>
          </p:nvSpPr>
          <p:spPr>
            <a:xfrm>
              <a:off x="8713688" y="3315195"/>
              <a:ext cx="74962" cy="77246"/>
            </a:xfrm>
            <a:prstGeom prst="ellipse">
              <a:avLst/>
            </a:prstGeom>
            <a:solidFill>
              <a:schemeClr val="accent1">
                <a:hueOff val="0"/>
                <a:satOff val="0"/>
                <a:lumOff val="0"/>
                <a:alphaOff val="0"/>
              </a:schemeClr>
            </a:solidFill>
            <a:ln w="6350" cap="flat" cmpd="sng" algn="ctr">
              <a:noFill/>
              <a:prstDash val="solid"/>
            </a:ln>
            <a:effectLst/>
          </p:spPr>
          <p:style>
            <a:lnRef idx="2">
              <a:scrgbClr r="0" g="0" b="0"/>
            </a:lnRef>
            <a:fillRef idx="1">
              <a:scrgbClr r="0" g="0" b="0"/>
            </a:fillRef>
            <a:effectRef idx="0">
              <a:scrgbClr r="0" g="0" b="0"/>
            </a:effectRef>
            <a:fontRef idx="minor">
              <a:schemeClr val="lt1"/>
            </a:fontRef>
          </p:style>
          <p:txBody>
            <a:bodyPr/>
            <a:lstStyle/>
            <a:p>
              <a:endParaRPr lang="en-US"/>
            </a:p>
          </p:txBody>
        </p:sp>
        <p:sp>
          <p:nvSpPr>
            <p:cNvPr id="72" name="Teardrop 71">
              <a:extLst>
                <a:ext uri="{FF2B5EF4-FFF2-40B4-BE49-F238E27FC236}">
                  <a16:creationId xmlns:a16="http://schemas.microsoft.com/office/drawing/2014/main" id="{9C642DD3-5C66-4C50-B213-ABBC302C4D93}"/>
                </a:ext>
              </a:extLst>
            </p:cNvPr>
            <p:cNvSpPr/>
            <p:nvPr/>
          </p:nvSpPr>
          <p:spPr>
            <a:xfrm rot="18900000">
              <a:off x="9513617" y="4642567"/>
              <a:ext cx="294482" cy="29448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3" name="Oval 72">
              <a:extLst>
                <a:ext uri="{FF2B5EF4-FFF2-40B4-BE49-F238E27FC236}">
                  <a16:creationId xmlns:a16="http://schemas.microsoft.com/office/drawing/2014/main" id="{40D82216-10F0-4A69-B75D-24C90713796D}"/>
                </a:ext>
              </a:extLst>
            </p:cNvPr>
            <p:cNvSpPr/>
            <p:nvPr/>
          </p:nvSpPr>
          <p:spPr>
            <a:xfrm>
              <a:off x="9546332" y="4675281"/>
              <a:ext cx="229053" cy="229053"/>
            </a:xfrm>
            <a:prstGeom prst="ellipse">
              <a:avLst/>
            </a:prstGeom>
            <a:solidFill>
              <a:schemeClr val="accent1">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74" name="Freeform: Shape 73">
              <a:extLst>
                <a:ext uri="{FF2B5EF4-FFF2-40B4-BE49-F238E27FC236}">
                  <a16:creationId xmlns:a16="http://schemas.microsoft.com/office/drawing/2014/main" id="{24846B63-64B4-490D-AB9A-E826407E491A}"/>
                </a:ext>
              </a:extLst>
            </p:cNvPr>
            <p:cNvSpPr/>
            <p:nvPr/>
          </p:nvSpPr>
          <p:spPr>
            <a:xfrm>
              <a:off x="9885393" y="3353819"/>
              <a:ext cx="1724351" cy="1221416"/>
            </a:xfrm>
            <a:custGeom>
              <a:avLst/>
              <a:gdLst>
                <a:gd name="connsiteX0" fmla="*/ 0 w 1724351"/>
                <a:gd name="connsiteY0" fmla="*/ 0 h 1221416"/>
                <a:gd name="connsiteX1" fmla="*/ 1724351 w 1724351"/>
                <a:gd name="connsiteY1" fmla="*/ 0 h 1221416"/>
                <a:gd name="connsiteX2" fmla="*/ 1724351 w 1724351"/>
                <a:gd name="connsiteY2" fmla="*/ 1221416 h 1221416"/>
                <a:gd name="connsiteX3" fmla="*/ 0 w 1724351"/>
                <a:gd name="connsiteY3" fmla="*/ 1221416 h 1221416"/>
                <a:gd name="connsiteX4" fmla="*/ 0 w 1724351"/>
                <a:gd name="connsiteY4" fmla="*/ 0 h 1221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1221416">
                  <a:moveTo>
                    <a:pt x="0" y="0"/>
                  </a:moveTo>
                  <a:lnTo>
                    <a:pt x="1724351" y="0"/>
                  </a:lnTo>
                  <a:lnTo>
                    <a:pt x="1724351" y="1221416"/>
                  </a:lnTo>
                  <a:lnTo>
                    <a:pt x="0" y="12214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114300" rIns="0" bIns="76200" numCol="1" spcCol="1270" anchor="b" anchorCtr="0">
              <a:noAutofit/>
            </a:bodyPr>
            <a:lstStyle/>
            <a:p>
              <a:pPr marL="0" lvl="0" indent="0" algn="l" defTabSz="533400">
                <a:lnSpc>
                  <a:spcPct val="90000"/>
                </a:lnSpc>
                <a:spcBef>
                  <a:spcPct val="0"/>
                </a:spcBef>
                <a:spcAft>
                  <a:spcPct val="35000"/>
                </a:spcAft>
                <a:buNone/>
              </a:pPr>
              <a:r>
                <a:rPr lang="en-US" sz="1200" kern="1200">
                  <a:solidFill>
                    <a:prstClr val="black">
                      <a:hueOff val="0"/>
                      <a:satOff val="0"/>
                      <a:lumOff val="0"/>
                      <a:alphaOff val="0"/>
                    </a:prstClr>
                  </a:solidFill>
                  <a:latin typeface="Segoe UI"/>
                  <a:ea typeface="+mn-ea"/>
                  <a:cs typeface="+mn-cs"/>
                </a:rPr>
                <a:t>Azure SQL Database Hyperscale</a:t>
              </a:r>
            </a:p>
            <a:p>
              <a:pPr marL="0" lvl="0" indent="0" algn="l" defTabSz="533400">
                <a:lnSpc>
                  <a:spcPct val="90000"/>
                </a:lnSpc>
                <a:spcBef>
                  <a:spcPct val="0"/>
                </a:spcBef>
                <a:spcAft>
                  <a:spcPct val="35000"/>
                </a:spcAft>
                <a:buNone/>
              </a:pPr>
              <a:r>
                <a:rPr lang="en-US" sz="1200" kern="1200">
                  <a:solidFill>
                    <a:prstClr val="black">
                      <a:hueOff val="0"/>
                      <a:satOff val="0"/>
                      <a:lumOff val="0"/>
                      <a:alphaOff val="0"/>
                    </a:prstClr>
                  </a:solidFill>
                  <a:latin typeface="Segoe UI"/>
                  <a:ea typeface="+mn-ea"/>
                  <a:cs typeface="+mn-cs"/>
                </a:rPr>
                <a:t>Azure SQL Database Serverless</a:t>
              </a:r>
            </a:p>
            <a:p>
              <a:pPr marL="0" lvl="0" indent="0" algn="l" defTabSz="533400">
                <a:lnSpc>
                  <a:spcPct val="90000"/>
                </a:lnSpc>
                <a:spcBef>
                  <a:spcPct val="0"/>
                </a:spcBef>
                <a:spcAft>
                  <a:spcPct val="35000"/>
                </a:spcAft>
                <a:buNone/>
              </a:pPr>
              <a:r>
                <a:rPr lang="en-US" sz="1200" kern="1200">
                  <a:solidFill>
                    <a:prstClr val="black">
                      <a:hueOff val="0"/>
                      <a:satOff val="0"/>
                      <a:lumOff val="0"/>
                      <a:alphaOff val="0"/>
                    </a:prstClr>
                  </a:solidFill>
                  <a:latin typeface="Segoe UI"/>
                  <a:ea typeface="+mn-ea"/>
                  <a:cs typeface="+mn-cs"/>
                </a:rPr>
                <a:t>Azure SQL Instance Pools</a:t>
              </a:r>
            </a:p>
          </p:txBody>
        </p:sp>
        <p:sp>
          <p:nvSpPr>
            <p:cNvPr id="75" name="Freeform: Shape 74">
              <a:extLst>
                <a:ext uri="{FF2B5EF4-FFF2-40B4-BE49-F238E27FC236}">
                  <a16:creationId xmlns:a16="http://schemas.microsoft.com/office/drawing/2014/main" id="{CA133F90-B98F-4E9C-9D1D-66EEC4605CB0}"/>
                </a:ext>
              </a:extLst>
            </p:cNvPr>
            <p:cNvSpPr/>
            <p:nvPr/>
          </p:nvSpPr>
          <p:spPr>
            <a:xfrm>
              <a:off x="9885393" y="4575235"/>
              <a:ext cx="1724351" cy="429146"/>
            </a:xfrm>
            <a:custGeom>
              <a:avLst/>
              <a:gdLst>
                <a:gd name="connsiteX0" fmla="*/ 0 w 1724351"/>
                <a:gd name="connsiteY0" fmla="*/ 0 h 429146"/>
                <a:gd name="connsiteX1" fmla="*/ 1724351 w 1724351"/>
                <a:gd name="connsiteY1" fmla="*/ 0 h 429146"/>
                <a:gd name="connsiteX2" fmla="*/ 1724351 w 1724351"/>
                <a:gd name="connsiteY2" fmla="*/ 429146 h 429146"/>
                <a:gd name="connsiteX3" fmla="*/ 0 w 1724351"/>
                <a:gd name="connsiteY3" fmla="*/ 429146 h 429146"/>
                <a:gd name="connsiteX4" fmla="*/ 0 w 1724351"/>
                <a:gd name="connsiteY4" fmla="*/ 0 h 429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429146">
                  <a:moveTo>
                    <a:pt x="0" y="0"/>
                  </a:moveTo>
                  <a:lnTo>
                    <a:pt x="1724351" y="0"/>
                  </a:lnTo>
                  <a:lnTo>
                    <a:pt x="1724351" y="429146"/>
                  </a:lnTo>
                  <a:lnTo>
                    <a:pt x="0" y="4291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01600" bIns="0" numCol="1" spcCol="1270" anchor="ctr" anchorCtr="0">
              <a:noAutofit/>
            </a:bodyPr>
            <a:lstStyle/>
            <a:p>
              <a:pPr marL="0" lvl="0" indent="0" algn="l" defTabSz="711200">
                <a:lnSpc>
                  <a:spcPct val="90000"/>
                </a:lnSpc>
                <a:spcBef>
                  <a:spcPct val="0"/>
                </a:spcBef>
                <a:spcAft>
                  <a:spcPct val="35000"/>
                </a:spcAft>
                <a:buNone/>
                <a:defRPr b="1"/>
              </a:pPr>
              <a:r>
                <a:rPr lang="en-US" sz="1600" b="1" kern="1200">
                  <a:solidFill>
                    <a:srgbClr val="0078D4"/>
                  </a:solidFill>
                  <a:latin typeface="Segoe UI"/>
                  <a:ea typeface="+mn-ea"/>
                  <a:cs typeface="+mn-cs"/>
                </a:rPr>
                <a:t>2019</a:t>
              </a:r>
            </a:p>
          </p:txBody>
        </p:sp>
        <p:sp>
          <p:nvSpPr>
            <p:cNvPr id="76" name="Straight Connector 75">
              <a:extLst>
                <a:ext uri="{FF2B5EF4-FFF2-40B4-BE49-F238E27FC236}">
                  <a16:creationId xmlns:a16="http://schemas.microsoft.com/office/drawing/2014/main" id="{5918A685-FE6E-4A14-8C46-93B48756F0BB}"/>
                </a:ext>
              </a:extLst>
            </p:cNvPr>
            <p:cNvSpPr/>
            <p:nvPr/>
          </p:nvSpPr>
          <p:spPr>
            <a:xfrm>
              <a:off x="9660882" y="3353819"/>
              <a:ext cx="0" cy="1221416"/>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77" name="Oval 76">
              <a:extLst>
                <a:ext uri="{FF2B5EF4-FFF2-40B4-BE49-F238E27FC236}">
                  <a16:creationId xmlns:a16="http://schemas.microsoft.com/office/drawing/2014/main" id="{8E53859E-5ECD-4306-BAAD-DAC3A08C3BC8}"/>
                </a:ext>
              </a:extLst>
            </p:cNvPr>
            <p:cNvSpPr/>
            <p:nvPr/>
          </p:nvSpPr>
          <p:spPr>
            <a:xfrm>
              <a:off x="9629743" y="3315195"/>
              <a:ext cx="74962" cy="77246"/>
            </a:xfrm>
            <a:prstGeom prst="ellipse">
              <a:avLst/>
            </a:prstGeom>
            <a:solidFill>
              <a:schemeClr val="accent1">
                <a:hueOff val="0"/>
                <a:satOff val="0"/>
                <a:lumOff val="0"/>
                <a:alphaOff val="0"/>
              </a:schemeClr>
            </a:solidFill>
            <a:ln w="6350" cap="flat" cmpd="sng" algn="ctr">
              <a:noFill/>
              <a:prstDash val="solid"/>
            </a:ln>
            <a:effectLst/>
          </p:spPr>
          <p:style>
            <a:lnRef idx="2">
              <a:scrgbClr r="0" g="0" b="0"/>
            </a:lnRef>
            <a:fillRef idx="1">
              <a:scrgbClr r="0" g="0" b="0"/>
            </a:fillRef>
            <a:effectRef idx="0">
              <a:scrgbClr r="0" g="0" b="0"/>
            </a:effectRef>
            <a:fontRef idx="minor">
              <a:schemeClr val="lt1"/>
            </a:fontRef>
          </p:style>
        </p:sp>
      </p:grpSp>
      <p:sp>
        <p:nvSpPr>
          <p:cNvPr id="79" name="Oval 78">
            <a:extLst>
              <a:ext uri="{FF2B5EF4-FFF2-40B4-BE49-F238E27FC236}">
                <a16:creationId xmlns:a16="http://schemas.microsoft.com/office/drawing/2014/main" id="{76DCE2F7-ACE0-430C-8712-16A5625349AA}"/>
              </a:ext>
            </a:extLst>
          </p:cNvPr>
          <p:cNvSpPr/>
          <p:nvPr/>
        </p:nvSpPr>
        <p:spPr>
          <a:xfrm>
            <a:off x="10770351" y="2055360"/>
            <a:ext cx="229053" cy="229053"/>
          </a:xfrm>
          <a:prstGeom prst="ellipse">
            <a:avLst/>
          </a:prstGeom>
          <a:solidFill>
            <a:schemeClr val="accent1">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a:p>
        </p:txBody>
      </p:sp>
      <p:sp>
        <p:nvSpPr>
          <p:cNvPr id="81" name="Freeform: Shape 80">
            <a:extLst>
              <a:ext uri="{FF2B5EF4-FFF2-40B4-BE49-F238E27FC236}">
                <a16:creationId xmlns:a16="http://schemas.microsoft.com/office/drawing/2014/main" id="{6EBDF6C1-4F2B-4040-B046-200557D12214}"/>
              </a:ext>
            </a:extLst>
          </p:cNvPr>
          <p:cNvSpPr/>
          <p:nvPr/>
        </p:nvSpPr>
        <p:spPr>
          <a:xfrm>
            <a:off x="11064915" y="2392282"/>
            <a:ext cx="851822" cy="702371"/>
          </a:xfrm>
          <a:custGeom>
            <a:avLst/>
            <a:gdLst>
              <a:gd name="connsiteX0" fmla="*/ 0 w 1724351"/>
              <a:gd name="connsiteY0" fmla="*/ 0 h 1221416"/>
              <a:gd name="connsiteX1" fmla="*/ 1724351 w 1724351"/>
              <a:gd name="connsiteY1" fmla="*/ 0 h 1221416"/>
              <a:gd name="connsiteX2" fmla="*/ 1724351 w 1724351"/>
              <a:gd name="connsiteY2" fmla="*/ 1221416 h 1221416"/>
              <a:gd name="connsiteX3" fmla="*/ 0 w 1724351"/>
              <a:gd name="connsiteY3" fmla="*/ 1221416 h 1221416"/>
              <a:gd name="connsiteX4" fmla="*/ 0 w 1724351"/>
              <a:gd name="connsiteY4" fmla="*/ 0 h 1221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1221416">
                <a:moveTo>
                  <a:pt x="0" y="0"/>
                </a:moveTo>
                <a:lnTo>
                  <a:pt x="1724351" y="0"/>
                </a:lnTo>
                <a:lnTo>
                  <a:pt x="1724351" y="1221416"/>
                </a:lnTo>
                <a:lnTo>
                  <a:pt x="0" y="12214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76200" rIns="76200" bIns="114300" numCol="1" spcCol="1270" anchor="t" anchorCtr="0">
            <a:noAutofit/>
          </a:bodyPr>
          <a:lstStyle/>
          <a:p>
            <a:pPr marL="0" lvl="0" indent="0" algn="ctr" defTabSz="533400">
              <a:lnSpc>
                <a:spcPct val="90000"/>
              </a:lnSpc>
              <a:spcBef>
                <a:spcPct val="0"/>
              </a:spcBef>
              <a:spcAft>
                <a:spcPct val="35000"/>
              </a:spcAft>
              <a:buNone/>
            </a:pPr>
            <a:r>
              <a:rPr lang="en-US" sz="1200" kern="1200" dirty="0">
                <a:solidFill>
                  <a:prstClr val="black">
                    <a:hueOff val="0"/>
                    <a:satOff val="0"/>
                    <a:lumOff val="0"/>
                    <a:alphaOff val="0"/>
                  </a:prstClr>
                </a:solidFill>
                <a:latin typeface="Segoe UI"/>
                <a:ea typeface="+mn-ea"/>
                <a:cs typeface="+mn-cs"/>
              </a:rPr>
              <a:t>Azure SQL </a:t>
            </a:r>
            <a:r>
              <a:rPr lang="en-US" sz="1200" dirty="0">
                <a:solidFill>
                  <a:prstClr val="black">
                    <a:hueOff val="0"/>
                    <a:satOff val="0"/>
                    <a:lumOff val="0"/>
                    <a:alphaOff val="0"/>
                  </a:prstClr>
                </a:solidFill>
                <a:latin typeface="Segoe UI"/>
              </a:rPr>
              <a:t>Family</a:t>
            </a:r>
            <a:endParaRPr lang="en-US" sz="1200" kern="1200" dirty="0">
              <a:solidFill>
                <a:prstClr val="black">
                  <a:hueOff val="0"/>
                  <a:satOff val="0"/>
                  <a:lumOff val="0"/>
                  <a:alphaOff val="0"/>
                </a:prstClr>
              </a:solidFill>
              <a:latin typeface="Segoe UI"/>
              <a:ea typeface="+mn-ea"/>
              <a:cs typeface="+mn-cs"/>
            </a:endParaRPr>
          </a:p>
        </p:txBody>
      </p:sp>
      <p:sp>
        <p:nvSpPr>
          <p:cNvPr id="83" name="Freeform: Shape 82">
            <a:extLst>
              <a:ext uri="{FF2B5EF4-FFF2-40B4-BE49-F238E27FC236}">
                <a16:creationId xmlns:a16="http://schemas.microsoft.com/office/drawing/2014/main" id="{1FBBD76E-EE5E-4839-90E8-D63E830D8135}"/>
              </a:ext>
            </a:extLst>
          </p:cNvPr>
          <p:cNvSpPr/>
          <p:nvPr/>
        </p:nvSpPr>
        <p:spPr>
          <a:xfrm>
            <a:off x="11175692" y="1969289"/>
            <a:ext cx="630267" cy="429146"/>
          </a:xfrm>
          <a:custGeom>
            <a:avLst/>
            <a:gdLst>
              <a:gd name="connsiteX0" fmla="*/ 0 w 1724351"/>
              <a:gd name="connsiteY0" fmla="*/ 0 h 429146"/>
              <a:gd name="connsiteX1" fmla="*/ 1724351 w 1724351"/>
              <a:gd name="connsiteY1" fmla="*/ 0 h 429146"/>
              <a:gd name="connsiteX2" fmla="*/ 1724351 w 1724351"/>
              <a:gd name="connsiteY2" fmla="*/ 429146 h 429146"/>
              <a:gd name="connsiteX3" fmla="*/ 0 w 1724351"/>
              <a:gd name="connsiteY3" fmla="*/ 429146 h 429146"/>
              <a:gd name="connsiteX4" fmla="*/ 0 w 1724351"/>
              <a:gd name="connsiteY4" fmla="*/ 0 h 429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51" h="429146">
                <a:moveTo>
                  <a:pt x="0" y="0"/>
                </a:moveTo>
                <a:lnTo>
                  <a:pt x="1724351" y="0"/>
                </a:lnTo>
                <a:lnTo>
                  <a:pt x="1724351" y="429146"/>
                </a:lnTo>
                <a:lnTo>
                  <a:pt x="0" y="4291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01600" bIns="0" numCol="1" spcCol="1270" anchor="ctr" anchorCtr="0">
            <a:noAutofit/>
          </a:bodyPr>
          <a:lstStyle/>
          <a:p>
            <a:pPr marL="0" lvl="0" indent="0" algn="l" defTabSz="711200">
              <a:lnSpc>
                <a:spcPct val="90000"/>
              </a:lnSpc>
              <a:spcBef>
                <a:spcPct val="0"/>
              </a:spcBef>
              <a:spcAft>
                <a:spcPct val="35000"/>
              </a:spcAft>
              <a:buNone/>
              <a:defRPr b="1"/>
            </a:pPr>
            <a:r>
              <a:rPr lang="en-US" sz="1600" kern="1200" dirty="0">
                <a:solidFill>
                  <a:schemeClr val="accent1"/>
                </a:solidFill>
              </a:rPr>
              <a:t>2020</a:t>
            </a:r>
          </a:p>
        </p:txBody>
      </p:sp>
      <p:sp>
        <p:nvSpPr>
          <p:cNvPr id="85" name="Straight Connector 84">
            <a:extLst>
              <a:ext uri="{FF2B5EF4-FFF2-40B4-BE49-F238E27FC236}">
                <a16:creationId xmlns:a16="http://schemas.microsoft.com/office/drawing/2014/main" id="{F8FB984E-657D-4905-B847-57F84C09E137}"/>
              </a:ext>
            </a:extLst>
          </p:cNvPr>
          <p:cNvSpPr/>
          <p:nvPr/>
        </p:nvSpPr>
        <p:spPr>
          <a:xfrm>
            <a:off x="10884878" y="2384460"/>
            <a:ext cx="0" cy="1221416"/>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txBody>
          <a:bodyPr/>
          <a:lstStyle/>
          <a:p>
            <a:endParaRPr lang="en-US"/>
          </a:p>
        </p:txBody>
      </p:sp>
      <p:sp>
        <p:nvSpPr>
          <p:cNvPr id="87" name="Teardrop 86">
            <a:extLst>
              <a:ext uri="{FF2B5EF4-FFF2-40B4-BE49-F238E27FC236}">
                <a16:creationId xmlns:a16="http://schemas.microsoft.com/office/drawing/2014/main" id="{8C0FA0E2-CB74-4181-A0A4-EB933DC552EC}"/>
              </a:ext>
            </a:extLst>
          </p:cNvPr>
          <p:cNvSpPr/>
          <p:nvPr/>
        </p:nvSpPr>
        <p:spPr>
          <a:xfrm rot="8100000">
            <a:off x="10737637" y="2056087"/>
            <a:ext cx="294482" cy="29448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89" name="Oval 88">
            <a:extLst>
              <a:ext uri="{FF2B5EF4-FFF2-40B4-BE49-F238E27FC236}">
                <a16:creationId xmlns:a16="http://schemas.microsoft.com/office/drawing/2014/main" id="{B4BCBD2C-D59C-43DC-B13D-B45CCF631714}"/>
              </a:ext>
            </a:extLst>
          </p:cNvPr>
          <p:cNvSpPr/>
          <p:nvPr/>
        </p:nvSpPr>
        <p:spPr>
          <a:xfrm>
            <a:off x="10846868" y="3567250"/>
            <a:ext cx="74962" cy="77246"/>
          </a:xfrm>
          <a:prstGeom prst="ellipse">
            <a:avLst/>
          </a:prstGeom>
          <a:solidFill>
            <a:schemeClr val="accent1">
              <a:hueOff val="0"/>
              <a:satOff val="0"/>
              <a:lumOff val="0"/>
              <a:alphaOff val="0"/>
            </a:schemeClr>
          </a:solidFill>
          <a:ln w="6350" cap="flat" cmpd="sng" algn="ctr">
            <a:noFill/>
            <a:prstDash val="solid"/>
          </a:ln>
          <a:effectLst/>
        </p:spPr>
        <p:style>
          <a:lnRef idx="2">
            <a:scrgbClr r="0" g="0" b="0"/>
          </a:lnRef>
          <a:fillRef idx="1">
            <a:scrgbClr r="0" g="0" b="0"/>
          </a:fillRef>
          <a:effectRef idx="0">
            <a:scrgbClr r="0" g="0" b="0"/>
          </a:effectRef>
          <a:fontRef idx="minor">
            <a:schemeClr val="lt1"/>
          </a:fontRef>
        </p:style>
        <p:txBody>
          <a:bodyPr/>
          <a:lstStyle/>
          <a:p>
            <a:endParaRPr lang="en-US"/>
          </a:p>
        </p:txBody>
      </p:sp>
      <p:sp>
        <p:nvSpPr>
          <p:cNvPr id="13" name="Rectangle: Rounded Corners 12">
            <a:extLst>
              <a:ext uri="{FF2B5EF4-FFF2-40B4-BE49-F238E27FC236}">
                <a16:creationId xmlns:a16="http://schemas.microsoft.com/office/drawing/2014/main" id="{3C0DD83D-C02B-4A95-ACA5-BA1CB36B48B6}"/>
              </a:ext>
            </a:extLst>
          </p:cNvPr>
          <p:cNvSpPr/>
          <p:nvPr/>
        </p:nvSpPr>
        <p:spPr bwMode="auto">
          <a:xfrm>
            <a:off x="6018445" y="4250168"/>
            <a:ext cx="1509471" cy="665826"/>
          </a:xfrm>
          <a:prstGeom prst="roundRect">
            <a:avLst/>
          </a:prstGeom>
          <a:gradFill flip="none" rotWithShape="1">
            <a:gsLst>
              <a:gs pos="74000">
                <a:schemeClr val="accent1">
                  <a:tint val="66000"/>
                  <a:satMod val="160000"/>
                  <a:alpha val="0"/>
                </a:schemeClr>
              </a:gs>
              <a:gs pos="88000">
                <a:schemeClr val="accent1">
                  <a:tint val="44500"/>
                  <a:satMod val="160000"/>
                </a:schemeClr>
              </a:gs>
              <a:gs pos="100000">
                <a:schemeClr val="accent1">
                  <a:tint val="23500"/>
                  <a:satMod val="160000"/>
                </a:schemeClr>
              </a:gs>
            </a:gsLst>
            <a:lin ang="5400000" scaled="1"/>
            <a:tileRect/>
          </a:gra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025210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07085A2-4FBE-421E-A332-5449E2F44450}"/>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ysClr val="windowText" lastClr="000000"/>
                    </a:gs>
                    <a:gs pos="100000">
                      <a:sysClr val="windowText" lastClr="000000"/>
                    </a:gs>
                  </a:gsLst>
                  <a:lin ang="5400000" scaled="0"/>
                </a:gradFill>
                <a:effectLst/>
                <a:uLnTx/>
                <a:uFillTx/>
                <a:latin typeface="Segoe UI Semibold"/>
                <a:ea typeface="+mn-ea"/>
                <a:cs typeface="Segoe UI" pitchFamily="34" charset="0"/>
              </a:rPr>
              <a:t>Azure SQL Family</a:t>
            </a:r>
          </a:p>
        </p:txBody>
      </p:sp>
      <p:pic>
        <p:nvPicPr>
          <p:cNvPr id="13" name="Picture 12">
            <a:extLst>
              <a:ext uri="{FF2B5EF4-FFF2-40B4-BE49-F238E27FC236}">
                <a16:creationId xmlns:a16="http://schemas.microsoft.com/office/drawing/2014/main" id="{DDBFF6E5-8EEB-4AF2-AE55-05C2F96FF20C}"/>
              </a:ext>
            </a:extLst>
          </p:cNvPr>
          <p:cNvPicPr>
            <a:picLocks noChangeAspect="1"/>
          </p:cNvPicPr>
          <p:nvPr/>
        </p:nvPicPr>
        <p:blipFill>
          <a:blip r:embed="rId3"/>
          <a:stretch>
            <a:fillRect/>
          </a:stretch>
        </p:blipFill>
        <p:spPr>
          <a:xfrm>
            <a:off x="811251" y="1847127"/>
            <a:ext cx="10795532" cy="316374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1751731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Azure SQL Database Architecture</a:t>
            </a:r>
          </a:p>
        </p:txBody>
      </p:sp>
      <p:graphicFrame>
        <p:nvGraphicFramePr>
          <p:cNvPr id="54" name="Content Placeholder 53" descr="Client Layer&#10; Used by the application to communicate directly with Azure SQL Database.&#10;Services Layer&#10; Gateway between Client Layer and Platform Layer.&#10;Platform Layer&#10; Includes physical servers and services that support the Services Layer.&#10;Infrastructure Layer&#10; IT administration of the physical hardware and operating system.&#10;">
            <a:extLst>
              <a:ext uri="{FF2B5EF4-FFF2-40B4-BE49-F238E27FC236}">
                <a16:creationId xmlns:a16="http://schemas.microsoft.com/office/drawing/2014/main" id="{C48F65C3-D79D-423B-9670-51D674871622}"/>
              </a:ext>
            </a:extLst>
          </p:cNvPr>
          <p:cNvGraphicFramePr>
            <a:graphicFrameLocks noGrp="1"/>
          </p:cNvGraphicFramePr>
          <p:nvPr>
            <p:ph sz="quarter" idx="13"/>
            <p:extLst>
              <p:ext uri="{D42A27DB-BD31-4B8C-83A1-F6EECF244321}">
                <p14:modId xmlns:p14="http://schemas.microsoft.com/office/powerpoint/2010/main" val="3330791755"/>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5" name="Rectangle 54">
            <a:extLst>
              <a:ext uri="{FF2B5EF4-FFF2-40B4-BE49-F238E27FC236}">
                <a16:creationId xmlns:a16="http://schemas.microsoft.com/office/drawing/2014/main" id="{747606A0-2B23-4DF6-8A08-97560A351072}"/>
              </a:ext>
            </a:extLst>
          </p:cNvPr>
          <p:cNvSpPr/>
          <p:nvPr/>
        </p:nvSpPr>
        <p:spPr bwMode="auto">
          <a:xfrm>
            <a:off x="7266749" y="6494713"/>
            <a:ext cx="3976070" cy="235894"/>
          </a:xfrm>
          <a:prstGeom prst="rect">
            <a:avLst/>
          </a:prstGeom>
          <a:solidFill>
            <a:srgbClr val="00188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Infrastructure Layer</a:t>
            </a:r>
          </a:p>
        </p:txBody>
      </p:sp>
      <p:grpSp>
        <p:nvGrpSpPr>
          <p:cNvPr id="56" name="Group 55">
            <a:extLst>
              <a:ext uri="{FF2B5EF4-FFF2-40B4-BE49-F238E27FC236}">
                <a16:creationId xmlns:a16="http://schemas.microsoft.com/office/drawing/2014/main" id="{BA407A25-461E-4AE4-96A4-99943EFFFCD9}"/>
              </a:ext>
            </a:extLst>
          </p:cNvPr>
          <p:cNvGrpSpPr/>
          <p:nvPr/>
        </p:nvGrpSpPr>
        <p:grpSpPr>
          <a:xfrm>
            <a:off x="7315200" y="1408114"/>
            <a:ext cx="3976070" cy="1227761"/>
            <a:chOff x="7517245" y="738821"/>
            <a:chExt cx="3976070" cy="1227761"/>
          </a:xfrm>
        </p:grpSpPr>
        <p:sp>
          <p:nvSpPr>
            <p:cNvPr id="57" name="Rectangle 56">
              <a:extLst>
                <a:ext uri="{FF2B5EF4-FFF2-40B4-BE49-F238E27FC236}">
                  <a16:creationId xmlns:a16="http://schemas.microsoft.com/office/drawing/2014/main" id="{FB73061C-5E4A-4965-95EE-6439FD6C9D73}"/>
                </a:ext>
              </a:extLst>
            </p:cNvPr>
            <p:cNvSpPr/>
            <p:nvPr/>
          </p:nvSpPr>
          <p:spPr bwMode="auto">
            <a:xfrm>
              <a:off x="7517245" y="914037"/>
              <a:ext cx="932688" cy="470693"/>
            </a:xfrm>
            <a:prstGeom prst="rect">
              <a:avLst/>
            </a:prstGeom>
            <a:solidFill>
              <a:schemeClr val="tx2"/>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Segoe UI"/>
                  <a:ea typeface="+mn-ea"/>
                  <a:cs typeface="+mn-cs"/>
                </a:rPr>
                <a:t>PHP</a:t>
              </a:r>
            </a:p>
          </p:txBody>
        </p:sp>
        <p:sp>
          <p:nvSpPr>
            <p:cNvPr id="58" name="Rectangle 57">
              <a:extLst>
                <a:ext uri="{FF2B5EF4-FFF2-40B4-BE49-F238E27FC236}">
                  <a16:creationId xmlns:a16="http://schemas.microsoft.com/office/drawing/2014/main" id="{EC1541C1-3007-4CFC-A436-AD7154289FF6}"/>
                </a:ext>
              </a:extLst>
            </p:cNvPr>
            <p:cNvSpPr/>
            <p:nvPr/>
          </p:nvSpPr>
          <p:spPr bwMode="auto">
            <a:xfrm>
              <a:off x="10377054" y="914037"/>
              <a:ext cx="1116261" cy="470693"/>
            </a:xfrm>
            <a:prstGeom prst="rect">
              <a:avLst/>
            </a:prstGeom>
            <a:solidFill>
              <a:schemeClr val="tx2"/>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Segoe UI"/>
                  <a:ea typeface="+mn-ea"/>
                  <a:cs typeface="+mn-cs"/>
                </a:rPr>
                <a:t>WCF Data Services</a:t>
              </a:r>
            </a:p>
          </p:txBody>
        </p:sp>
        <p:sp>
          <p:nvSpPr>
            <p:cNvPr id="59" name="Rectangle 58">
              <a:extLst>
                <a:ext uri="{FF2B5EF4-FFF2-40B4-BE49-F238E27FC236}">
                  <a16:creationId xmlns:a16="http://schemas.microsoft.com/office/drawing/2014/main" id="{77CD6547-4B2E-400E-8244-9E267C5D60D5}"/>
                </a:ext>
              </a:extLst>
            </p:cNvPr>
            <p:cNvSpPr/>
            <p:nvPr/>
          </p:nvSpPr>
          <p:spPr bwMode="auto">
            <a:xfrm>
              <a:off x="8556152" y="914037"/>
              <a:ext cx="1714683" cy="470693"/>
            </a:xfrm>
            <a:prstGeom prst="rect">
              <a:avLst/>
            </a:prstGeom>
            <a:solidFill>
              <a:schemeClr val="tx2"/>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Segoe UI"/>
                  <a:ea typeface="+mn-ea"/>
                  <a:cs typeface="+mn-cs"/>
                </a:rPr>
                <a:t>SQL Server</a:t>
              </a:r>
            </a:p>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Segoe UI"/>
                  <a:ea typeface="+mn-ea"/>
                  <a:cs typeface="+mn-cs"/>
                </a:rPr>
                <a:t>Applications and Tools</a:t>
              </a:r>
            </a:p>
          </p:txBody>
        </p:sp>
        <p:sp>
          <p:nvSpPr>
            <p:cNvPr id="60" name="Rectangle 59">
              <a:extLst>
                <a:ext uri="{FF2B5EF4-FFF2-40B4-BE49-F238E27FC236}">
                  <a16:creationId xmlns:a16="http://schemas.microsoft.com/office/drawing/2014/main" id="{0812796B-F516-4713-89BD-7655B3F1DD9C}"/>
                </a:ext>
              </a:extLst>
            </p:cNvPr>
            <p:cNvSpPr/>
            <p:nvPr/>
          </p:nvSpPr>
          <p:spPr bwMode="auto">
            <a:xfrm>
              <a:off x="7517245" y="1439373"/>
              <a:ext cx="2005446" cy="235894"/>
            </a:xfrm>
            <a:prstGeom prst="rect">
              <a:avLst/>
            </a:prstGeom>
            <a:solidFill>
              <a:schemeClr val="tx2"/>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Segoe UI"/>
                  <a:ea typeface="+mn-ea"/>
                  <a:cs typeface="+mn-cs"/>
                </a:rPr>
                <a:t>ODBC/JDBC</a:t>
              </a:r>
            </a:p>
          </p:txBody>
        </p:sp>
        <p:sp>
          <p:nvSpPr>
            <p:cNvPr id="61" name="Rectangle 60">
              <a:extLst>
                <a:ext uri="{FF2B5EF4-FFF2-40B4-BE49-F238E27FC236}">
                  <a16:creationId xmlns:a16="http://schemas.microsoft.com/office/drawing/2014/main" id="{DBDDD30F-767B-4AD7-BB1B-674F5AE05746}"/>
                </a:ext>
              </a:extLst>
            </p:cNvPr>
            <p:cNvSpPr/>
            <p:nvPr/>
          </p:nvSpPr>
          <p:spPr bwMode="auto">
            <a:xfrm>
              <a:off x="9642764" y="1439373"/>
              <a:ext cx="1850551" cy="235894"/>
            </a:xfrm>
            <a:prstGeom prst="rect">
              <a:avLst/>
            </a:prstGeom>
            <a:solidFill>
              <a:schemeClr val="tx2"/>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Segoe UI"/>
                  <a:ea typeface="+mn-ea"/>
                  <a:cs typeface="+mn-cs"/>
                </a:rPr>
                <a:t>ADO.NET</a:t>
              </a:r>
            </a:p>
          </p:txBody>
        </p:sp>
        <p:sp>
          <p:nvSpPr>
            <p:cNvPr id="62" name="Rectangle 61">
              <a:extLst>
                <a:ext uri="{FF2B5EF4-FFF2-40B4-BE49-F238E27FC236}">
                  <a16:creationId xmlns:a16="http://schemas.microsoft.com/office/drawing/2014/main" id="{3582FCDD-D067-4292-B045-EBCE44198B6B}"/>
                </a:ext>
              </a:extLst>
            </p:cNvPr>
            <p:cNvSpPr/>
            <p:nvPr/>
          </p:nvSpPr>
          <p:spPr bwMode="auto">
            <a:xfrm>
              <a:off x="7517245" y="1730688"/>
              <a:ext cx="3976070" cy="235894"/>
            </a:xfrm>
            <a:prstGeom prst="rect">
              <a:avLst/>
            </a:prstGeom>
            <a:solidFill>
              <a:schemeClr val="tx2"/>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Segoe UI"/>
                  <a:ea typeface="+mn-ea"/>
                  <a:cs typeface="+mn-cs"/>
                </a:rPr>
                <a:t>Tabular Data Stream (TDS)</a:t>
              </a:r>
            </a:p>
          </p:txBody>
        </p:sp>
        <p:sp>
          <p:nvSpPr>
            <p:cNvPr id="63" name="TextBox 62">
              <a:extLst>
                <a:ext uri="{FF2B5EF4-FFF2-40B4-BE49-F238E27FC236}">
                  <a16:creationId xmlns:a16="http://schemas.microsoft.com/office/drawing/2014/main" id="{F5715939-6CB8-4033-8529-C055A0616A56}"/>
                </a:ext>
              </a:extLst>
            </p:cNvPr>
            <p:cNvSpPr txBox="1"/>
            <p:nvPr/>
          </p:nvSpPr>
          <p:spPr>
            <a:xfrm>
              <a:off x="9144049" y="738821"/>
              <a:ext cx="708527" cy="138499"/>
            </a:xfrm>
            <a:prstGeom prst="rect">
              <a:avLst/>
            </a:prstGeom>
            <a:noFill/>
          </p:spPr>
          <p:txBody>
            <a:bodyPr wrap="none" lIns="0" tIns="0" rIns="0" bIns="0" rtlCol="0">
              <a:spAutoFit/>
            </a:bodyPr>
            <a:lstStyle/>
            <a:p>
              <a:pPr marL="0" marR="0" lvl="0" indent="0" algn="l" defTabSz="914363" rtl="0" eaLnBrk="0" fontAlgn="base" latinLnBrk="0" hangingPunct="0">
                <a:lnSpc>
                  <a:spcPct val="90000"/>
                </a:lnSpc>
                <a:spcBef>
                  <a:spcPct val="20000"/>
                </a:spcBef>
                <a:spcAft>
                  <a:spcPct val="0"/>
                </a:spcAft>
                <a:buClrTx/>
                <a:buSzPct val="80000"/>
                <a:buFontTx/>
                <a:buNone/>
                <a:tabLst/>
                <a:defRPr/>
              </a:pPr>
              <a:r>
                <a:rPr kumimoji="0" lang="en-US" sz="1000" b="1"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Client Layer</a:t>
              </a:r>
              <a:endParaRPr kumimoji="0" lang="en-US" sz="1200" b="1"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endParaRPr>
            </a:p>
          </p:txBody>
        </p:sp>
      </p:grpSp>
      <p:grpSp>
        <p:nvGrpSpPr>
          <p:cNvPr id="64" name="Group 63">
            <a:extLst>
              <a:ext uri="{FF2B5EF4-FFF2-40B4-BE49-F238E27FC236}">
                <a16:creationId xmlns:a16="http://schemas.microsoft.com/office/drawing/2014/main" id="{B60E1C67-7087-4C61-8B0D-8E06B4F2DE2C}"/>
              </a:ext>
            </a:extLst>
          </p:cNvPr>
          <p:cNvGrpSpPr/>
          <p:nvPr/>
        </p:nvGrpSpPr>
        <p:grpSpPr>
          <a:xfrm>
            <a:off x="7266749" y="2603912"/>
            <a:ext cx="3976070" cy="1979314"/>
            <a:chOff x="7517245" y="2243104"/>
            <a:chExt cx="3976070" cy="1994074"/>
          </a:xfrm>
        </p:grpSpPr>
        <p:cxnSp>
          <p:nvCxnSpPr>
            <p:cNvPr id="65" name="Straight Connector 64">
              <a:extLst>
                <a:ext uri="{FF2B5EF4-FFF2-40B4-BE49-F238E27FC236}">
                  <a16:creationId xmlns:a16="http://schemas.microsoft.com/office/drawing/2014/main" id="{6C96FAD3-6D0C-4A9F-99B6-8ECB6F1B0492}"/>
                </a:ext>
              </a:extLst>
            </p:cNvPr>
            <p:cNvCxnSpPr/>
            <p:nvPr/>
          </p:nvCxnSpPr>
          <p:spPr>
            <a:xfrm>
              <a:off x="7517245" y="2382991"/>
              <a:ext cx="3976070" cy="0"/>
            </a:xfrm>
            <a:prstGeom prst="line">
              <a:avLst/>
            </a:prstGeom>
            <a:noFill/>
            <a:ln w="9525" cap="flat" cmpd="sng" algn="ctr">
              <a:solidFill>
                <a:sysClr val="window" lastClr="FFFFFF"/>
              </a:solidFill>
              <a:prstDash val="dash"/>
            </a:ln>
            <a:effectLst/>
          </p:spPr>
        </p:cxnSp>
        <p:sp>
          <p:nvSpPr>
            <p:cNvPr id="66" name="Rectangle 65">
              <a:extLst>
                <a:ext uri="{FF2B5EF4-FFF2-40B4-BE49-F238E27FC236}">
                  <a16:creationId xmlns:a16="http://schemas.microsoft.com/office/drawing/2014/main" id="{54A45738-1FC9-45E7-95B3-1BE2B327755E}"/>
                </a:ext>
              </a:extLst>
            </p:cNvPr>
            <p:cNvSpPr/>
            <p:nvPr/>
          </p:nvSpPr>
          <p:spPr bwMode="auto">
            <a:xfrm>
              <a:off x="7517245" y="2436086"/>
              <a:ext cx="3976070" cy="1801092"/>
            </a:xfrm>
            <a:prstGeom prst="rect">
              <a:avLst/>
            </a:prstGeom>
            <a:solidFill>
              <a:srgbClr val="00188F"/>
            </a:solidFill>
            <a:ln w="19050" cap="flat" cmpd="sng" algn="ctr">
              <a:noFill/>
              <a:prstDash val="solid"/>
              <a:headEnd type="none" w="med" len="med"/>
              <a:tailEnd type="none" w="med" len="med"/>
            </a:ln>
            <a:effectLst/>
          </p:spPr>
          <p:txBody>
            <a:bodyPr vert="horz" wrap="square" lIns="91436" tIns="45718" rIns="91436" bIns="45718" numCol="1" rtlCol="0" anchor="t"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Services Layer</a:t>
              </a:r>
            </a:p>
          </p:txBody>
        </p:sp>
        <p:sp>
          <p:nvSpPr>
            <p:cNvPr id="67" name="Rectangle 66">
              <a:extLst>
                <a:ext uri="{FF2B5EF4-FFF2-40B4-BE49-F238E27FC236}">
                  <a16:creationId xmlns:a16="http://schemas.microsoft.com/office/drawing/2014/main" id="{6380E3AE-3271-4960-BA0C-35CED4A56684}"/>
                </a:ext>
              </a:extLst>
            </p:cNvPr>
            <p:cNvSpPr/>
            <p:nvPr/>
          </p:nvSpPr>
          <p:spPr bwMode="auto">
            <a:xfrm>
              <a:off x="8959585" y="2714807"/>
              <a:ext cx="1091389" cy="1420185"/>
            </a:xfrm>
            <a:prstGeom prst="rect">
              <a:avLst/>
            </a:prstGeom>
            <a:solidFill>
              <a:srgbClr val="00BCF2"/>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endParaRPr>
            </a:p>
          </p:txBody>
        </p:sp>
        <p:sp>
          <p:nvSpPr>
            <p:cNvPr id="68" name="Rectangle 67">
              <a:extLst>
                <a:ext uri="{FF2B5EF4-FFF2-40B4-BE49-F238E27FC236}">
                  <a16:creationId xmlns:a16="http://schemas.microsoft.com/office/drawing/2014/main" id="{C0E5090B-FC07-4497-90E7-C95BE2CF0A3B}"/>
                </a:ext>
              </a:extLst>
            </p:cNvPr>
            <p:cNvSpPr/>
            <p:nvPr/>
          </p:nvSpPr>
          <p:spPr bwMode="auto">
            <a:xfrm>
              <a:off x="9048079" y="2810578"/>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Provisioning</a:t>
              </a:r>
            </a:p>
          </p:txBody>
        </p:sp>
        <p:sp>
          <p:nvSpPr>
            <p:cNvPr id="69" name="Rectangle 68">
              <a:extLst>
                <a:ext uri="{FF2B5EF4-FFF2-40B4-BE49-F238E27FC236}">
                  <a16:creationId xmlns:a16="http://schemas.microsoft.com/office/drawing/2014/main" id="{774F4AA7-F5B4-401B-835A-0098A4416DCE}"/>
                </a:ext>
              </a:extLst>
            </p:cNvPr>
            <p:cNvSpPr/>
            <p:nvPr/>
          </p:nvSpPr>
          <p:spPr bwMode="auto">
            <a:xfrm>
              <a:off x="9048079" y="3243128"/>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Billing and Metering</a:t>
              </a:r>
            </a:p>
          </p:txBody>
        </p:sp>
        <p:sp>
          <p:nvSpPr>
            <p:cNvPr id="70" name="Rectangle 69">
              <a:extLst>
                <a:ext uri="{FF2B5EF4-FFF2-40B4-BE49-F238E27FC236}">
                  <a16:creationId xmlns:a16="http://schemas.microsoft.com/office/drawing/2014/main" id="{8CCC36B1-E63D-47D2-8B99-010B8EAC5205}"/>
                </a:ext>
              </a:extLst>
            </p:cNvPr>
            <p:cNvSpPr/>
            <p:nvPr/>
          </p:nvSpPr>
          <p:spPr bwMode="auto">
            <a:xfrm>
              <a:off x="9048079" y="3672619"/>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Connection Routing</a:t>
              </a:r>
            </a:p>
          </p:txBody>
        </p:sp>
        <p:sp>
          <p:nvSpPr>
            <p:cNvPr id="71" name="Rectangle 70">
              <a:extLst>
                <a:ext uri="{FF2B5EF4-FFF2-40B4-BE49-F238E27FC236}">
                  <a16:creationId xmlns:a16="http://schemas.microsoft.com/office/drawing/2014/main" id="{CE425B89-0384-4AA4-86F3-471C53CB8BCC}"/>
                </a:ext>
              </a:extLst>
            </p:cNvPr>
            <p:cNvSpPr/>
            <p:nvPr/>
          </p:nvSpPr>
          <p:spPr bwMode="auto">
            <a:xfrm>
              <a:off x="10150997" y="2714807"/>
              <a:ext cx="1091389" cy="1420185"/>
            </a:xfrm>
            <a:prstGeom prst="rect">
              <a:avLst/>
            </a:prstGeom>
            <a:solidFill>
              <a:srgbClr val="00BCF2"/>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endParaRPr>
            </a:p>
          </p:txBody>
        </p:sp>
        <p:sp>
          <p:nvSpPr>
            <p:cNvPr id="72" name="Rectangle 71">
              <a:extLst>
                <a:ext uri="{FF2B5EF4-FFF2-40B4-BE49-F238E27FC236}">
                  <a16:creationId xmlns:a16="http://schemas.microsoft.com/office/drawing/2014/main" id="{2DF4E3B4-C903-4CD5-B851-4F441B5FDA35}"/>
                </a:ext>
              </a:extLst>
            </p:cNvPr>
            <p:cNvSpPr/>
            <p:nvPr/>
          </p:nvSpPr>
          <p:spPr bwMode="auto">
            <a:xfrm>
              <a:off x="10239491" y="2810578"/>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Provisioning</a:t>
              </a:r>
            </a:p>
          </p:txBody>
        </p:sp>
        <p:sp>
          <p:nvSpPr>
            <p:cNvPr id="73" name="Rectangle 72">
              <a:extLst>
                <a:ext uri="{FF2B5EF4-FFF2-40B4-BE49-F238E27FC236}">
                  <a16:creationId xmlns:a16="http://schemas.microsoft.com/office/drawing/2014/main" id="{9E61FBB4-CE86-498C-98BF-D86BC1695842}"/>
                </a:ext>
              </a:extLst>
            </p:cNvPr>
            <p:cNvSpPr/>
            <p:nvPr/>
          </p:nvSpPr>
          <p:spPr bwMode="auto">
            <a:xfrm>
              <a:off x="10239491" y="3243128"/>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Billing and Metering</a:t>
              </a:r>
            </a:p>
          </p:txBody>
        </p:sp>
        <p:sp>
          <p:nvSpPr>
            <p:cNvPr id="74" name="Rectangle 73">
              <a:extLst>
                <a:ext uri="{FF2B5EF4-FFF2-40B4-BE49-F238E27FC236}">
                  <a16:creationId xmlns:a16="http://schemas.microsoft.com/office/drawing/2014/main" id="{478D36D4-A584-49E3-8BED-7058088ECB10}"/>
                </a:ext>
              </a:extLst>
            </p:cNvPr>
            <p:cNvSpPr/>
            <p:nvPr/>
          </p:nvSpPr>
          <p:spPr bwMode="auto">
            <a:xfrm>
              <a:off x="10239491" y="3672619"/>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Connection Routing</a:t>
              </a:r>
            </a:p>
          </p:txBody>
        </p:sp>
        <p:sp>
          <p:nvSpPr>
            <p:cNvPr id="75" name="Rectangle 74">
              <a:extLst>
                <a:ext uri="{FF2B5EF4-FFF2-40B4-BE49-F238E27FC236}">
                  <a16:creationId xmlns:a16="http://schemas.microsoft.com/office/drawing/2014/main" id="{985EC4A8-800F-4197-9126-8F027CF557EC}"/>
                </a:ext>
              </a:extLst>
            </p:cNvPr>
            <p:cNvSpPr/>
            <p:nvPr/>
          </p:nvSpPr>
          <p:spPr bwMode="auto">
            <a:xfrm>
              <a:off x="7754240" y="2714807"/>
              <a:ext cx="1091389" cy="1420185"/>
            </a:xfrm>
            <a:prstGeom prst="rect">
              <a:avLst/>
            </a:prstGeom>
            <a:solidFill>
              <a:srgbClr val="00BCF2"/>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endParaRPr>
            </a:p>
          </p:txBody>
        </p:sp>
        <p:sp>
          <p:nvSpPr>
            <p:cNvPr id="76" name="Rectangle 75">
              <a:extLst>
                <a:ext uri="{FF2B5EF4-FFF2-40B4-BE49-F238E27FC236}">
                  <a16:creationId xmlns:a16="http://schemas.microsoft.com/office/drawing/2014/main" id="{BE685DB3-CDEA-4098-BED1-31414DBC7D31}"/>
                </a:ext>
              </a:extLst>
            </p:cNvPr>
            <p:cNvSpPr/>
            <p:nvPr/>
          </p:nvSpPr>
          <p:spPr bwMode="auto">
            <a:xfrm>
              <a:off x="7842734" y="2810578"/>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Provisioning</a:t>
              </a:r>
            </a:p>
          </p:txBody>
        </p:sp>
        <p:sp>
          <p:nvSpPr>
            <p:cNvPr id="77" name="Rectangle 76">
              <a:extLst>
                <a:ext uri="{FF2B5EF4-FFF2-40B4-BE49-F238E27FC236}">
                  <a16:creationId xmlns:a16="http://schemas.microsoft.com/office/drawing/2014/main" id="{B8CDA129-5084-45E5-8422-8D924480652A}"/>
                </a:ext>
              </a:extLst>
            </p:cNvPr>
            <p:cNvSpPr/>
            <p:nvPr/>
          </p:nvSpPr>
          <p:spPr bwMode="auto">
            <a:xfrm>
              <a:off x="7842734" y="3243128"/>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Billing and Metering</a:t>
              </a:r>
            </a:p>
          </p:txBody>
        </p:sp>
        <p:sp>
          <p:nvSpPr>
            <p:cNvPr id="78" name="Rectangle 77">
              <a:extLst>
                <a:ext uri="{FF2B5EF4-FFF2-40B4-BE49-F238E27FC236}">
                  <a16:creationId xmlns:a16="http://schemas.microsoft.com/office/drawing/2014/main" id="{E7E90F08-9C71-4D0E-A06E-776988C70A15}"/>
                </a:ext>
              </a:extLst>
            </p:cNvPr>
            <p:cNvSpPr/>
            <p:nvPr/>
          </p:nvSpPr>
          <p:spPr bwMode="auto">
            <a:xfrm>
              <a:off x="7842734" y="3672619"/>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Connection Routing</a:t>
              </a:r>
            </a:p>
          </p:txBody>
        </p:sp>
        <p:sp>
          <p:nvSpPr>
            <p:cNvPr id="79" name="TextBox 78">
              <a:extLst>
                <a:ext uri="{FF2B5EF4-FFF2-40B4-BE49-F238E27FC236}">
                  <a16:creationId xmlns:a16="http://schemas.microsoft.com/office/drawing/2014/main" id="{4EF80F7B-DD48-4106-B228-E49EFE42CB44}"/>
                </a:ext>
              </a:extLst>
            </p:cNvPr>
            <p:cNvSpPr txBox="1"/>
            <p:nvPr/>
          </p:nvSpPr>
          <p:spPr>
            <a:xfrm>
              <a:off x="11286837" y="2839592"/>
              <a:ext cx="141064" cy="166199"/>
            </a:xfrm>
            <a:prstGeom prst="rect">
              <a:avLst/>
            </a:prstGeom>
            <a:noFill/>
          </p:spPr>
          <p:txBody>
            <a:bodyPr wrap="none" lIns="0" tIns="0" rIns="0" bIns="0" rtlCol="0">
              <a:spAutoFit/>
            </a:bodyPr>
            <a:lstStyle/>
            <a:p>
              <a:pPr marL="0" marR="0" lvl="0" indent="0" algn="l" defTabSz="914363" rtl="0" eaLnBrk="0" fontAlgn="base" latinLnBrk="0" hangingPunct="0">
                <a:lnSpc>
                  <a:spcPct val="90000"/>
                </a:lnSpc>
                <a:spcBef>
                  <a:spcPct val="20000"/>
                </a:spcBef>
                <a:spcAft>
                  <a:spcPct val="0"/>
                </a:spcAft>
                <a:buClrTx/>
                <a:buSzPct val="80000"/>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t>
              </a:r>
            </a:p>
          </p:txBody>
        </p:sp>
        <p:sp>
          <p:nvSpPr>
            <p:cNvPr id="80" name="TextBox 79">
              <a:extLst>
                <a:ext uri="{FF2B5EF4-FFF2-40B4-BE49-F238E27FC236}">
                  <a16:creationId xmlns:a16="http://schemas.microsoft.com/office/drawing/2014/main" id="{0213A3DD-B75A-4C93-AEAC-6C242636224E}"/>
                </a:ext>
              </a:extLst>
            </p:cNvPr>
            <p:cNvSpPr txBox="1"/>
            <p:nvPr/>
          </p:nvSpPr>
          <p:spPr>
            <a:xfrm>
              <a:off x="11286837" y="3296792"/>
              <a:ext cx="141064" cy="166199"/>
            </a:xfrm>
            <a:prstGeom prst="rect">
              <a:avLst/>
            </a:prstGeom>
            <a:noFill/>
          </p:spPr>
          <p:txBody>
            <a:bodyPr wrap="none" lIns="0" tIns="0" rIns="0" bIns="0" rtlCol="0">
              <a:spAutoFit/>
            </a:bodyPr>
            <a:lstStyle/>
            <a:p>
              <a:pPr marL="0" marR="0" lvl="0" indent="0" algn="l" defTabSz="914363" rtl="0" eaLnBrk="0" fontAlgn="base" latinLnBrk="0" hangingPunct="0">
                <a:lnSpc>
                  <a:spcPct val="90000"/>
                </a:lnSpc>
                <a:spcBef>
                  <a:spcPct val="20000"/>
                </a:spcBef>
                <a:spcAft>
                  <a:spcPct val="0"/>
                </a:spcAft>
                <a:buClrTx/>
                <a:buSzPct val="80000"/>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t>
              </a:r>
            </a:p>
          </p:txBody>
        </p:sp>
        <p:sp>
          <p:nvSpPr>
            <p:cNvPr id="81" name="TextBox 80">
              <a:extLst>
                <a:ext uri="{FF2B5EF4-FFF2-40B4-BE49-F238E27FC236}">
                  <a16:creationId xmlns:a16="http://schemas.microsoft.com/office/drawing/2014/main" id="{79B9BAA6-E34B-438A-B2AF-7F50D1F99A46}"/>
                </a:ext>
              </a:extLst>
            </p:cNvPr>
            <p:cNvSpPr txBox="1"/>
            <p:nvPr/>
          </p:nvSpPr>
          <p:spPr>
            <a:xfrm>
              <a:off x="11286837" y="3701633"/>
              <a:ext cx="141064" cy="166199"/>
            </a:xfrm>
            <a:prstGeom prst="rect">
              <a:avLst/>
            </a:prstGeom>
            <a:noFill/>
          </p:spPr>
          <p:txBody>
            <a:bodyPr wrap="none" lIns="0" tIns="0" rIns="0" bIns="0" rtlCol="0">
              <a:spAutoFit/>
            </a:bodyPr>
            <a:lstStyle/>
            <a:p>
              <a:pPr marL="0" marR="0" lvl="0" indent="0" algn="l" defTabSz="914363" rtl="0" eaLnBrk="0" fontAlgn="base" latinLnBrk="0" hangingPunct="0">
                <a:lnSpc>
                  <a:spcPct val="90000"/>
                </a:lnSpc>
                <a:spcBef>
                  <a:spcPct val="20000"/>
                </a:spcBef>
                <a:spcAft>
                  <a:spcPct val="0"/>
                </a:spcAft>
                <a:buClrTx/>
                <a:buSzPct val="80000"/>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t>
              </a:r>
            </a:p>
          </p:txBody>
        </p:sp>
        <p:cxnSp>
          <p:nvCxnSpPr>
            <p:cNvPr id="82" name="Straight Arrow Connector 81">
              <a:extLst>
                <a:ext uri="{FF2B5EF4-FFF2-40B4-BE49-F238E27FC236}">
                  <a16:creationId xmlns:a16="http://schemas.microsoft.com/office/drawing/2014/main" id="{E03EDDAD-4FF9-4AC2-BA9F-545F6F51202B}"/>
                </a:ext>
              </a:extLst>
            </p:cNvPr>
            <p:cNvCxnSpPr/>
            <p:nvPr/>
          </p:nvCxnSpPr>
          <p:spPr>
            <a:xfrm flipV="1">
              <a:off x="9534277" y="2243104"/>
              <a:ext cx="0" cy="243196"/>
            </a:xfrm>
            <a:prstGeom prst="straightConnector1">
              <a:avLst/>
            </a:prstGeom>
            <a:noFill/>
            <a:ln w="9525" cap="flat" cmpd="sng" algn="ctr">
              <a:solidFill>
                <a:sysClr val="window" lastClr="FFFFFF"/>
              </a:solidFill>
              <a:prstDash val="solid"/>
              <a:tailEnd type="oval"/>
            </a:ln>
            <a:effectLst/>
          </p:spPr>
        </p:cxnSp>
        <p:sp>
          <p:nvSpPr>
            <p:cNvPr id="83" name="TextBox 82">
              <a:extLst>
                <a:ext uri="{FF2B5EF4-FFF2-40B4-BE49-F238E27FC236}">
                  <a16:creationId xmlns:a16="http://schemas.microsoft.com/office/drawing/2014/main" id="{91BD5AD7-5586-4927-B65D-D758E2754C78}"/>
                </a:ext>
              </a:extLst>
            </p:cNvPr>
            <p:cNvSpPr txBox="1"/>
            <p:nvPr/>
          </p:nvSpPr>
          <p:spPr>
            <a:xfrm>
              <a:off x="9192500" y="2284295"/>
              <a:ext cx="512961" cy="138499"/>
            </a:xfrm>
            <a:prstGeom prst="rect">
              <a:avLst/>
            </a:prstGeom>
            <a:noFill/>
          </p:spPr>
          <p:txBody>
            <a:bodyPr wrap="none" lIns="0" tIns="0" rIns="0" bIns="0" rtlCol="0">
              <a:spAutoFit/>
            </a:bodyPr>
            <a:lstStyle/>
            <a:p>
              <a:pPr marL="0" marR="0" lvl="0" indent="0" algn="l" defTabSz="914363" rtl="0" eaLnBrk="0" fontAlgn="base" latinLnBrk="0" hangingPunct="0">
                <a:lnSpc>
                  <a:spcPct val="90000"/>
                </a:lnSpc>
                <a:spcBef>
                  <a:spcPct val="20000"/>
                </a:spcBef>
                <a:spcAft>
                  <a:spcPct val="0"/>
                </a:spcAft>
                <a:buClrTx/>
                <a:buSzPct val="80000"/>
                <a:buFontTx/>
                <a:buNone/>
                <a:tabLst/>
                <a:defRPr/>
              </a:pPr>
              <a:r>
                <a:rPr kumimoji="0" lang="en-US" sz="10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TDS+SSL</a:t>
              </a:r>
            </a:p>
          </p:txBody>
        </p:sp>
      </p:grpSp>
      <p:grpSp>
        <p:nvGrpSpPr>
          <p:cNvPr id="84" name="Group 83">
            <a:extLst>
              <a:ext uri="{FF2B5EF4-FFF2-40B4-BE49-F238E27FC236}">
                <a16:creationId xmlns:a16="http://schemas.microsoft.com/office/drawing/2014/main" id="{30FD832B-D7B2-4AD5-8E64-548D421FDC97}"/>
              </a:ext>
            </a:extLst>
          </p:cNvPr>
          <p:cNvGrpSpPr/>
          <p:nvPr/>
        </p:nvGrpSpPr>
        <p:grpSpPr>
          <a:xfrm>
            <a:off x="7266748" y="4621391"/>
            <a:ext cx="3976070" cy="1843248"/>
            <a:chOff x="7517244" y="4348917"/>
            <a:chExt cx="3976070" cy="1931810"/>
          </a:xfrm>
        </p:grpSpPr>
        <p:sp>
          <p:nvSpPr>
            <p:cNvPr id="85" name="Rectangle 84">
              <a:extLst>
                <a:ext uri="{FF2B5EF4-FFF2-40B4-BE49-F238E27FC236}">
                  <a16:creationId xmlns:a16="http://schemas.microsoft.com/office/drawing/2014/main" id="{5696D4C2-904B-4D7D-AAC8-FBA2416D5DC4}"/>
                </a:ext>
              </a:extLst>
            </p:cNvPr>
            <p:cNvSpPr/>
            <p:nvPr/>
          </p:nvSpPr>
          <p:spPr bwMode="auto">
            <a:xfrm>
              <a:off x="7517244" y="4348917"/>
              <a:ext cx="3976070" cy="1931810"/>
            </a:xfrm>
            <a:prstGeom prst="rect">
              <a:avLst/>
            </a:prstGeom>
            <a:solidFill>
              <a:srgbClr val="00188F"/>
            </a:solidFill>
            <a:ln w="19050" cap="flat" cmpd="sng" algn="ctr">
              <a:noFill/>
              <a:prstDash val="solid"/>
              <a:headEnd type="none" w="med" len="med"/>
              <a:tailEnd type="none" w="med" len="med"/>
            </a:ln>
            <a:effectLst/>
          </p:spPr>
          <p:txBody>
            <a:bodyPr vert="horz" wrap="square" lIns="91436" tIns="45718" rIns="91436" bIns="45718" numCol="1" rtlCol="0" anchor="t"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Platform Layer</a:t>
              </a:r>
            </a:p>
          </p:txBody>
        </p:sp>
        <p:sp>
          <p:nvSpPr>
            <p:cNvPr id="86" name="Rectangle 85">
              <a:extLst>
                <a:ext uri="{FF2B5EF4-FFF2-40B4-BE49-F238E27FC236}">
                  <a16:creationId xmlns:a16="http://schemas.microsoft.com/office/drawing/2014/main" id="{ACD85B16-BE03-412A-8714-64E4A97A5105}"/>
                </a:ext>
              </a:extLst>
            </p:cNvPr>
            <p:cNvSpPr/>
            <p:nvPr/>
          </p:nvSpPr>
          <p:spPr bwMode="auto">
            <a:xfrm>
              <a:off x="8959584" y="4645139"/>
              <a:ext cx="1091389" cy="1420185"/>
            </a:xfrm>
            <a:prstGeom prst="rect">
              <a:avLst/>
            </a:prstGeom>
            <a:solidFill>
              <a:srgbClr val="00BCF2"/>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endParaRPr>
            </a:p>
          </p:txBody>
        </p:sp>
        <p:sp>
          <p:nvSpPr>
            <p:cNvPr id="87" name="Rectangle 86">
              <a:extLst>
                <a:ext uri="{FF2B5EF4-FFF2-40B4-BE49-F238E27FC236}">
                  <a16:creationId xmlns:a16="http://schemas.microsoft.com/office/drawing/2014/main" id="{5E6B2839-F85C-4452-9399-6AD9E1020D0F}"/>
                </a:ext>
              </a:extLst>
            </p:cNvPr>
            <p:cNvSpPr/>
            <p:nvPr/>
          </p:nvSpPr>
          <p:spPr bwMode="auto">
            <a:xfrm>
              <a:off x="9048078" y="4740910"/>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SQL Server</a:t>
              </a:r>
            </a:p>
          </p:txBody>
        </p:sp>
        <p:sp>
          <p:nvSpPr>
            <p:cNvPr id="88" name="Rectangle 87">
              <a:extLst>
                <a:ext uri="{FF2B5EF4-FFF2-40B4-BE49-F238E27FC236}">
                  <a16:creationId xmlns:a16="http://schemas.microsoft.com/office/drawing/2014/main" id="{A2E60896-0A53-42D4-BC30-B2B941227BEA}"/>
                </a:ext>
              </a:extLst>
            </p:cNvPr>
            <p:cNvSpPr/>
            <p:nvPr/>
          </p:nvSpPr>
          <p:spPr bwMode="auto">
            <a:xfrm>
              <a:off x="9048078" y="5173460"/>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SQL Database Fabric</a:t>
              </a:r>
            </a:p>
          </p:txBody>
        </p:sp>
        <p:sp>
          <p:nvSpPr>
            <p:cNvPr id="89" name="Rectangle 88">
              <a:extLst>
                <a:ext uri="{FF2B5EF4-FFF2-40B4-BE49-F238E27FC236}">
                  <a16:creationId xmlns:a16="http://schemas.microsoft.com/office/drawing/2014/main" id="{A82254DC-F1EF-46A0-A841-3634D7C3D869}"/>
                </a:ext>
              </a:extLst>
            </p:cNvPr>
            <p:cNvSpPr/>
            <p:nvPr/>
          </p:nvSpPr>
          <p:spPr bwMode="auto">
            <a:xfrm>
              <a:off x="9048078" y="5602951"/>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Management Services</a:t>
              </a:r>
            </a:p>
          </p:txBody>
        </p:sp>
        <p:sp>
          <p:nvSpPr>
            <p:cNvPr id="90" name="Rectangle 89">
              <a:extLst>
                <a:ext uri="{FF2B5EF4-FFF2-40B4-BE49-F238E27FC236}">
                  <a16:creationId xmlns:a16="http://schemas.microsoft.com/office/drawing/2014/main" id="{9AF47F4B-74F0-4825-AFC7-DEFE04FF27E6}"/>
                </a:ext>
              </a:extLst>
            </p:cNvPr>
            <p:cNvSpPr/>
            <p:nvPr/>
          </p:nvSpPr>
          <p:spPr bwMode="auto">
            <a:xfrm>
              <a:off x="10150996" y="4636189"/>
              <a:ext cx="1091389" cy="1420185"/>
            </a:xfrm>
            <a:prstGeom prst="rect">
              <a:avLst/>
            </a:prstGeom>
            <a:solidFill>
              <a:srgbClr val="00BCF2"/>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endParaRPr>
            </a:p>
          </p:txBody>
        </p:sp>
        <p:sp>
          <p:nvSpPr>
            <p:cNvPr id="91" name="Rectangle 90">
              <a:extLst>
                <a:ext uri="{FF2B5EF4-FFF2-40B4-BE49-F238E27FC236}">
                  <a16:creationId xmlns:a16="http://schemas.microsoft.com/office/drawing/2014/main" id="{25A0B94C-9873-427F-8800-108DF9697B8C}"/>
                </a:ext>
              </a:extLst>
            </p:cNvPr>
            <p:cNvSpPr/>
            <p:nvPr/>
          </p:nvSpPr>
          <p:spPr bwMode="auto">
            <a:xfrm>
              <a:off x="10239490" y="4731960"/>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SQL Server</a:t>
              </a:r>
            </a:p>
          </p:txBody>
        </p:sp>
        <p:sp>
          <p:nvSpPr>
            <p:cNvPr id="92" name="Rectangle 91">
              <a:extLst>
                <a:ext uri="{FF2B5EF4-FFF2-40B4-BE49-F238E27FC236}">
                  <a16:creationId xmlns:a16="http://schemas.microsoft.com/office/drawing/2014/main" id="{E2CF6EFF-4D92-4162-AFEB-86F42CB5416B}"/>
                </a:ext>
              </a:extLst>
            </p:cNvPr>
            <p:cNvSpPr/>
            <p:nvPr/>
          </p:nvSpPr>
          <p:spPr bwMode="auto">
            <a:xfrm>
              <a:off x="10239490" y="5164510"/>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SQL Database Fabric</a:t>
              </a:r>
            </a:p>
          </p:txBody>
        </p:sp>
        <p:sp>
          <p:nvSpPr>
            <p:cNvPr id="93" name="Rectangle 92">
              <a:extLst>
                <a:ext uri="{FF2B5EF4-FFF2-40B4-BE49-F238E27FC236}">
                  <a16:creationId xmlns:a16="http://schemas.microsoft.com/office/drawing/2014/main" id="{34CF7201-2CD8-46D0-A71B-898372D3B355}"/>
                </a:ext>
              </a:extLst>
            </p:cNvPr>
            <p:cNvSpPr/>
            <p:nvPr/>
          </p:nvSpPr>
          <p:spPr bwMode="auto">
            <a:xfrm>
              <a:off x="10239490" y="5594001"/>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Management Services</a:t>
              </a:r>
            </a:p>
          </p:txBody>
        </p:sp>
        <p:sp>
          <p:nvSpPr>
            <p:cNvPr id="94" name="Rectangle 93">
              <a:extLst>
                <a:ext uri="{FF2B5EF4-FFF2-40B4-BE49-F238E27FC236}">
                  <a16:creationId xmlns:a16="http://schemas.microsoft.com/office/drawing/2014/main" id="{755B984D-68AC-453C-A996-722B9CB8FC1F}"/>
                </a:ext>
              </a:extLst>
            </p:cNvPr>
            <p:cNvSpPr/>
            <p:nvPr/>
          </p:nvSpPr>
          <p:spPr bwMode="auto">
            <a:xfrm>
              <a:off x="7754240" y="4645139"/>
              <a:ext cx="1091389" cy="1420185"/>
            </a:xfrm>
            <a:prstGeom prst="rect">
              <a:avLst/>
            </a:prstGeom>
            <a:solidFill>
              <a:srgbClr val="00BCF2"/>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endParaRPr>
            </a:p>
          </p:txBody>
        </p:sp>
        <p:sp>
          <p:nvSpPr>
            <p:cNvPr id="95" name="Rectangle 94">
              <a:extLst>
                <a:ext uri="{FF2B5EF4-FFF2-40B4-BE49-F238E27FC236}">
                  <a16:creationId xmlns:a16="http://schemas.microsoft.com/office/drawing/2014/main" id="{ECF4085B-140B-4B8E-B133-CEF11CFFFE84}"/>
                </a:ext>
              </a:extLst>
            </p:cNvPr>
            <p:cNvSpPr/>
            <p:nvPr/>
          </p:nvSpPr>
          <p:spPr bwMode="auto">
            <a:xfrm>
              <a:off x="7842734" y="4740910"/>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SQL Server</a:t>
              </a:r>
            </a:p>
          </p:txBody>
        </p:sp>
        <p:sp>
          <p:nvSpPr>
            <p:cNvPr id="96" name="Rectangle 95">
              <a:extLst>
                <a:ext uri="{FF2B5EF4-FFF2-40B4-BE49-F238E27FC236}">
                  <a16:creationId xmlns:a16="http://schemas.microsoft.com/office/drawing/2014/main" id="{E1854818-2BB4-4C7A-BB1A-361852ACDB16}"/>
                </a:ext>
              </a:extLst>
            </p:cNvPr>
            <p:cNvSpPr/>
            <p:nvPr/>
          </p:nvSpPr>
          <p:spPr bwMode="auto">
            <a:xfrm>
              <a:off x="7842734" y="5173460"/>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SQL Database Fabric</a:t>
              </a:r>
            </a:p>
          </p:txBody>
        </p:sp>
        <p:sp>
          <p:nvSpPr>
            <p:cNvPr id="97" name="Rectangle 96">
              <a:extLst>
                <a:ext uri="{FF2B5EF4-FFF2-40B4-BE49-F238E27FC236}">
                  <a16:creationId xmlns:a16="http://schemas.microsoft.com/office/drawing/2014/main" id="{C1AD4345-04BA-445B-868D-AE39E0228B1F}"/>
                </a:ext>
              </a:extLst>
            </p:cNvPr>
            <p:cNvSpPr/>
            <p:nvPr/>
          </p:nvSpPr>
          <p:spPr bwMode="auto">
            <a:xfrm>
              <a:off x="7842734" y="5602951"/>
              <a:ext cx="914400" cy="354595"/>
            </a:xfrm>
            <a:prstGeom prst="rect">
              <a:avLst/>
            </a:prstGeom>
            <a:solidFill>
              <a:sysClr val="window" lastClr="FFFFFF"/>
            </a:solidFill>
            <a:ln w="1905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gradFill>
                    <a:gsLst>
                      <a:gs pos="0">
                        <a:srgbClr val="292929"/>
                      </a:gs>
                      <a:gs pos="100000">
                        <a:srgbClr val="292929"/>
                      </a:gs>
                    </a:gsLst>
                    <a:lin ang="5400000" scaled="0"/>
                  </a:gradFill>
                  <a:effectLst/>
                  <a:uLnTx/>
                  <a:uFillTx/>
                  <a:latin typeface="Segoe UI"/>
                  <a:ea typeface="+mn-ea"/>
                  <a:cs typeface="+mn-cs"/>
                </a:rPr>
                <a:t>Management Services</a:t>
              </a:r>
            </a:p>
          </p:txBody>
        </p:sp>
        <p:sp>
          <p:nvSpPr>
            <p:cNvPr id="98" name="TextBox 97">
              <a:extLst>
                <a:ext uri="{FF2B5EF4-FFF2-40B4-BE49-F238E27FC236}">
                  <a16:creationId xmlns:a16="http://schemas.microsoft.com/office/drawing/2014/main" id="{57F3DAB1-0EB6-4863-997F-8CDB760BE924}"/>
                </a:ext>
              </a:extLst>
            </p:cNvPr>
            <p:cNvSpPr txBox="1"/>
            <p:nvPr/>
          </p:nvSpPr>
          <p:spPr>
            <a:xfrm>
              <a:off x="11286837" y="4826157"/>
              <a:ext cx="141064" cy="166199"/>
            </a:xfrm>
            <a:prstGeom prst="rect">
              <a:avLst/>
            </a:prstGeom>
            <a:noFill/>
          </p:spPr>
          <p:txBody>
            <a:bodyPr wrap="none" lIns="0" tIns="0" rIns="0" bIns="0" rtlCol="0">
              <a:spAutoFit/>
            </a:bodyPr>
            <a:lstStyle/>
            <a:p>
              <a:pPr marL="0" marR="0" lvl="0" indent="0" algn="l" defTabSz="914363" rtl="0" eaLnBrk="0" fontAlgn="base" latinLnBrk="0" hangingPunct="0">
                <a:lnSpc>
                  <a:spcPct val="90000"/>
                </a:lnSpc>
                <a:spcBef>
                  <a:spcPct val="20000"/>
                </a:spcBef>
                <a:spcAft>
                  <a:spcPct val="0"/>
                </a:spcAft>
                <a:buClrTx/>
                <a:buSzPct val="80000"/>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t>
              </a:r>
            </a:p>
          </p:txBody>
        </p:sp>
        <p:sp>
          <p:nvSpPr>
            <p:cNvPr id="99" name="TextBox 98">
              <a:extLst>
                <a:ext uri="{FF2B5EF4-FFF2-40B4-BE49-F238E27FC236}">
                  <a16:creationId xmlns:a16="http://schemas.microsoft.com/office/drawing/2014/main" id="{5A7E00B1-FC3F-4876-B8CB-F87653536CA3}"/>
                </a:ext>
              </a:extLst>
            </p:cNvPr>
            <p:cNvSpPr txBox="1"/>
            <p:nvPr/>
          </p:nvSpPr>
          <p:spPr>
            <a:xfrm>
              <a:off x="11286837" y="5272131"/>
              <a:ext cx="141064" cy="166199"/>
            </a:xfrm>
            <a:prstGeom prst="rect">
              <a:avLst/>
            </a:prstGeom>
            <a:noFill/>
          </p:spPr>
          <p:txBody>
            <a:bodyPr wrap="none" lIns="0" tIns="0" rIns="0" bIns="0" rtlCol="0">
              <a:spAutoFit/>
            </a:bodyPr>
            <a:lstStyle/>
            <a:p>
              <a:pPr marL="0" marR="0" lvl="0" indent="0" algn="l" defTabSz="914363" rtl="0" eaLnBrk="0" fontAlgn="base" latinLnBrk="0" hangingPunct="0">
                <a:lnSpc>
                  <a:spcPct val="90000"/>
                </a:lnSpc>
                <a:spcBef>
                  <a:spcPct val="20000"/>
                </a:spcBef>
                <a:spcAft>
                  <a:spcPct val="0"/>
                </a:spcAft>
                <a:buClrTx/>
                <a:buSzPct val="80000"/>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t>
              </a:r>
            </a:p>
          </p:txBody>
        </p:sp>
        <p:sp>
          <p:nvSpPr>
            <p:cNvPr id="100" name="TextBox 99">
              <a:extLst>
                <a:ext uri="{FF2B5EF4-FFF2-40B4-BE49-F238E27FC236}">
                  <a16:creationId xmlns:a16="http://schemas.microsoft.com/office/drawing/2014/main" id="{0B9D53A9-84B1-4D1A-9D1C-221FEBEA9B1A}"/>
                </a:ext>
              </a:extLst>
            </p:cNvPr>
            <p:cNvSpPr txBox="1"/>
            <p:nvPr/>
          </p:nvSpPr>
          <p:spPr>
            <a:xfrm>
              <a:off x="11298173" y="5697148"/>
              <a:ext cx="141064" cy="166199"/>
            </a:xfrm>
            <a:prstGeom prst="rect">
              <a:avLst/>
            </a:prstGeom>
            <a:noFill/>
          </p:spPr>
          <p:txBody>
            <a:bodyPr wrap="none" lIns="0" tIns="0" rIns="0" bIns="0" rtlCol="0">
              <a:spAutoFit/>
            </a:bodyPr>
            <a:lstStyle/>
            <a:p>
              <a:pPr marL="0" marR="0" lvl="0" indent="0" algn="l" defTabSz="914363" rtl="0" eaLnBrk="0" fontAlgn="base" latinLnBrk="0" hangingPunct="0">
                <a:lnSpc>
                  <a:spcPct val="90000"/>
                </a:lnSpc>
                <a:spcBef>
                  <a:spcPct val="20000"/>
                </a:spcBef>
                <a:spcAft>
                  <a:spcPct val="0"/>
                </a:spcAft>
                <a:buClrTx/>
                <a:buSzPct val="80000"/>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t>
              </a:r>
            </a:p>
          </p:txBody>
        </p:sp>
        <p:cxnSp>
          <p:nvCxnSpPr>
            <p:cNvPr id="101" name="Elbow Connector 97">
              <a:extLst>
                <a:ext uri="{FF2B5EF4-FFF2-40B4-BE49-F238E27FC236}">
                  <a16:creationId xmlns:a16="http://schemas.microsoft.com/office/drawing/2014/main" id="{A1850A7F-CFE2-414C-A013-C84246E32843}"/>
                </a:ext>
              </a:extLst>
            </p:cNvPr>
            <p:cNvCxnSpPr/>
            <p:nvPr/>
          </p:nvCxnSpPr>
          <p:spPr>
            <a:xfrm rot="5400000" flipH="1" flipV="1">
              <a:off x="9493838" y="4862471"/>
              <a:ext cx="8950" cy="2396756"/>
            </a:xfrm>
            <a:prstGeom prst="bentConnector3">
              <a:avLst>
                <a:gd name="adj1" fmla="val -1728592"/>
              </a:avLst>
            </a:prstGeom>
            <a:noFill/>
            <a:ln w="15875" cap="flat" cmpd="sng" algn="ctr">
              <a:solidFill>
                <a:schemeClr val="bg1"/>
              </a:solidFill>
              <a:prstDash val="solid"/>
              <a:headEnd type="triangle"/>
              <a:tailEnd type="triangle"/>
            </a:ln>
            <a:effectLst/>
          </p:spPr>
        </p:cxnSp>
        <p:cxnSp>
          <p:nvCxnSpPr>
            <p:cNvPr id="102" name="Straight Arrow Connector 101">
              <a:extLst>
                <a:ext uri="{FF2B5EF4-FFF2-40B4-BE49-F238E27FC236}">
                  <a16:creationId xmlns:a16="http://schemas.microsoft.com/office/drawing/2014/main" id="{D1CEB74D-90A1-4720-A0D0-EB5D82EFECF7}"/>
                </a:ext>
              </a:extLst>
            </p:cNvPr>
            <p:cNvCxnSpPr/>
            <p:nvPr/>
          </p:nvCxnSpPr>
          <p:spPr>
            <a:xfrm flipV="1">
              <a:off x="9505279" y="6065324"/>
              <a:ext cx="0" cy="141516"/>
            </a:xfrm>
            <a:prstGeom prst="straightConnector1">
              <a:avLst/>
            </a:prstGeom>
            <a:noFill/>
            <a:ln w="15875" cap="flat" cmpd="sng" algn="ctr">
              <a:solidFill>
                <a:schemeClr val="bg1"/>
              </a:solidFill>
              <a:prstDash val="solid"/>
              <a:tailEnd type="triangle"/>
            </a:ln>
            <a:effectLst/>
          </p:spPr>
        </p:cxnSp>
      </p:grpSp>
    </p:spTree>
    <p:extLst>
      <p:ext uri="{BB962C8B-B14F-4D97-AF65-F5344CB8AC3E}">
        <p14:creationId xmlns:p14="http://schemas.microsoft.com/office/powerpoint/2010/main" val="1639023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4">
                                            <p:graphicEl>
                                              <a:dgm id="{11C5B6FD-71B4-4A80-B03B-FAC9CB197E54}"/>
                                            </p:graphicEl>
                                          </p:spTgt>
                                        </p:tgtEl>
                                        <p:attrNameLst>
                                          <p:attrName>style.visibility</p:attrName>
                                        </p:attrNameLst>
                                      </p:cBhvr>
                                      <p:to>
                                        <p:strVal val="visible"/>
                                      </p:to>
                                    </p:set>
                                  </p:childTnLst>
                                </p:cTn>
                              </p:par>
                              <p:par>
                                <p:cTn id="7" presetID="42" presetClass="entr" presetSubtype="0" fill="hold" nodeType="withEffect">
                                  <p:stCondLst>
                                    <p:cond delay="0"/>
                                  </p:stCondLst>
                                  <p:childTnLst>
                                    <p:set>
                                      <p:cBhvr>
                                        <p:cTn id="8" dur="1" fill="hold">
                                          <p:stCondLst>
                                            <p:cond delay="0"/>
                                          </p:stCondLst>
                                        </p:cTn>
                                        <p:tgtEl>
                                          <p:spTgt spid="56"/>
                                        </p:tgtEl>
                                        <p:attrNameLst>
                                          <p:attrName>style.visibility</p:attrName>
                                        </p:attrNameLst>
                                      </p:cBhvr>
                                      <p:to>
                                        <p:strVal val="visible"/>
                                      </p:to>
                                    </p:set>
                                    <p:animEffect transition="in" filter="fade">
                                      <p:cBhvr>
                                        <p:cTn id="9" dur="1000"/>
                                        <p:tgtEl>
                                          <p:spTgt spid="56"/>
                                        </p:tgtEl>
                                      </p:cBhvr>
                                    </p:animEffect>
                                    <p:anim calcmode="lin" valueType="num">
                                      <p:cBhvr>
                                        <p:cTn id="10" dur="1000" fill="hold"/>
                                        <p:tgtEl>
                                          <p:spTgt spid="56"/>
                                        </p:tgtEl>
                                        <p:attrNameLst>
                                          <p:attrName>ppt_x</p:attrName>
                                        </p:attrNameLst>
                                      </p:cBhvr>
                                      <p:tavLst>
                                        <p:tav tm="0">
                                          <p:val>
                                            <p:strVal val="#ppt_x"/>
                                          </p:val>
                                        </p:tav>
                                        <p:tav tm="100000">
                                          <p:val>
                                            <p:strVal val="#ppt_x"/>
                                          </p:val>
                                        </p:tav>
                                      </p:tavLst>
                                    </p:anim>
                                    <p:anim calcmode="lin" valueType="num">
                                      <p:cBhvr>
                                        <p:cTn id="11"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54">
                                            <p:graphicEl>
                                              <a:dgm id="{9EB0ECC3-CD0D-4D5C-8C64-28DE2A49B07A}"/>
                                            </p:graphicEl>
                                          </p:spTgt>
                                        </p:tgtEl>
                                        <p:attrNameLst>
                                          <p:attrName>style.visibility</p:attrName>
                                        </p:attrNameLst>
                                      </p:cBhvr>
                                      <p:to>
                                        <p:strVal val="visible"/>
                                      </p:to>
                                    </p:set>
                                  </p:childTnLst>
                                </p:cTn>
                              </p:par>
                              <p:par>
                                <p:cTn id="16" presetID="42" presetClass="entr" presetSubtype="0" fill="hold" nodeType="withEffect">
                                  <p:stCondLst>
                                    <p:cond delay="0"/>
                                  </p:stCondLst>
                                  <p:childTnLst>
                                    <p:set>
                                      <p:cBhvr>
                                        <p:cTn id="17" dur="1" fill="hold">
                                          <p:stCondLst>
                                            <p:cond delay="0"/>
                                          </p:stCondLst>
                                        </p:cTn>
                                        <p:tgtEl>
                                          <p:spTgt spid="64"/>
                                        </p:tgtEl>
                                        <p:attrNameLst>
                                          <p:attrName>style.visibility</p:attrName>
                                        </p:attrNameLst>
                                      </p:cBhvr>
                                      <p:to>
                                        <p:strVal val="visible"/>
                                      </p:to>
                                    </p:set>
                                    <p:animEffect transition="in" filter="fade">
                                      <p:cBhvr>
                                        <p:cTn id="18" dur="1000"/>
                                        <p:tgtEl>
                                          <p:spTgt spid="64"/>
                                        </p:tgtEl>
                                      </p:cBhvr>
                                    </p:animEffect>
                                    <p:anim calcmode="lin" valueType="num">
                                      <p:cBhvr>
                                        <p:cTn id="19" dur="1000" fill="hold"/>
                                        <p:tgtEl>
                                          <p:spTgt spid="64"/>
                                        </p:tgtEl>
                                        <p:attrNameLst>
                                          <p:attrName>ppt_x</p:attrName>
                                        </p:attrNameLst>
                                      </p:cBhvr>
                                      <p:tavLst>
                                        <p:tav tm="0">
                                          <p:val>
                                            <p:strVal val="#ppt_x"/>
                                          </p:val>
                                        </p:tav>
                                        <p:tav tm="100000">
                                          <p:val>
                                            <p:strVal val="#ppt_x"/>
                                          </p:val>
                                        </p:tav>
                                      </p:tavLst>
                                    </p:anim>
                                    <p:anim calcmode="lin" valueType="num">
                                      <p:cBhvr>
                                        <p:cTn id="20" dur="1000" fill="hold"/>
                                        <p:tgtEl>
                                          <p:spTgt spid="64"/>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4">
                                            <p:graphicEl>
                                              <a:dgm id="{EF86107E-7318-42B6-B785-8341D12F42B4}"/>
                                            </p:graphicEl>
                                          </p:spTgt>
                                        </p:tgtEl>
                                        <p:attrNameLst>
                                          <p:attrName>style.visibility</p:attrName>
                                        </p:attrNameLst>
                                      </p:cBhvr>
                                      <p:to>
                                        <p:strVal val="visible"/>
                                      </p:to>
                                    </p:set>
                                  </p:childTnLst>
                                </p:cTn>
                              </p:par>
                              <p:par>
                                <p:cTn id="25" presetID="42" presetClass="entr" presetSubtype="0" fill="hold" nodeType="withEffect">
                                  <p:stCondLst>
                                    <p:cond delay="0"/>
                                  </p:stCondLst>
                                  <p:childTnLst>
                                    <p:set>
                                      <p:cBhvr>
                                        <p:cTn id="26" dur="1" fill="hold">
                                          <p:stCondLst>
                                            <p:cond delay="0"/>
                                          </p:stCondLst>
                                        </p:cTn>
                                        <p:tgtEl>
                                          <p:spTgt spid="84"/>
                                        </p:tgtEl>
                                        <p:attrNameLst>
                                          <p:attrName>style.visibility</p:attrName>
                                        </p:attrNameLst>
                                      </p:cBhvr>
                                      <p:to>
                                        <p:strVal val="visible"/>
                                      </p:to>
                                    </p:set>
                                    <p:animEffect transition="in" filter="fade">
                                      <p:cBhvr>
                                        <p:cTn id="27" dur="1000"/>
                                        <p:tgtEl>
                                          <p:spTgt spid="84"/>
                                        </p:tgtEl>
                                      </p:cBhvr>
                                    </p:animEffect>
                                    <p:anim calcmode="lin" valueType="num">
                                      <p:cBhvr>
                                        <p:cTn id="28" dur="1000" fill="hold"/>
                                        <p:tgtEl>
                                          <p:spTgt spid="84"/>
                                        </p:tgtEl>
                                        <p:attrNameLst>
                                          <p:attrName>ppt_x</p:attrName>
                                        </p:attrNameLst>
                                      </p:cBhvr>
                                      <p:tavLst>
                                        <p:tav tm="0">
                                          <p:val>
                                            <p:strVal val="#ppt_x"/>
                                          </p:val>
                                        </p:tav>
                                        <p:tav tm="100000">
                                          <p:val>
                                            <p:strVal val="#ppt_x"/>
                                          </p:val>
                                        </p:tav>
                                      </p:tavLst>
                                    </p:anim>
                                    <p:anim calcmode="lin" valueType="num">
                                      <p:cBhvr>
                                        <p:cTn id="29" dur="1000" fill="hold"/>
                                        <p:tgtEl>
                                          <p:spTgt spid="84"/>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54">
                                            <p:graphicEl>
                                              <a:dgm id="{C0B629A5-D9D1-4DC3-B030-20D0BC4B4328}"/>
                                            </p:graphicEl>
                                          </p:spTgt>
                                        </p:tgtEl>
                                        <p:attrNameLst>
                                          <p:attrName>style.visibility</p:attrName>
                                        </p:attrNameLst>
                                      </p:cBhvr>
                                      <p:to>
                                        <p:strVal val="visible"/>
                                      </p:to>
                                    </p:set>
                                  </p:childTnLst>
                                </p:cTn>
                              </p:par>
                              <p:par>
                                <p:cTn id="34" presetID="42" presetClass="entr" presetSubtype="0" fill="hold" grpId="0" nodeType="withEffect">
                                  <p:stCondLst>
                                    <p:cond delay="0"/>
                                  </p:stCondLst>
                                  <p:childTnLst>
                                    <p:set>
                                      <p:cBhvr>
                                        <p:cTn id="35" dur="1" fill="hold">
                                          <p:stCondLst>
                                            <p:cond delay="0"/>
                                          </p:stCondLst>
                                        </p:cTn>
                                        <p:tgtEl>
                                          <p:spTgt spid="55"/>
                                        </p:tgtEl>
                                        <p:attrNameLst>
                                          <p:attrName>style.visibility</p:attrName>
                                        </p:attrNameLst>
                                      </p:cBhvr>
                                      <p:to>
                                        <p:strVal val="visible"/>
                                      </p:to>
                                    </p:set>
                                    <p:animEffect transition="in" filter="fade">
                                      <p:cBhvr>
                                        <p:cTn id="36" dur="1000"/>
                                        <p:tgtEl>
                                          <p:spTgt spid="55"/>
                                        </p:tgtEl>
                                      </p:cBhvr>
                                    </p:animEffect>
                                    <p:anim calcmode="lin" valueType="num">
                                      <p:cBhvr>
                                        <p:cTn id="37" dur="1000" fill="hold"/>
                                        <p:tgtEl>
                                          <p:spTgt spid="55"/>
                                        </p:tgtEl>
                                        <p:attrNameLst>
                                          <p:attrName>ppt_x</p:attrName>
                                        </p:attrNameLst>
                                      </p:cBhvr>
                                      <p:tavLst>
                                        <p:tav tm="0">
                                          <p:val>
                                            <p:strVal val="#ppt_x"/>
                                          </p:val>
                                        </p:tav>
                                        <p:tav tm="100000">
                                          <p:val>
                                            <p:strVal val="#ppt_x"/>
                                          </p:val>
                                        </p:tav>
                                      </p:tavLst>
                                    </p:anim>
                                    <p:anim calcmode="lin" valueType="num">
                                      <p:cBhvr>
                                        <p:cTn id="38" dur="1000" fill="hold"/>
                                        <p:tgtEl>
                                          <p:spTgt spid="5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4" grpId="0" uiExpand="1">
        <p:bldSub>
          <a:bldDgm bld="one"/>
        </p:bldSub>
      </p:bldGraphic>
      <p:bldP spid="55"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What are my options?</a:t>
            </a:r>
          </a:p>
        </p:txBody>
      </p:sp>
      <p:graphicFrame>
        <p:nvGraphicFramePr>
          <p:cNvPr id="5" name="Diagram 4">
            <a:extLst>
              <a:ext uri="{FF2B5EF4-FFF2-40B4-BE49-F238E27FC236}">
                <a16:creationId xmlns:a16="http://schemas.microsoft.com/office/drawing/2014/main" id="{61082510-4C94-44B7-B8E2-D51744F02EFD}"/>
              </a:ext>
            </a:extLst>
          </p:cNvPr>
          <p:cNvGraphicFramePr/>
          <p:nvPr>
            <p:extLst>
              <p:ext uri="{D42A27DB-BD31-4B8C-83A1-F6EECF244321}">
                <p14:modId xmlns:p14="http://schemas.microsoft.com/office/powerpoint/2010/main" val="4145929365"/>
              </p:ext>
            </p:extLst>
          </p:nvPr>
        </p:nvGraphicFramePr>
        <p:xfrm>
          <a:off x="1125335" y="2035373"/>
          <a:ext cx="10227781" cy="32013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1AF5E657-AC2B-44CD-925E-A6EA7E5968B8}"/>
              </a:ext>
            </a:extLst>
          </p:cNvPr>
          <p:cNvSpPr txBox="1"/>
          <p:nvPr/>
        </p:nvSpPr>
        <p:spPr>
          <a:xfrm>
            <a:off x="1986908" y="5554536"/>
            <a:ext cx="2293054" cy="553998"/>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QL Server in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zure Virtual Machine</a:t>
            </a:r>
          </a:p>
        </p:txBody>
      </p:sp>
      <p:pic>
        <p:nvPicPr>
          <p:cNvPr id="7" name="Picture 6" descr="A close up of a sign&#10;&#10;Description automatically generated">
            <a:extLst>
              <a:ext uri="{FF2B5EF4-FFF2-40B4-BE49-F238E27FC236}">
                <a16:creationId xmlns:a16="http://schemas.microsoft.com/office/drawing/2014/main" id="{6C208237-F9E0-49B0-A71E-D97A528B3685}"/>
              </a:ext>
            </a:extLst>
          </p:cNvPr>
          <p:cNvPicPr>
            <a:picLocks noChangeAspect="1"/>
          </p:cNvPicPr>
          <p:nvPr/>
        </p:nvPicPr>
        <p:blipFill>
          <a:blip r:embed="rId8"/>
          <a:stretch>
            <a:fillRect/>
          </a:stretch>
        </p:blipFill>
        <p:spPr>
          <a:xfrm>
            <a:off x="8584614" y="5479477"/>
            <a:ext cx="694835" cy="694835"/>
          </a:xfrm>
          <a:prstGeom prst="rect">
            <a:avLst/>
          </a:prstGeom>
        </p:spPr>
      </p:pic>
      <p:sp>
        <p:nvSpPr>
          <p:cNvPr id="8" name="TextBox 7">
            <a:extLst>
              <a:ext uri="{FF2B5EF4-FFF2-40B4-BE49-F238E27FC236}">
                <a16:creationId xmlns:a16="http://schemas.microsoft.com/office/drawing/2014/main" id="{689F82BB-E84A-4F5E-AF24-A6CE684E9074}"/>
              </a:ext>
            </a:extLst>
          </p:cNvPr>
          <p:cNvSpPr txBox="1"/>
          <p:nvPr/>
        </p:nvSpPr>
        <p:spPr>
          <a:xfrm>
            <a:off x="5870011" y="5554536"/>
            <a:ext cx="2042029" cy="246221"/>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Managed Instance</a:t>
            </a:r>
          </a:p>
        </p:txBody>
      </p:sp>
      <p:sp>
        <p:nvSpPr>
          <p:cNvPr id="9" name="TextBox 8">
            <a:extLst>
              <a:ext uri="{FF2B5EF4-FFF2-40B4-BE49-F238E27FC236}">
                <a16:creationId xmlns:a16="http://schemas.microsoft.com/office/drawing/2014/main" id="{9AFC518E-60CF-4D8E-91FE-258594A3C542}"/>
              </a:ext>
            </a:extLst>
          </p:cNvPr>
          <p:cNvSpPr txBox="1"/>
          <p:nvPr/>
        </p:nvSpPr>
        <p:spPr>
          <a:xfrm>
            <a:off x="9299946" y="5532522"/>
            <a:ext cx="2111167" cy="246221"/>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zure SQL Database</a:t>
            </a:r>
          </a:p>
        </p:txBody>
      </p:sp>
      <p:sp>
        <p:nvSpPr>
          <p:cNvPr id="10" name="TextBox 9">
            <a:extLst>
              <a:ext uri="{FF2B5EF4-FFF2-40B4-BE49-F238E27FC236}">
                <a16:creationId xmlns:a16="http://schemas.microsoft.com/office/drawing/2014/main" id="{4DD1CE5F-C01C-47CC-A671-F6FA4B520FF3}"/>
              </a:ext>
            </a:extLst>
          </p:cNvPr>
          <p:cNvSpPr txBox="1"/>
          <p:nvPr/>
        </p:nvSpPr>
        <p:spPr>
          <a:xfrm>
            <a:off x="9299946" y="5861739"/>
            <a:ext cx="1779886" cy="246221"/>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ingle Elastic Pool</a:t>
            </a:r>
          </a:p>
        </p:txBody>
      </p:sp>
      <p:sp>
        <p:nvSpPr>
          <p:cNvPr id="11" name="TextBox 10">
            <a:extLst>
              <a:ext uri="{FF2B5EF4-FFF2-40B4-BE49-F238E27FC236}">
                <a16:creationId xmlns:a16="http://schemas.microsoft.com/office/drawing/2014/main" id="{4EFAE9D4-BF83-482E-855C-EE19328D38CB}"/>
              </a:ext>
            </a:extLst>
          </p:cNvPr>
          <p:cNvSpPr txBox="1"/>
          <p:nvPr/>
        </p:nvSpPr>
        <p:spPr>
          <a:xfrm>
            <a:off x="5875420" y="5889710"/>
            <a:ext cx="2334045" cy="246221"/>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Single Instance Pool</a:t>
            </a:r>
          </a:p>
        </p:txBody>
      </p:sp>
      <p:pic>
        <p:nvPicPr>
          <p:cNvPr id="12" name="Graphic 11">
            <a:extLst>
              <a:ext uri="{FF2B5EF4-FFF2-40B4-BE49-F238E27FC236}">
                <a16:creationId xmlns:a16="http://schemas.microsoft.com/office/drawing/2014/main" id="{B04396BD-06B6-4C00-ADCF-3FC6F0F91AC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25335" y="5441096"/>
            <a:ext cx="769093" cy="769093"/>
          </a:xfrm>
          <a:prstGeom prst="rect">
            <a:avLst/>
          </a:prstGeom>
        </p:spPr>
      </p:pic>
      <p:pic>
        <p:nvPicPr>
          <p:cNvPr id="13" name="Graphic 12">
            <a:extLst>
              <a:ext uri="{FF2B5EF4-FFF2-40B4-BE49-F238E27FC236}">
                <a16:creationId xmlns:a16="http://schemas.microsoft.com/office/drawing/2014/main" id="{AD7129D1-CE45-4CF1-8164-ED9E49AD1C5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989841" y="5408005"/>
            <a:ext cx="807856" cy="807856"/>
          </a:xfrm>
          <a:prstGeom prst="rect">
            <a:avLst/>
          </a:prstGeom>
        </p:spPr>
      </p:pic>
      <p:grpSp>
        <p:nvGrpSpPr>
          <p:cNvPr id="14" name="Group 13">
            <a:extLst>
              <a:ext uri="{FF2B5EF4-FFF2-40B4-BE49-F238E27FC236}">
                <a16:creationId xmlns:a16="http://schemas.microsoft.com/office/drawing/2014/main" id="{D9A8CAC2-97CF-4FD7-86BF-0C6BA8E69399}"/>
              </a:ext>
            </a:extLst>
          </p:cNvPr>
          <p:cNvGrpSpPr/>
          <p:nvPr/>
        </p:nvGrpSpPr>
        <p:grpSpPr>
          <a:xfrm>
            <a:off x="1407177" y="1039009"/>
            <a:ext cx="2775812" cy="972492"/>
            <a:chOff x="627506" y="1279100"/>
            <a:chExt cx="2775812" cy="972492"/>
          </a:xfrm>
        </p:grpSpPr>
        <p:sp>
          <p:nvSpPr>
            <p:cNvPr id="15" name="Rectangle 14">
              <a:extLst>
                <a:ext uri="{FF2B5EF4-FFF2-40B4-BE49-F238E27FC236}">
                  <a16:creationId xmlns:a16="http://schemas.microsoft.com/office/drawing/2014/main" id="{17539DE3-CDC7-4E4A-A6C9-9CE8C4BA31D5}"/>
                </a:ext>
              </a:extLst>
            </p:cNvPr>
            <p:cNvSpPr/>
            <p:nvPr/>
          </p:nvSpPr>
          <p:spPr bwMode="auto">
            <a:xfrm>
              <a:off x="627506" y="1872421"/>
              <a:ext cx="2775812" cy="379171"/>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lvl="0" algn="ctr" defTabSz="609468">
                <a:lnSpc>
                  <a:spcPct val="90000"/>
                </a:lnSpc>
                <a:spcAft>
                  <a:spcPts val="600"/>
                </a:spcAft>
                <a:defRPr/>
              </a:pPr>
              <a:r>
                <a:rPr lang="en-US">
                  <a:solidFill>
                    <a:schemeClr val="accent1"/>
                  </a:solidFill>
                  <a:latin typeface="+mj-lt"/>
                </a:rPr>
                <a:t>IaaS</a:t>
              </a:r>
              <a:endParaRPr kumimoji="0" lang="en-US" sz="1800" b="1" i="0" u="none" strike="noStrike" kern="0" cap="none" spc="0" normalizeH="0" baseline="0" noProof="0">
                <a:ln>
                  <a:noFill/>
                </a:ln>
                <a:solidFill>
                  <a:schemeClr val="accent1"/>
                </a:solidFill>
                <a:effectLst/>
                <a:uLnTx/>
                <a:uFillTx/>
                <a:latin typeface="+mj-lt"/>
                <a:cs typeface="Segoe UI Semibold" panose="020B0702040204020203" pitchFamily="34" charset="0"/>
              </a:endParaRPr>
            </a:p>
          </p:txBody>
        </p:sp>
        <p:grpSp>
          <p:nvGrpSpPr>
            <p:cNvPr id="16" name="Group 15">
              <a:extLst>
                <a:ext uri="{FF2B5EF4-FFF2-40B4-BE49-F238E27FC236}">
                  <a16:creationId xmlns:a16="http://schemas.microsoft.com/office/drawing/2014/main" id="{52A52517-E1A6-49B6-8C25-4D5031F2BF1C}"/>
                </a:ext>
              </a:extLst>
            </p:cNvPr>
            <p:cNvGrpSpPr/>
            <p:nvPr/>
          </p:nvGrpSpPr>
          <p:grpSpPr>
            <a:xfrm>
              <a:off x="1675619" y="1279100"/>
              <a:ext cx="930329" cy="607184"/>
              <a:chOff x="5725355" y="3093312"/>
              <a:chExt cx="1042838" cy="732135"/>
            </a:xfrm>
          </p:grpSpPr>
          <p:sp>
            <p:nvSpPr>
              <p:cNvPr id="17" name="Freeform 146">
                <a:extLst>
                  <a:ext uri="{FF2B5EF4-FFF2-40B4-BE49-F238E27FC236}">
                    <a16:creationId xmlns:a16="http://schemas.microsoft.com/office/drawing/2014/main" id="{80814706-9B3F-4C87-9B4D-7F0F5469104A}"/>
                  </a:ext>
                </a:extLst>
              </p:cNvPr>
              <p:cNvSpPr>
                <a:spLocks noChangeAspect="1"/>
              </p:cNvSpPr>
              <p:nvPr/>
            </p:nvSpPr>
            <p:spPr bwMode="auto">
              <a:xfrm>
                <a:off x="6261200" y="3093312"/>
                <a:ext cx="506993" cy="32108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8" name="Group 17">
                <a:extLst>
                  <a:ext uri="{FF2B5EF4-FFF2-40B4-BE49-F238E27FC236}">
                    <a16:creationId xmlns:a16="http://schemas.microsoft.com/office/drawing/2014/main" id="{9243FF63-8337-47EB-B6CC-B4004A7A550A}"/>
                  </a:ext>
                </a:extLst>
              </p:cNvPr>
              <p:cNvGrpSpPr/>
              <p:nvPr/>
            </p:nvGrpSpPr>
            <p:grpSpPr>
              <a:xfrm>
                <a:off x="5725355" y="3265071"/>
                <a:ext cx="741290" cy="560376"/>
                <a:chOff x="5725355" y="3153247"/>
                <a:chExt cx="741290" cy="560376"/>
              </a:xfrm>
            </p:grpSpPr>
            <p:grpSp>
              <p:nvGrpSpPr>
                <p:cNvPr id="19" name="Group 4">
                  <a:extLst>
                    <a:ext uri="{FF2B5EF4-FFF2-40B4-BE49-F238E27FC236}">
                      <a16:creationId xmlns:a16="http://schemas.microsoft.com/office/drawing/2014/main" id="{E163C623-348E-4E5E-8BB6-01FF820240EB}"/>
                    </a:ext>
                  </a:extLst>
                </p:cNvPr>
                <p:cNvGrpSpPr>
                  <a:grpSpLocks noChangeAspect="1"/>
                </p:cNvGrpSpPr>
                <p:nvPr/>
              </p:nvGrpSpPr>
              <p:grpSpPr bwMode="auto">
                <a:xfrm>
                  <a:off x="5725355" y="3153247"/>
                  <a:ext cx="741290" cy="560376"/>
                  <a:chOff x="3794" y="2083"/>
                  <a:chExt cx="245" cy="174"/>
                </a:xfrm>
              </p:grpSpPr>
              <p:sp>
                <p:nvSpPr>
                  <p:cNvPr id="25" name="Rectangle 24">
                    <a:extLst>
                      <a:ext uri="{FF2B5EF4-FFF2-40B4-BE49-F238E27FC236}">
                        <a16:creationId xmlns:a16="http://schemas.microsoft.com/office/drawing/2014/main" id="{54CF3DED-CA56-4571-9F39-2A1CFF83C0C1}"/>
                      </a:ext>
                    </a:extLst>
                  </p:cNvPr>
                  <p:cNvSpPr>
                    <a:spLocks noChangeArrowheads="1"/>
                  </p:cNvSpPr>
                  <p:nvPr/>
                </p:nvSpPr>
                <p:spPr bwMode="auto">
                  <a:xfrm>
                    <a:off x="3794" y="2083"/>
                    <a:ext cx="245" cy="138"/>
                  </a:xfrm>
                  <a:prstGeom prst="rect">
                    <a:avLst/>
                  </a:prstGeom>
                  <a:solidFill>
                    <a:srgbClr val="FFFFFF"/>
                  </a:solidFill>
                  <a:ln w="1905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6" name="Line 7">
                    <a:extLst>
                      <a:ext uri="{FF2B5EF4-FFF2-40B4-BE49-F238E27FC236}">
                        <a16:creationId xmlns:a16="http://schemas.microsoft.com/office/drawing/2014/main" id="{602161A2-7700-42CA-A6B4-9EF591AA78DE}"/>
                      </a:ext>
                    </a:extLst>
                  </p:cNvPr>
                  <p:cNvSpPr>
                    <a:spLocks noChangeShapeType="1"/>
                  </p:cNvSpPr>
                  <p:nvPr/>
                </p:nvSpPr>
                <p:spPr bwMode="auto">
                  <a:xfrm>
                    <a:off x="3916" y="2221"/>
                    <a:ext cx="0" cy="36"/>
                  </a:xfrm>
                  <a:prstGeom prst="line">
                    <a:avLst/>
                  </a:prstGeom>
                  <a:noFill/>
                  <a:ln w="1905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 name="Line 8">
                    <a:extLst>
                      <a:ext uri="{FF2B5EF4-FFF2-40B4-BE49-F238E27FC236}">
                        <a16:creationId xmlns:a16="http://schemas.microsoft.com/office/drawing/2014/main" id="{6CF8F050-9308-488C-A3F2-21DDB713B2BE}"/>
                      </a:ext>
                    </a:extLst>
                  </p:cNvPr>
                  <p:cNvSpPr>
                    <a:spLocks noChangeShapeType="1"/>
                  </p:cNvSpPr>
                  <p:nvPr/>
                </p:nvSpPr>
                <p:spPr bwMode="auto">
                  <a:xfrm>
                    <a:off x="3874" y="2257"/>
                    <a:ext cx="86" cy="0"/>
                  </a:xfrm>
                  <a:prstGeom prst="line">
                    <a:avLst/>
                  </a:prstGeom>
                  <a:noFill/>
                  <a:ln w="1905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 name="Group 19">
                  <a:extLst>
                    <a:ext uri="{FF2B5EF4-FFF2-40B4-BE49-F238E27FC236}">
                      <a16:creationId xmlns:a16="http://schemas.microsoft.com/office/drawing/2014/main" id="{EB580A2D-977C-4300-B7FF-B1FB61C76BA1}"/>
                    </a:ext>
                  </a:extLst>
                </p:cNvPr>
                <p:cNvGrpSpPr/>
                <p:nvPr/>
              </p:nvGrpSpPr>
              <p:grpSpPr>
                <a:xfrm>
                  <a:off x="5947979" y="3207964"/>
                  <a:ext cx="292802" cy="322120"/>
                  <a:chOff x="6053699" y="2879833"/>
                  <a:chExt cx="279267" cy="307229"/>
                </a:xfrm>
                <a:solidFill>
                  <a:srgbClr val="4CB1FF"/>
                </a:solidFill>
              </p:grpSpPr>
              <p:sp>
                <p:nvSpPr>
                  <p:cNvPr id="21" name="Freeform: Shape 843">
                    <a:extLst>
                      <a:ext uri="{FF2B5EF4-FFF2-40B4-BE49-F238E27FC236}">
                        <a16:creationId xmlns:a16="http://schemas.microsoft.com/office/drawing/2014/main" id="{F5A29A68-013E-4BEA-A1BC-E069A31BE8B1}"/>
                      </a:ext>
                    </a:extLst>
                  </p:cNvPr>
                  <p:cNvSpPr/>
                  <p:nvPr/>
                </p:nvSpPr>
                <p:spPr bwMode="auto">
                  <a:xfrm>
                    <a:off x="6053709" y="2879833"/>
                    <a:ext cx="279257" cy="307229"/>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solidFill>
                    <a:srgbClr val="0070C0"/>
                  </a:solidFill>
                  <a:ln w="190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D2679035-074E-49B0-9B5D-47A099CFB7AB}"/>
                      </a:ext>
                    </a:extLst>
                  </p:cNvPr>
                  <p:cNvCxnSpPr>
                    <a:cxnSpLocks/>
                  </p:cNvCxnSpPr>
                  <p:nvPr/>
                </p:nvCxnSpPr>
                <p:spPr>
                  <a:xfrm>
                    <a:off x="6053699" y="2956449"/>
                    <a:ext cx="139628" cy="76997"/>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2527E7D-10E2-4325-9172-39F2C2AA84E1}"/>
                      </a:ext>
                    </a:extLst>
                  </p:cNvPr>
                  <p:cNvCxnSpPr>
                    <a:cxnSpLocks/>
                  </p:cNvCxnSpPr>
                  <p:nvPr/>
                </p:nvCxnSpPr>
                <p:spPr>
                  <a:xfrm flipV="1">
                    <a:off x="6193327" y="2956449"/>
                    <a:ext cx="139628" cy="76997"/>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6091A3-5AB1-4080-B038-A3E0B680F164}"/>
                      </a:ext>
                    </a:extLst>
                  </p:cNvPr>
                  <p:cNvCxnSpPr>
                    <a:cxnSpLocks/>
                  </p:cNvCxnSpPr>
                  <p:nvPr/>
                </p:nvCxnSpPr>
                <p:spPr>
                  <a:xfrm flipV="1">
                    <a:off x="6193327" y="3033446"/>
                    <a:ext cx="0" cy="153614"/>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grpSp>
        <p:nvGrpSpPr>
          <p:cNvPr id="28" name="Group 27">
            <a:extLst>
              <a:ext uri="{FF2B5EF4-FFF2-40B4-BE49-F238E27FC236}">
                <a16:creationId xmlns:a16="http://schemas.microsoft.com/office/drawing/2014/main" id="{7B45D292-41DF-4578-AF9C-69679CFFBBA2}"/>
              </a:ext>
            </a:extLst>
          </p:cNvPr>
          <p:cNvGrpSpPr/>
          <p:nvPr/>
        </p:nvGrpSpPr>
        <p:grpSpPr>
          <a:xfrm>
            <a:off x="6524134" y="1057243"/>
            <a:ext cx="2775812" cy="954258"/>
            <a:chOff x="6174942" y="1270332"/>
            <a:chExt cx="2775812" cy="954258"/>
          </a:xfrm>
        </p:grpSpPr>
        <p:grpSp>
          <p:nvGrpSpPr>
            <p:cNvPr id="29" name="Group 28">
              <a:extLst>
                <a:ext uri="{FF2B5EF4-FFF2-40B4-BE49-F238E27FC236}">
                  <a16:creationId xmlns:a16="http://schemas.microsoft.com/office/drawing/2014/main" id="{8D7A001E-859D-4B04-8AD2-4EC1B7E78AE5}"/>
                </a:ext>
              </a:extLst>
            </p:cNvPr>
            <p:cNvGrpSpPr/>
            <p:nvPr/>
          </p:nvGrpSpPr>
          <p:grpSpPr>
            <a:xfrm>
              <a:off x="7315200" y="1270332"/>
              <a:ext cx="676275" cy="577518"/>
              <a:chOff x="7362825" y="1289382"/>
              <a:chExt cx="545465" cy="516977"/>
            </a:xfrm>
          </p:grpSpPr>
          <p:sp>
            <p:nvSpPr>
              <p:cNvPr id="31" name="Cylinder 812">
                <a:extLst>
                  <a:ext uri="{FF2B5EF4-FFF2-40B4-BE49-F238E27FC236}">
                    <a16:creationId xmlns:a16="http://schemas.microsoft.com/office/drawing/2014/main" id="{419D1AE1-9D34-4CE2-AA5C-FC2251BA74B3}"/>
                  </a:ext>
                </a:extLst>
              </p:cNvPr>
              <p:cNvSpPr/>
              <p:nvPr/>
            </p:nvSpPr>
            <p:spPr bwMode="auto">
              <a:xfrm>
                <a:off x="7362825" y="1289382"/>
                <a:ext cx="352425" cy="495945"/>
              </a:xfrm>
              <a:prstGeom prst="can">
                <a:avLst>
                  <a:gd name="adj" fmla="val 39530"/>
                </a:avLst>
              </a:prstGeom>
              <a:solidFill>
                <a:srgbClr val="FFFFFF"/>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0078D7"/>
                    </a:solidFill>
                    <a:effectLst/>
                    <a:uLnTx/>
                    <a:uFillTx/>
                    <a:latin typeface="Segoe UI"/>
                    <a:ea typeface="Segoe UI" pitchFamily="34" charset="0"/>
                    <a:cs typeface="Segoe UI Semilight" panose="020B0402040204020203" pitchFamily="34" charset="0"/>
                  </a:rPr>
                  <a:t>SQL</a:t>
                </a:r>
              </a:p>
            </p:txBody>
          </p:sp>
          <p:sp>
            <p:nvSpPr>
              <p:cNvPr id="32" name="Freeform 146">
                <a:extLst>
                  <a:ext uri="{FF2B5EF4-FFF2-40B4-BE49-F238E27FC236}">
                    <a16:creationId xmlns:a16="http://schemas.microsoft.com/office/drawing/2014/main" id="{C6FA4547-4037-486D-90EC-9A99DCD96FC2}"/>
                  </a:ext>
                </a:extLst>
              </p:cNvPr>
              <p:cNvSpPr>
                <a:spLocks noChangeAspect="1"/>
              </p:cNvSpPr>
              <p:nvPr/>
            </p:nvSpPr>
            <p:spPr bwMode="auto">
              <a:xfrm>
                <a:off x="7640786" y="1580647"/>
                <a:ext cx="267504" cy="22571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FFFFFF"/>
              </a:solid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800" b="1" i="0" u="none" strike="noStrike" kern="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30" name="Rectangle 29">
              <a:extLst>
                <a:ext uri="{FF2B5EF4-FFF2-40B4-BE49-F238E27FC236}">
                  <a16:creationId xmlns:a16="http://schemas.microsoft.com/office/drawing/2014/main" id="{9356EC3B-1047-498C-A12A-4C4A3BEBD677}"/>
                </a:ext>
              </a:extLst>
            </p:cNvPr>
            <p:cNvSpPr/>
            <p:nvPr/>
          </p:nvSpPr>
          <p:spPr bwMode="auto">
            <a:xfrm>
              <a:off x="6174942" y="1845419"/>
              <a:ext cx="2775812" cy="379171"/>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lvl="0" algn="ctr" defTabSz="609468">
                <a:lnSpc>
                  <a:spcPct val="90000"/>
                </a:lnSpc>
                <a:spcAft>
                  <a:spcPts val="600"/>
                </a:spcAft>
                <a:defRPr/>
              </a:pPr>
              <a:r>
                <a:rPr lang="en-US">
                  <a:solidFill>
                    <a:schemeClr val="accent1"/>
                  </a:solidFill>
                  <a:latin typeface="+mj-lt"/>
                </a:rPr>
                <a:t>PaaS</a:t>
              </a:r>
              <a:endParaRPr kumimoji="0" lang="en-US" sz="1800" b="1" i="0" u="none" strike="noStrike" kern="0" cap="none" spc="0" normalizeH="0" baseline="0" noProof="0">
                <a:ln>
                  <a:noFill/>
                </a:ln>
                <a:solidFill>
                  <a:schemeClr val="accent1"/>
                </a:solidFill>
                <a:effectLst/>
                <a:uLnTx/>
                <a:uFillTx/>
                <a:latin typeface="+mj-lt"/>
                <a:cs typeface="Segoe UI Semibold" panose="020B0702040204020203" pitchFamily="34" charset="0"/>
              </a:endParaRPr>
            </a:p>
          </p:txBody>
        </p:sp>
      </p:grpSp>
    </p:spTree>
    <p:extLst>
      <p:ext uri="{BB962C8B-B14F-4D97-AF65-F5344CB8AC3E}">
        <p14:creationId xmlns:p14="http://schemas.microsoft.com/office/powerpoint/2010/main" val="34818978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514266" y="310062"/>
            <a:ext cx="10880725" cy="461665"/>
          </a:xfrm>
        </p:spPr>
        <p:txBody>
          <a:bodyPr/>
          <a:lstStyle/>
          <a:p>
            <a:r>
              <a:rPr lang="en-US"/>
              <a:t>A closer look… Best for</a:t>
            </a:r>
          </a:p>
        </p:txBody>
      </p:sp>
      <p:graphicFrame>
        <p:nvGraphicFramePr>
          <p:cNvPr id="7" name="Diagram 6">
            <a:extLst>
              <a:ext uri="{FF2B5EF4-FFF2-40B4-BE49-F238E27FC236}">
                <a16:creationId xmlns:a16="http://schemas.microsoft.com/office/drawing/2014/main" id="{18FFD0BA-ED18-4F81-8C66-3DA154E8B166}"/>
              </a:ext>
            </a:extLst>
          </p:cNvPr>
          <p:cNvGraphicFramePr/>
          <p:nvPr>
            <p:extLst>
              <p:ext uri="{D42A27DB-BD31-4B8C-83A1-F6EECF244321}">
                <p14:modId xmlns:p14="http://schemas.microsoft.com/office/powerpoint/2010/main" val="2911173270"/>
              </p:ext>
            </p:extLst>
          </p:nvPr>
        </p:nvGraphicFramePr>
        <p:xfrm>
          <a:off x="514266" y="1052614"/>
          <a:ext cx="11163467" cy="52813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023317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zure SQL PaaS deployment options</a:t>
            </a:r>
          </a:p>
        </p:txBody>
      </p:sp>
      <p:sp>
        <p:nvSpPr>
          <p:cNvPr id="5" name="Rectangle 4">
            <a:extLst>
              <a:ext uri="{FF2B5EF4-FFF2-40B4-BE49-F238E27FC236}">
                <a16:creationId xmlns:a16="http://schemas.microsoft.com/office/drawing/2014/main" id="{D281A222-A219-4BD9-A1C7-07F7ACF3BD86}"/>
              </a:ext>
            </a:extLst>
          </p:cNvPr>
          <p:cNvSpPr/>
          <p:nvPr/>
        </p:nvSpPr>
        <p:spPr>
          <a:xfrm>
            <a:off x="1493568" y="1780101"/>
            <a:ext cx="2910364" cy="398331"/>
          </a:xfrm>
          <a:prstGeom prst="rect">
            <a:avLst/>
          </a:prstGeom>
        </p:spPr>
        <p:txBody>
          <a:bodyPr wrap="square" lIns="93260">
            <a:spAutoFit/>
          </a:bodyPr>
          <a:lstStyle/>
          <a:p>
            <a:pPr algn="ctr" defTabSz="932270" fontAlgn="base">
              <a:lnSpc>
                <a:spcPct val="95000"/>
              </a:lnSpc>
              <a:spcBef>
                <a:spcPct val="0"/>
              </a:spcBef>
              <a:spcAft>
                <a:spcPct val="0"/>
              </a:spcAft>
              <a:defRPr/>
            </a:pPr>
            <a:r>
              <a:rPr lang="en-US" sz="2000" b="1" kern="0">
                <a:solidFill>
                  <a:srgbClr val="0078D7"/>
                </a:solidFill>
                <a:latin typeface="Segoe UI Semibold"/>
                <a:cs typeface="Segoe UI Semibold" panose="020B0502040204020203" pitchFamily="34" charset="0"/>
              </a:rPr>
              <a:t>Managed instances</a:t>
            </a:r>
            <a:endParaRPr lang="en-US" sz="2400" kern="0">
              <a:solidFill>
                <a:srgbClr val="0078D7"/>
              </a:solidFill>
              <a:latin typeface="Segoe UI Semibold"/>
              <a:cs typeface="Segoe UI Semibold" panose="020B0502040204020203" pitchFamily="34" charset="0"/>
            </a:endParaRPr>
          </a:p>
        </p:txBody>
      </p:sp>
      <p:sp>
        <p:nvSpPr>
          <p:cNvPr id="6" name="Text Placeholder 8">
            <a:extLst>
              <a:ext uri="{FF2B5EF4-FFF2-40B4-BE49-F238E27FC236}">
                <a16:creationId xmlns:a16="http://schemas.microsoft.com/office/drawing/2014/main" id="{4E505483-D087-444F-95D9-151531561476}"/>
              </a:ext>
            </a:extLst>
          </p:cNvPr>
          <p:cNvSpPr txBox="1">
            <a:spLocks/>
          </p:cNvSpPr>
          <p:nvPr/>
        </p:nvSpPr>
        <p:spPr>
          <a:xfrm>
            <a:off x="1129392" y="2106369"/>
            <a:ext cx="3646488" cy="533650"/>
          </a:xfrm>
          <a:prstGeom prst="rect">
            <a:avLst/>
          </a:prstGeom>
        </p:spPr>
        <p:txBody>
          <a:bodyPr vert="horz" wrap="square" lIns="93260" tIns="46630" rIns="93260" bIns="46630" rtlCol="0">
            <a:sp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lgn="ctr" defTabSz="932573">
              <a:spcBef>
                <a:spcPts val="0"/>
              </a:spcBef>
              <a:spcAft>
                <a:spcPts val="816"/>
              </a:spcAft>
              <a:buSzTx/>
              <a:buFont typeface="Wingdings" panose="05000000000000000000" pitchFamily="2" charset="2"/>
              <a:buNone/>
            </a:pPr>
            <a:r>
              <a:rPr lang="en-US" sz="1428" kern="0">
                <a:gradFill>
                  <a:gsLst>
                    <a:gs pos="1770">
                      <a:schemeClr val="tx1"/>
                    </a:gs>
                    <a:gs pos="16000">
                      <a:schemeClr val="tx1"/>
                    </a:gs>
                  </a:gsLst>
                  <a:lin ang="0" scaled="0"/>
                </a:gradFill>
                <a:latin typeface="+mj-lt"/>
                <a:cs typeface="+mn-cs"/>
              </a:rPr>
              <a:t>Best for most lift-and-shift migrations to the cloud</a:t>
            </a:r>
          </a:p>
        </p:txBody>
      </p:sp>
      <p:sp>
        <p:nvSpPr>
          <p:cNvPr id="8" name="Rectangle 7">
            <a:extLst>
              <a:ext uri="{FF2B5EF4-FFF2-40B4-BE49-F238E27FC236}">
                <a16:creationId xmlns:a16="http://schemas.microsoft.com/office/drawing/2014/main" id="{9C1ACFE3-A04B-427C-A705-F797DB8305D7}"/>
              </a:ext>
            </a:extLst>
          </p:cNvPr>
          <p:cNvSpPr/>
          <p:nvPr/>
        </p:nvSpPr>
        <p:spPr>
          <a:xfrm>
            <a:off x="7773803" y="1677573"/>
            <a:ext cx="2910364" cy="398331"/>
          </a:xfrm>
          <a:prstGeom prst="rect">
            <a:avLst/>
          </a:prstGeom>
        </p:spPr>
        <p:txBody>
          <a:bodyPr wrap="square" lIns="93260">
            <a:spAutoFit/>
          </a:bodyPr>
          <a:lstStyle/>
          <a:p>
            <a:pPr algn="ctr" defTabSz="932270" fontAlgn="base">
              <a:lnSpc>
                <a:spcPct val="95000"/>
              </a:lnSpc>
              <a:spcBef>
                <a:spcPct val="0"/>
              </a:spcBef>
              <a:spcAft>
                <a:spcPct val="0"/>
              </a:spcAft>
              <a:defRPr/>
            </a:pPr>
            <a:r>
              <a:rPr lang="en-US" sz="2040" b="1" kern="0">
                <a:solidFill>
                  <a:srgbClr val="0078D7"/>
                </a:solidFill>
                <a:latin typeface="Segoe UI Semibold"/>
                <a:cs typeface="Segoe UI Semibold" panose="020B0502040204020203" pitchFamily="34" charset="0"/>
              </a:rPr>
              <a:t>Databases</a:t>
            </a:r>
            <a:endParaRPr lang="en-US" sz="2448" kern="0">
              <a:solidFill>
                <a:srgbClr val="0078D7"/>
              </a:solidFill>
              <a:latin typeface="Segoe UI Semibold"/>
              <a:cs typeface="Segoe UI Semibold" panose="020B0502040204020203" pitchFamily="34" charset="0"/>
            </a:endParaRPr>
          </a:p>
        </p:txBody>
      </p:sp>
      <p:sp>
        <p:nvSpPr>
          <p:cNvPr id="9" name="Text Placeholder 8">
            <a:extLst>
              <a:ext uri="{FF2B5EF4-FFF2-40B4-BE49-F238E27FC236}">
                <a16:creationId xmlns:a16="http://schemas.microsoft.com/office/drawing/2014/main" id="{86E903C0-A06B-4C17-8104-2F3CB137CA93}"/>
              </a:ext>
            </a:extLst>
          </p:cNvPr>
          <p:cNvSpPr txBox="1">
            <a:spLocks/>
          </p:cNvSpPr>
          <p:nvPr/>
        </p:nvSpPr>
        <p:spPr>
          <a:xfrm>
            <a:off x="6894821" y="2002682"/>
            <a:ext cx="4667760" cy="542399"/>
          </a:xfrm>
          <a:prstGeom prst="rect">
            <a:avLst/>
          </a:prstGeom>
        </p:spPr>
        <p:txBody>
          <a:bodyPr vert="horz" wrap="square" lIns="93260" tIns="46630" rIns="93260" bIns="4663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573">
              <a:spcBef>
                <a:spcPts val="0"/>
              </a:spcBef>
              <a:spcAft>
                <a:spcPts val="816"/>
              </a:spcAft>
              <a:buSzTx/>
              <a:buNone/>
              <a:defRPr/>
            </a:pPr>
            <a:r>
              <a:rPr lang="en-US" sz="1428" kern="0">
                <a:gradFill>
                  <a:gsLst>
                    <a:gs pos="1770">
                      <a:srgbClr val="1A1A1A"/>
                    </a:gs>
                    <a:gs pos="16000">
                      <a:srgbClr val="1A1A1A"/>
                    </a:gs>
                  </a:gsLst>
                  <a:lin ang="0" scaled="0"/>
                </a:gradFill>
                <a:latin typeface="Segoe UI Semibold"/>
              </a:rPr>
              <a:t>Best for modern cloud applications. Hyperscale and serverless options are available</a:t>
            </a:r>
          </a:p>
        </p:txBody>
      </p:sp>
      <p:grpSp>
        <p:nvGrpSpPr>
          <p:cNvPr id="11" name="Group 10">
            <a:extLst>
              <a:ext uri="{FF2B5EF4-FFF2-40B4-BE49-F238E27FC236}">
                <a16:creationId xmlns:a16="http://schemas.microsoft.com/office/drawing/2014/main" id="{78D8672E-D3AB-407A-97F8-6DDDC2A569DE}"/>
              </a:ext>
            </a:extLst>
          </p:cNvPr>
          <p:cNvGrpSpPr/>
          <p:nvPr/>
        </p:nvGrpSpPr>
        <p:grpSpPr>
          <a:xfrm>
            <a:off x="877793" y="3659921"/>
            <a:ext cx="2194038" cy="2578493"/>
            <a:chOff x="601416" y="3270846"/>
            <a:chExt cx="2525800" cy="3113918"/>
          </a:xfrm>
        </p:grpSpPr>
        <p:sp>
          <p:nvSpPr>
            <p:cNvPr id="12" name="Freeform: Shape 11">
              <a:extLst>
                <a:ext uri="{FF2B5EF4-FFF2-40B4-BE49-F238E27FC236}">
                  <a16:creationId xmlns:a16="http://schemas.microsoft.com/office/drawing/2014/main" id="{ADB4226E-483E-4CCF-9F71-67698696EC6A}"/>
                </a:ext>
              </a:extLst>
            </p:cNvPr>
            <p:cNvSpPr/>
            <p:nvPr/>
          </p:nvSpPr>
          <p:spPr>
            <a:xfrm>
              <a:off x="601416" y="3270846"/>
              <a:ext cx="2525800" cy="666624"/>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rgbClr val="0078D3"/>
            </a:solidFill>
            <a:ln w="9525" cap="flat" cmpd="sng" algn="ctr">
              <a:solidFill>
                <a:srgbClr val="EBEBEB"/>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091" fontAlgn="base">
                <a:spcBef>
                  <a:spcPct val="0"/>
                </a:spcBef>
                <a:spcAft>
                  <a:spcPct val="0"/>
                </a:spcAft>
                <a:defRPr/>
              </a:pPr>
              <a:r>
                <a:rPr lang="en-US" sz="1836" kern="0">
                  <a:gradFill>
                    <a:gsLst>
                      <a:gs pos="0">
                        <a:srgbClr val="FFFFFF"/>
                      </a:gs>
                      <a:gs pos="100000">
                        <a:srgbClr val="FFFFFF"/>
                      </a:gs>
                    </a:gsLst>
                    <a:lin ang="5400000" scaled="0"/>
                  </a:gradFill>
                  <a:latin typeface="Segoe UI"/>
                  <a:cs typeface="Segoe UI" pitchFamily="34" charset="0"/>
                </a:rPr>
                <a:t>Single instance</a:t>
              </a:r>
            </a:p>
          </p:txBody>
        </p:sp>
        <p:sp>
          <p:nvSpPr>
            <p:cNvPr id="13" name="Freeform: Shape 12">
              <a:extLst>
                <a:ext uri="{FF2B5EF4-FFF2-40B4-BE49-F238E27FC236}">
                  <a16:creationId xmlns:a16="http://schemas.microsoft.com/office/drawing/2014/main" id="{16AA88F2-5501-47F0-B397-BF325212D094}"/>
                </a:ext>
              </a:extLst>
            </p:cNvPr>
            <p:cNvSpPr/>
            <p:nvPr/>
          </p:nvSpPr>
          <p:spPr>
            <a:xfrm>
              <a:off x="601416" y="3993659"/>
              <a:ext cx="2525800" cy="2391105"/>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noFill/>
            <a:ln w="10795" cap="flat" cmpd="sng" algn="ctr">
              <a:solidFill>
                <a:srgbClr val="EBEBEB"/>
              </a:solidFill>
              <a:prstDash val="solid"/>
            </a:ln>
            <a:effectLst/>
          </p:spPr>
          <p:txBody>
            <a:bodyPr spcFirstLastPara="0" vert="horz" wrap="square" lIns="127979" tIns="127979" rIns="170640" bIns="191970" numCol="1" spcCol="1270" anchor="t" anchorCtr="0">
              <a:noAutofit/>
            </a:bodyPr>
            <a:lstStyle/>
            <a:p>
              <a:pPr marL="228508" lvl="1" indent="-228508" defTabSz="1066364">
                <a:spcBef>
                  <a:spcPts val="408"/>
                </a:spcBef>
                <a:buFontTx/>
                <a:buChar char="•"/>
                <a:defRPr/>
              </a:pPr>
              <a:r>
                <a:rPr lang="en-US" sz="1428" kern="0">
                  <a:solidFill>
                    <a:prstClr val="black">
                      <a:hueOff val="0"/>
                      <a:satOff val="0"/>
                      <a:lumOff val="0"/>
                      <a:alphaOff val="0"/>
                    </a:prstClr>
                  </a:solidFill>
                  <a:latin typeface="Segoe UI"/>
                </a:rPr>
                <a:t>SQL Server surface area (vast majority).</a:t>
              </a:r>
            </a:p>
            <a:p>
              <a:pPr marL="228508" lvl="1" indent="-228508" defTabSz="1066364">
                <a:spcBef>
                  <a:spcPts val="408"/>
                </a:spcBef>
                <a:buFontTx/>
                <a:buChar char="•"/>
                <a:defRPr/>
              </a:pPr>
              <a:r>
                <a:rPr lang="en-US" sz="1428" kern="0">
                  <a:solidFill>
                    <a:prstClr val="black">
                      <a:hueOff val="0"/>
                      <a:satOff val="0"/>
                      <a:lumOff val="0"/>
                      <a:alphaOff val="0"/>
                    </a:prstClr>
                  </a:solidFill>
                  <a:latin typeface="Segoe UI"/>
                </a:rPr>
                <a:t>Native virtual network support.</a:t>
              </a:r>
            </a:p>
            <a:p>
              <a:pPr marL="228508" lvl="1" indent="-228508" defTabSz="1066364">
                <a:spcBef>
                  <a:spcPts val="408"/>
                </a:spcBef>
                <a:buFontTx/>
                <a:buChar char="•"/>
                <a:defRPr/>
              </a:pPr>
              <a:r>
                <a:rPr lang="en-US" sz="1428" kern="0">
                  <a:solidFill>
                    <a:prstClr val="black">
                      <a:hueOff val="0"/>
                      <a:satOff val="0"/>
                      <a:lumOff val="0"/>
                      <a:alphaOff val="0"/>
                    </a:prstClr>
                  </a:solidFill>
                  <a:latin typeface="Segoe UI"/>
                </a:rPr>
                <a:t>Fully managed service.</a:t>
              </a:r>
            </a:p>
          </p:txBody>
        </p:sp>
      </p:grpSp>
      <p:grpSp>
        <p:nvGrpSpPr>
          <p:cNvPr id="14" name="Group 13">
            <a:extLst>
              <a:ext uri="{FF2B5EF4-FFF2-40B4-BE49-F238E27FC236}">
                <a16:creationId xmlns:a16="http://schemas.microsoft.com/office/drawing/2014/main" id="{B9C7685D-45A8-496C-875C-5D940351E2B3}"/>
              </a:ext>
            </a:extLst>
          </p:cNvPr>
          <p:cNvGrpSpPr/>
          <p:nvPr/>
        </p:nvGrpSpPr>
        <p:grpSpPr>
          <a:xfrm>
            <a:off x="3215127" y="3656684"/>
            <a:ext cx="2413795" cy="2571080"/>
            <a:chOff x="6707137" y="5054460"/>
            <a:chExt cx="2476148" cy="2541129"/>
          </a:xfrm>
        </p:grpSpPr>
        <p:sp>
          <p:nvSpPr>
            <p:cNvPr id="15" name="Freeform: Shape 14">
              <a:extLst>
                <a:ext uri="{FF2B5EF4-FFF2-40B4-BE49-F238E27FC236}">
                  <a16:creationId xmlns:a16="http://schemas.microsoft.com/office/drawing/2014/main" id="{812D64CD-B6FF-4CB4-A92E-5EB436B20632}"/>
                </a:ext>
              </a:extLst>
            </p:cNvPr>
            <p:cNvSpPr/>
            <p:nvPr/>
          </p:nvSpPr>
          <p:spPr>
            <a:xfrm>
              <a:off x="6707137" y="5608458"/>
              <a:ext cx="2476148" cy="1987131"/>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noFill/>
            <a:ln w="10795" cap="flat" cmpd="sng" algn="ctr">
              <a:solidFill>
                <a:srgbClr val="EBEBEB"/>
              </a:solidFill>
              <a:prstDash val="solid"/>
            </a:ln>
            <a:effectLst/>
          </p:spPr>
          <p:txBody>
            <a:bodyPr spcFirstLastPara="0" vert="horz" wrap="square" lIns="127979" tIns="127979" rIns="170640" bIns="191970" numCol="1" spcCol="1270" anchor="t" anchorCtr="0">
              <a:noAutofit/>
            </a:bodyPr>
            <a:lstStyle/>
            <a:p>
              <a:pPr marL="228508" lvl="1" indent="-228508" defTabSz="1066364">
                <a:spcBef>
                  <a:spcPts val="408"/>
                </a:spcBef>
                <a:buFontTx/>
                <a:buChar char="•"/>
                <a:defRPr/>
              </a:pPr>
              <a:r>
                <a:rPr lang="en-US" sz="1428" kern="0">
                  <a:solidFill>
                    <a:prstClr val="black">
                      <a:hueOff val="0"/>
                      <a:satOff val="0"/>
                      <a:lumOff val="0"/>
                      <a:alphaOff val="0"/>
                    </a:prstClr>
                  </a:solidFill>
                  <a:latin typeface="Segoe UI"/>
                </a:rPr>
                <a:t>Resource sharing between multiple instances to price optimize.</a:t>
              </a:r>
            </a:p>
            <a:p>
              <a:pPr marL="228508" lvl="1" indent="-228508" defTabSz="1066364">
                <a:spcBef>
                  <a:spcPts val="408"/>
                </a:spcBef>
                <a:buFontTx/>
                <a:buChar char="•"/>
                <a:defRPr/>
              </a:pPr>
              <a:r>
                <a:rPr lang="en-US" sz="1428" kern="0">
                  <a:solidFill>
                    <a:prstClr val="black">
                      <a:hueOff val="0"/>
                      <a:satOff val="0"/>
                      <a:lumOff val="0"/>
                      <a:alphaOff val="0"/>
                    </a:prstClr>
                  </a:solidFill>
                  <a:latin typeface="Segoe UI"/>
                </a:rPr>
                <a:t>Simplified performance management for multiple databases.</a:t>
              </a:r>
            </a:p>
            <a:p>
              <a:pPr marL="228508" lvl="1" indent="-228508" defTabSz="1066364">
                <a:spcBef>
                  <a:spcPts val="408"/>
                </a:spcBef>
                <a:buFontTx/>
                <a:buChar char="•"/>
                <a:defRPr/>
              </a:pPr>
              <a:r>
                <a:rPr lang="en-US" sz="1428" kern="0">
                  <a:solidFill>
                    <a:prstClr val="black">
                      <a:hueOff val="0"/>
                      <a:satOff val="0"/>
                      <a:lumOff val="0"/>
                      <a:alphaOff val="0"/>
                    </a:prstClr>
                  </a:solidFill>
                  <a:latin typeface="Segoe UI"/>
                </a:rPr>
                <a:t>Fully managed service.</a:t>
              </a:r>
            </a:p>
          </p:txBody>
        </p:sp>
        <p:sp>
          <p:nvSpPr>
            <p:cNvPr id="16" name="Freeform: Shape 15">
              <a:extLst>
                <a:ext uri="{FF2B5EF4-FFF2-40B4-BE49-F238E27FC236}">
                  <a16:creationId xmlns:a16="http://schemas.microsoft.com/office/drawing/2014/main" id="{519A230A-0E3D-404D-849C-EEBDDE17988C}"/>
                </a:ext>
              </a:extLst>
            </p:cNvPr>
            <p:cNvSpPr/>
            <p:nvPr/>
          </p:nvSpPr>
          <p:spPr>
            <a:xfrm>
              <a:off x="6707137" y="5054460"/>
              <a:ext cx="2476148" cy="553998"/>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rgbClr val="0078D3"/>
            </a:solidFill>
            <a:ln w="9525" cap="flat" cmpd="sng" algn="ctr">
              <a:solidFill>
                <a:srgbClr val="EBEBEB"/>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091" fontAlgn="base">
                <a:spcBef>
                  <a:spcPct val="0"/>
                </a:spcBef>
                <a:spcAft>
                  <a:spcPct val="0"/>
                </a:spcAft>
                <a:defRPr/>
              </a:pPr>
              <a:r>
                <a:rPr lang="en-US" sz="1836" kern="0">
                  <a:gradFill>
                    <a:gsLst>
                      <a:gs pos="0">
                        <a:srgbClr val="FFFFFF"/>
                      </a:gs>
                      <a:gs pos="100000">
                        <a:srgbClr val="FFFFFF"/>
                      </a:gs>
                    </a:gsLst>
                    <a:lin ang="5400000" scaled="0"/>
                  </a:gradFill>
                  <a:latin typeface="Segoe UI"/>
                  <a:cs typeface="Segoe UI" pitchFamily="34" charset="0"/>
                </a:rPr>
                <a:t>Instance pool*</a:t>
              </a:r>
            </a:p>
          </p:txBody>
        </p:sp>
      </p:grpSp>
      <p:grpSp>
        <p:nvGrpSpPr>
          <p:cNvPr id="17" name="Group 16">
            <a:extLst>
              <a:ext uri="{FF2B5EF4-FFF2-40B4-BE49-F238E27FC236}">
                <a16:creationId xmlns:a16="http://schemas.microsoft.com/office/drawing/2014/main" id="{6B98D94D-D20E-44C2-9609-466FDF9A4284}"/>
              </a:ext>
            </a:extLst>
          </p:cNvPr>
          <p:cNvGrpSpPr/>
          <p:nvPr/>
        </p:nvGrpSpPr>
        <p:grpSpPr>
          <a:xfrm>
            <a:off x="9160102" y="3656685"/>
            <a:ext cx="2413795" cy="2571080"/>
            <a:chOff x="9410103" y="5030740"/>
            <a:chExt cx="2476148" cy="2535202"/>
          </a:xfrm>
        </p:grpSpPr>
        <p:sp>
          <p:nvSpPr>
            <p:cNvPr id="18" name="Freeform: Shape 17">
              <a:extLst>
                <a:ext uri="{FF2B5EF4-FFF2-40B4-BE49-F238E27FC236}">
                  <a16:creationId xmlns:a16="http://schemas.microsoft.com/office/drawing/2014/main" id="{BD8523F3-92BD-4C61-89E4-A140D67E8D53}"/>
                </a:ext>
              </a:extLst>
            </p:cNvPr>
            <p:cNvSpPr/>
            <p:nvPr/>
          </p:nvSpPr>
          <p:spPr>
            <a:xfrm>
              <a:off x="9410103" y="5578811"/>
              <a:ext cx="2476148" cy="1987131"/>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noFill/>
            <a:ln w="10795" cap="flat" cmpd="sng" algn="ctr">
              <a:solidFill>
                <a:srgbClr val="EBEBEB"/>
              </a:solidFill>
              <a:prstDash val="solid"/>
            </a:ln>
            <a:effectLst/>
          </p:spPr>
          <p:txBody>
            <a:bodyPr spcFirstLastPara="0" vert="horz" wrap="square" lIns="127979" tIns="127979" rIns="170640" bIns="191970" numCol="1" spcCol="1270" anchor="t" anchorCtr="0">
              <a:noAutofit/>
            </a:bodyPr>
            <a:lstStyle/>
            <a:p>
              <a:pPr marL="228508" lvl="1" indent="-228508" defTabSz="1066364">
                <a:spcBef>
                  <a:spcPts val="408"/>
                </a:spcBef>
                <a:buFontTx/>
                <a:buChar char="•"/>
                <a:defRPr/>
              </a:pPr>
              <a:r>
                <a:rPr lang="en-US" sz="1428" kern="0">
                  <a:solidFill>
                    <a:prstClr val="black">
                      <a:hueOff val="0"/>
                      <a:satOff val="0"/>
                      <a:lumOff val="0"/>
                      <a:alphaOff val="0"/>
                    </a:prstClr>
                  </a:solidFill>
                  <a:latin typeface="Segoe UI"/>
                </a:rPr>
                <a:t>Resource sharing between multiple databases to price optimize.</a:t>
              </a:r>
            </a:p>
            <a:p>
              <a:pPr marL="228508" lvl="1" indent="-228508" defTabSz="1066364">
                <a:spcBef>
                  <a:spcPts val="408"/>
                </a:spcBef>
                <a:buFontTx/>
                <a:buChar char="•"/>
                <a:defRPr/>
              </a:pPr>
              <a:r>
                <a:rPr lang="en-US" sz="1428" kern="0">
                  <a:solidFill>
                    <a:prstClr val="black">
                      <a:hueOff val="0"/>
                      <a:satOff val="0"/>
                      <a:lumOff val="0"/>
                      <a:alphaOff val="0"/>
                    </a:prstClr>
                  </a:solidFill>
                  <a:latin typeface="Segoe UI"/>
                </a:rPr>
                <a:t>Simplified performance management for multiple databases.</a:t>
              </a:r>
            </a:p>
            <a:p>
              <a:pPr marL="228508" lvl="1" indent="-228508" defTabSz="1066364">
                <a:spcBef>
                  <a:spcPts val="408"/>
                </a:spcBef>
                <a:buFontTx/>
                <a:buChar char="•"/>
                <a:defRPr/>
              </a:pPr>
              <a:r>
                <a:rPr lang="en-US" sz="1428" kern="0">
                  <a:solidFill>
                    <a:prstClr val="black">
                      <a:hueOff val="0"/>
                      <a:satOff val="0"/>
                      <a:lumOff val="0"/>
                      <a:alphaOff val="0"/>
                    </a:prstClr>
                  </a:solidFill>
                  <a:latin typeface="Segoe UI"/>
                </a:rPr>
                <a:t>Fully managed service.</a:t>
              </a:r>
            </a:p>
          </p:txBody>
        </p:sp>
        <p:sp>
          <p:nvSpPr>
            <p:cNvPr id="19" name="Freeform: Shape 18">
              <a:extLst>
                <a:ext uri="{FF2B5EF4-FFF2-40B4-BE49-F238E27FC236}">
                  <a16:creationId xmlns:a16="http://schemas.microsoft.com/office/drawing/2014/main" id="{06525A45-1AB9-46A7-8019-293E57A0C83B}"/>
                </a:ext>
              </a:extLst>
            </p:cNvPr>
            <p:cNvSpPr/>
            <p:nvPr/>
          </p:nvSpPr>
          <p:spPr>
            <a:xfrm>
              <a:off x="9410103" y="5030740"/>
              <a:ext cx="2476148" cy="553998"/>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rgbClr val="0078D3"/>
            </a:solidFill>
            <a:ln w="9525" cap="flat" cmpd="sng" algn="ctr">
              <a:solidFill>
                <a:srgbClr val="EBEBEB"/>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091" fontAlgn="base">
                <a:spcBef>
                  <a:spcPct val="0"/>
                </a:spcBef>
                <a:spcAft>
                  <a:spcPct val="0"/>
                </a:spcAft>
                <a:defRPr/>
              </a:pPr>
              <a:r>
                <a:rPr lang="en-US" sz="1836" kern="0">
                  <a:gradFill>
                    <a:gsLst>
                      <a:gs pos="0">
                        <a:srgbClr val="FFFFFF"/>
                      </a:gs>
                      <a:gs pos="100000">
                        <a:srgbClr val="FFFFFF"/>
                      </a:gs>
                    </a:gsLst>
                    <a:lin ang="5400000" scaled="0"/>
                  </a:gradFill>
                  <a:latin typeface="Segoe UI"/>
                  <a:cs typeface="Segoe UI" pitchFamily="34" charset="0"/>
                </a:rPr>
                <a:t>Elastic pool</a:t>
              </a:r>
            </a:p>
          </p:txBody>
        </p:sp>
      </p:grpSp>
      <p:grpSp>
        <p:nvGrpSpPr>
          <p:cNvPr id="20" name="Group 19">
            <a:extLst>
              <a:ext uri="{FF2B5EF4-FFF2-40B4-BE49-F238E27FC236}">
                <a16:creationId xmlns:a16="http://schemas.microsoft.com/office/drawing/2014/main" id="{032687F2-FC57-4D3A-A114-91EE0EA10E76}"/>
              </a:ext>
            </a:extLst>
          </p:cNvPr>
          <p:cNvGrpSpPr/>
          <p:nvPr/>
        </p:nvGrpSpPr>
        <p:grpSpPr>
          <a:xfrm>
            <a:off x="6830744" y="3656684"/>
            <a:ext cx="2194038" cy="2571080"/>
            <a:chOff x="6707137" y="5054460"/>
            <a:chExt cx="2476148" cy="2541129"/>
          </a:xfrm>
        </p:grpSpPr>
        <p:sp>
          <p:nvSpPr>
            <p:cNvPr id="21" name="Freeform: Shape 20">
              <a:extLst>
                <a:ext uri="{FF2B5EF4-FFF2-40B4-BE49-F238E27FC236}">
                  <a16:creationId xmlns:a16="http://schemas.microsoft.com/office/drawing/2014/main" id="{FC16D223-E197-402B-87CB-BECEAB7774F9}"/>
                </a:ext>
              </a:extLst>
            </p:cNvPr>
            <p:cNvSpPr/>
            <p:nvPr/>
          </p:nvSpPr>
          <p:spPr>
            <a:xfrm>
              <a:off x="6707137" y="5608458"/>
              <a:ext cx="2476148" cy="1987131"/>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noFill/>
            <a:ln w="10795" cap="flat" cmpd="sng" algn="ctr">
              <a:solidFill>
                <a:srgbClr val="EBEBEB"/>
              </a:solidFill>
              <a:prstDash val="solid"/>
            </a:ln>
            <a:effectLst/>
          </p:spPr>
          <p:txBody>
            <a:bodyPr spcFirstLastPara="0" vert="horz" wrap="square" lIns="127979" tIns="127979" rIns="170640" bIns="191970" numCol="1" spcCol="1270" anchor="t" anchorCtr="0">
              <a:noAutofit/>
            </a:bodyPr>
            <a:lstStyle/>
            <a:p>
              <a:pPr marL="228508" lvl="1" indent="-228508" defTabSz="1066364">
                <a:spcBef>
                  <a:spcPts val="408"/>
                </a:spcBef>
                <a:buFontTx/>
                <a:buChar char="•"/>
                <a:defRPr/>
              </a:pPr>
              <a:r>
                <a:rPr lang="en-US" sz="1428" kern="0">
                  <a:solidFill>
                    <a:srgbClr val="243A5E"/>
                  </a:solidFill>
                  <a:latin typeface="Segoe UI"/>
                </a:rPr>
                <a:t>Hyperscale storage (up to 100TB).</a:t>
              </a:r>
            </a:p>
            <a:p>
              <a:pPr marL="228508" lvl="1" indent="-228508" defTabSz="1066364">
                <a:spcBef>
                  <a:spcPts val="408"/>
                </a:spcBef>
                <a:buFontTx/>
                <a:buChar char="•"/>
                <a:defRPr/>
              </a:pPr>
              <a:r>
                <a:rPr lang="en-US" sz="1428" kern="0">
                  <a:solidFill>
                    <a:srgbClr val="243A5E"/>
                  </a:solidFill>
                  <a:latin typeface="Segoe UI"/>
                </a:rPr>
                <a:t>Serverless compute.</a:t>
              </a:r>
            </a:p>
            <a:p>
              <a:pPr marL="228508" lvl="1" indent="-228508" defTabSz="1066364">
                <a:spcBef>
                  <a:spcPts val="408"/>
                </a:spcBef>
                <a:buFontTx/>
                <a:buChar char="•"/>
                <a:defRPr/>
              </a:pPr>
              <a:r>
                <a:rPr lang="en-US" sz="1428" kern="0">
                  <a:solidFill>
                    <a:prstClr val="black">
                      <a:hueOff val="0"/>
                      <a:satOff val="0"/>
                      <a:lumOff val="0"/>
                      <a:alphaOff val="0"/>
                    </a:prstClr>
                  </a:solidFill>
                  <a:latin typeface="Segoe UI"/>
                </a:rPr>
                <a:t>Fully managed service.</a:t>
              </a:r>
            </a:p>
          </p:txBody>
        </p:sp>
        <p:sp>
          <p:nvSpPr>
            <p:cNvPr id="22" name="Freeform: Shape 21">
              <a:extLst>
                <a:ext uri="{FF2B5EF4-FFF2-40B4-BE49-F238E27FC236}">
                  <a16:creationId xmlns:a16="http://schemas.microsoft.com/office/drawing/2014/main" id="{96B79270-AAF7-480D-AD89-B51C236E6C28}"/>
                </a:ext>
              </a:extLst>
            </p:cNvPr>
            <p:cNvSpPr/>
            <p:nvPr/>
          </p:nvSpPr>
          <p:spPr>
            <a:xfrm>
              <a:off x="6707137" y="5054460"/>
              <a:ext cx="2476148" cy="553998"/>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rgbClr val="0078D3"/>
            </a:solidFill>
            <a:ln w="9525" cap="flat" cmpd="sng" algn="ctr">
              <a:solidFill>
                <a:srgbClr val="EBEBEB"/>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091" fontAlgn="base">
                <a:spcBef>
                  <a:spcPct val="0"/>
                </a:spcBef>
                <a:spcAft>
                  <a:spcPct val="0"/>
                </a:spcAft>
                <a:defRPr/>
              </a:pPr>
              <a:r>
                <a:rPr lang="en-US" sz="1836" kern="0">
                  <a:gradFill>
                    <a:gsLst>
                      <a:gs pos="0">
                        <a:srgbClr val="FFFFFF"/>
                      </a:gs>
                      <a:gs pos="100000">
                        <a:srgbClr val="FFFFFF"/>
                      </a:gs>
                    </a:gsLst>
                    <a:lin ang="5400000" scaled="0"/>
                  </a:gradFill>
                  <a:latin typeface="Segoe UI"/>
                  <a:cs typeface="Segoe UI" pitchFamily="34" charset="0"/>
                </a:rPr>
                <a:t>Single database</a:t>
              </a:r>
            </a:p>
          </p:txBody>
        </p:sp>
      </p:grpSp>
      <p:pic>
        <p:nvPicPr>
          <p:cNvPr id="23" name="Graphic 22">
            <a:extLst>
              <a:ext uri="{FF2B5EF4-FFF2-40B4-BE49-F238E27FC236}">
                <a16:creationId xmlns:a16="http://schemas.microsoft.com/office/drawing/2014/main" id="{DA7824CC-B5F4-4F19-A3D0-59D38BD3E73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85942" y="2640101"/>
            <a:ext cx="966302" cy="966302"/>
          </a:xfrm>
          <a:prstGeom prst="rect">
            <a:avLst/>
          </a:prstGeom>
        </p:spPr>
      </p:pic>
      <p:pic>
        <p:nvPicPr>
          <p:cNvPr id="24" name="Graphic 23">
            <a:extLst>
              <a:ext uri="{FF2B5EF4-FFF2-40B4-BE49-F238E27FC236}">
                <a16:creationId xmlns:a16="http://schemas.microsoft.com/office/drawing/2014/main" id="{53651678-1A64-4A2F-BA26-45C229A3918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20781" y="2596318"/>
            <a:ext cx="966302" cy="966302"/>
          </a:xfrm>
          <a:prstGeom prst="rect">
            <a:avLst/>
          </a:prstGeom>
        </p:spPr>
      </p:pic>
      <p:pic>
        <p:nvPicPr>
          <p:cNvPr id="25" name="Graphic 24">
            <a:extLst>
              <a:ext uri="{FF2B5EF4-FFF2-40B4-BE49-F238E27FC236}">
                <a16:creationId xmlns:a16="http://schemas.microsoft.com/office/drawing/2014/main" id="{8EE2D6CF-7A4B-401E-ACDD-7B39133C7E7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44612" y="2596318"/>
            <a:ext cx="966302" cy="966302"/>
          </a:xfrm>
          <a:prstGeom prst="rect">
            <a:avLst/>
          </a:prstGeom>
        </p:spPr>
      </p:pic>
      <p:pic>
        <p:nvPicPr>
          <p:cNvPr id="26" name="Graphic 25">
            <a:extLst>
              <a:ext uri="{FF2B5EF4-FFF2-40B4-BE49-F238E27FC236}">
                <a16:creationId xmlns:a16="http://schemas.microsoft.com/office/drawing/2014/main" id="{996A1D72-E627-4513-BAB0-A60CF0DC58F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79451" y="2545081"/>
            <a:ext cx="966302" cy="966302"/>
          </a:xfrm>
          <a:prstGeom prst="rect">
            <a:avLst/>
          </a:prstGeom>
        </p:spPr>
      </p:pic>
      <p:grpSp>
        <p:nvGrpSpPr>
          <p:cNvPr id="27" name="Group 26">
            <a:extLst>
              <a:ext uri="{FF2B5EF4-FFF2-40B4-BE49-F238E27FC236}">
                <a16:creationId xmlns:a16="http://schemas.microsoft.com/office/drawing/2014/main" id="{B0F49286-4A10-4544-A327-ED26D1749B80}"/>
              </a:ext>
            </a:extLst>
          </p:cNvPr>
          <p:cNvGrpSpPr/>
          <p:nvPr/>
        </p:nvGrpSpPr>
        <p:grpSpPr>
          <a:xfrm>
            <a:off x="4694213" y="934776"/>
            <a:ext cx="2793189" cy="911403"/>
            <a:chOff x="4610307" y="544831"/>
            <a:chExt cx="2775812" cy="997393"/>
          </a:xfrm>
        </p:grpSpPr>
        <p:sp>
          <p:nvSpPr>
            <p:cNvPr id="28" name="Rectangle 27">
              <a:extLst>
                <a:ext uri="{FF2B5EF4-FFF2-40B4-BE49-F238E27FC236}">
                  <a16:creationId xmlns:a16="http://schemas.microsoft.com/office/drawing/2014/main" id="{6DA82C20-8928-4A92-8991-2BD3530C0EDF}"/>
                </a:ext>
              </a:extLst>
            </p:cNvPr>
            <p:cNvSpPr/>
            <p:nvPr/>
          </p:nvSpPr>
          <p:spPr bwMode="auto">
            <a:xfrm>
              <a:off x="4610307" y="1163052"/>
              <a:ext cx="2775812" cy="379172"/>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609468"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zure SQL Database</a:t>
              </a:r>
            </a:p>
          </p:txBody>
        </p:sp>
        <p:grpSp>
          <p:nvGrpSpPr>
            <p:cNvPr id="29" name="Group 28">
              <a:extLst>
                <a:ext uri="{FF2B5EF4-FFF2-40B4-BE49-F238E27FC236}">
                  <a16:creationId xmlns:a16="http://schemas.microsoft.com/office/drawing/2014/main" id="{5DD918AB-00A1-4F31-845E-5C0EBED4A6B5}"/>
                </a:ext>
              </a:extLst>
            </p:cNvPr>
            <p:cNvGrpSpPr/>
            <p:nvPr/>
          </p:nvGrpSpPr>
          <p:grpSpPr>
            <a:xfrm>
              <a:off x="5700469" y="544831"/>
              <a:ext cx="503117" cy="450756"/>
              <a:chOff x="2599524" y="2721226"/>
              <a:chExt cx="1678400" cy="1503722"/>
            </a:xfrm>
          </p:grpSpPr>
          <p:sp>
            <p:nvSpPr>
              <p:cNvPr id="30" name="Cylinder 812">
                <a:extLst>
                  <a:ext uri="{FF2B5EF4-FFF2-40B4-BE49-F238E27FC236}">
                    <a16:creationId xmlns:a16="http://schemas.microsoft.com/office/drawing/2014/main" id="{091B2941-F117-4259-AA0D-D8CE2E930DC4}"/>
                  </a:ext>
                </a:extLst>
              </p:cNvPr>
              <p:cNvSpPr/>
              <p:nvPr/>
            </p:nvSpPr>
            <p:spPr bwMode="auto">
              <a:xfrm>
                <a:off x="2599524" y="2721226"/>
                <a:ext cx="1043832" cy="1371349"/>
              </a:xfrm>
              <a:prstGeom prst="can">
                <a:avLst>
                  <a:gd name="adj" fmla="val 39530"/>
                </a:avLst>
              </a:prstGeom>
              <a:solidFill>
                <a:srgbClr val="FFFFFF"/>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900" b="0" i="0" u="none" strike="noStrike" kern="0" cap="none" spc="0" normalizeH="0" baseline="0" noProof="0">
                    <a:ln>
                      <a:noFill/>
                    </a:ln>
                    <a:solidFill>
                      <a:srgbClr val="0078D7"/>
                    </a:solidFill>
                    <a:effectLst/>
                    <a:uLnTx/>
                    <a:uFillTx/>
                    <a:latin typeface="Segoe UI"/>
                    <a:ea typeface="Segoe UI" pitchFamily="34" charset="0"/>
                    <a:cs typeface="Segoe UI Semilight" panose="020B0402040204020203" pitchFamily="34" charset="0"/>
                  </a:rPr>
                  <a:t>SQL</a:t>
                </a:r>
              </a:p>
            </p:txBody>
          </p:sp>
          <p:sp>
            <p:nvSpPr>
              <p:cNvPr id="31" name="Freeform 146">
                <a:extLst>
                  <a:ext uri="{FF2B5EF4-FFF2-40B4-BE49-F238E27FC236}">
                    <a16:creationId xmlns:a16="http://schemas.microsoft.com/office/drawing/2014/main" id="{869AE1E2-B68E-4F14-8F77-6640998DED71}"/>
                  </a:ext>
                </a:extLst>
              </p:cNvPr>
              <p:cNvSpPr>
                <a:spLocks noChangeAspect="1"/>
              </p:cNvSpPr>
              <p:nvPr/>
            </p:nvSpPr>
            <p:spPr bwMode="auto">
              <a:xfrm>
                <a:off x="3262683" y="3581985"/>
                <a:ext cx="1015241" cy="642963"/>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FFFFFF"/>
              </a:solid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800" b="1" i="0" u="none" strike="noStrike" kern="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grpSp>
        <p:nvGrpSpPr>
          <p:cNvPr id="32" name="Group 31">
            <a:extLst>
              <a:ext uri="{FF2B5EF4-FFF2-40B4-BE49-F238E27FC236}">
                <a16:creationId xmlns:a16="http://schemas.microsoft.com/office/drawing/2014/main" id="{E88A719D-3879-48F5-8A21-0D496DB33B56}"/>
              </a:ext>
            </a:extLst>
          </p:cNvPr>
          <p:cNvGrpSpPr/>
          <p:nvPr/>
        </p:nvGrpSpPr>
        <p:grpSpPr>
          <a:xfrm>
            <a:off x="2948750" y="1418764"/>
            <a:ext cx="6284116" cy="229078"/>
            <a:chOff x="2854960" y="1685302"/>
            <a:chExt cx="6284116" cy="229078"/>
          </a:xfrm>
        </p:grpSpPr>
        <p:grpSp>
          <p:nvGrpSpPr>
            <p:cNvPr id="33" name="Group 32">
              <a:extLst>
                <a:ext uri="{FF2B5EF4-FFF2-40B4-BE49-F238E27FC236}">
                  <a16:creationId xmlns:a16="http://schemas.microsoft.com/office/drawing/2014/main" id="{2383F5E4-4B8F-4B5D-ABF7-C47AB83D976D}"/>
                </a:ext>
              </a:extLst>
            </p:cNvPr>
            <p:cNvGrpSpPr/>
            <p:nvPr/>
          </p:nvGrpSpPr>
          <p:grpSpPr>
            <a:xfrm>
              <a:off x="2854960" y="1685302"/>
              <a:ext cx="6284116" cy="229078"/>
              <a:chOff x="2854960" y="1685302"/>
              <a:chExt cx="6284116" cy="229078"/>
            </a:xfrm>
          </p:grpSpPr>
          <p:cxnSp>
            <p:nvCxnSpPr>
              <p:cNvPr id="35" name="Straight Connector 34">
                <a:extLst>
                  <a:ext uri="{FF2B5EF4-FFF2-40B4-BE49-F238E27FC236}">
                    <a16:creationId xmlns:a16="http://schemas.microsoft.com/office/drawing/2014/main" id="{CEB8C8F4-FDF3-4CC1-9689-4EDC9E439D4E}"/>
                  </a:ext>
                </a:extLst>
              </p:cNvPr>
              <p:cNvCxnSpPr>
                <a:cxnSpLocks/>
              </p:cNvCxnSpPr>
              <p:nvPr/>
            </p:nvCxnSpPr>
            <p:spPr>
              <a:xfrm>
                <a:off x="2854960" y="1685302"/>
                <a:ext cx="6284116" cy="0"/>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FACB380-524B-459F-A84F-A74234433BB1}"/>
                  </a:ext>
                </a:extLst>
              </p:cNvPr>
              <p:cNvCxnSpPr/>
              <p:nvPr/>
            </p:nvCxnSpPr>
            <p:spPr>
              <a:xfrm>
                <a:off x="2854960" y="1685302"/>
                <a:ext cx="0" cy="229078"/>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4" name="Straight Connector 33">
              <a:extLst>
                <a:ext uri="{FF2B5EF4-FFF2-40B4-BE49-F238E27FC236}">
                  <a16:creationId xmlns:a16="http://schemas.microsoft.com/office/drawing/2014/main" id="{C8C911ED-5D63-4770-8A94-530CC95CE8AF}"/>
                </a:ext>
              </a:extLst>
            </p:cNvPr>
            <p:cNvCxnSpPr/>
            <p:nvPr/>
          </p:nvCxnSpPr>
          <p:spPr>
            <a:xfrm>
              <a:off x="9133840" y="1685302"/>
              <a:ext cx="0" cy="229078"/>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7" name="Rectangle 36">
            <a:extLst>
              <a:ext uri="{FF2B5EF4-FFF2-40B4-BE49-F238E27FC236}">
                <a16:creationId xmlns:a16="http://schemas.microsoft.com/office/drawing/2014/main" id="{B1882808-089E-4973-8E94-4F116B0A1650}"/>
              </a:ext>
            </a:extLst>
          </p:cNvPr>
          <p:cNvSpPr/>
          <p:nvPr/>
        </p:nvSpPr>
        <p:spPr bwMode="auto">
          <a:xfrm>
            <a:off x="3215127" y="6247954"/>
            <a:ext cx="2440066" cy="414353"/>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defTabSz="951005" fontAlgn="base">
              <a:spcBef>
                <a:spcPct val="0"/>
              </a:spcBef>
              <a:spcAft>
                <a:spcPct val="0"/>
              </a:spcAft>
              <a:defRPr/>
            </a:pPr>
            <a:r>
              <a:rPr lang="en-US" sz="1200">
                <a:solidFill>
                  <a:srgbClr val="0078D7"/>
                </a:solidFill>
                <a:latin typeface="Segoe UI"/>
                <a:cs typeface="Segoe UI"/>
              </a:rPr>
              <a:t>*Instance pool is currently in public preview, more details </a:t>
            </a:r>
            <a:r>
              <a:rPr lang="en-US" sz="1200">
                <a:solidFill>
                  <a:srgbClr val="0078D7"/>
                </a:solidFill>
                <a:latin typeface="Segoe UI"/>
                <a:cs typeface="Segoe UI"/>
                <a:hlinkClick r:id="rId11"/>
              </a:rPr>
              <a:t>here</a:t>
            </a:r>
            <a:endParaRPr lang="en-US" sz="1200">
              <a:solidFill>
                <a:srgbClr val="0078D7"/>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04410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Azure SQL Database Purchasing models and resources</a:t>
            </a:r>
          </a:p>
        </p:txBody>
      </p:sp>
      <p:grpSp>
        <p:nvGrpSpPr>
          <p:cNvPr id="6" name="Group 5">
            <a:extLst>
              <a:ext uri="{FF2B5EF4-FFF2-40B4-BE49-F238E27FC236}">
                <a16:creationId xmlns:a16="http://schemas.microsoft.com/office/drawing/2014/main" id="{60B12E2B-40FE-49BA-AB6C-A51873E84AEE}"/>
              </a:ext>
            </a:extLst>
          </p:cNvPr>
          <p:cNvGrpSpPr/>
          <p:nvPr/>
        </p:nvGrpSpPr>
        <p:grpSpPr>
          <a:xfrm>
            <a:off x="7497543" y="1408114"/>
            <a:ext cx="4038818" cy="4663503"/>
            <a:chOff x="6508458" y="346017"/>
            <a:chExt cx="4726051" cy="6243344"/>
          </a:xfrm>
        </p:grpSpPr>
        <p:sp>
          <p:nvSpPr>
            <p:cNvPr id="7" name="TextBox 6">
              <a:extLst>
                <a:ext uri="{FF2B5EF4-FFF2-40B4-BE49-F238E27FC236}">
                  <a16:creationId xmlns:a16="http://schemas.microsoft.com/office/drawing/2014/main" id="{E6F4DF75-EE24-450B-8AD4-1D87A85E0C46}"/>
                </a:ext>
              </a:extLst>
            </p:cNvPr>
            <p:cNvSpPr txBox="1"/>
            <p:nvPr/>
          </p:nvSpPr>
          <p:spPr>
            <a:xfrm>
              <a:off x="8227608" y="3714631"/>
              <a:ext cx="2034544" cy="58715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bold" panose="020B0702040204020203" pitchFamily="34" charset="0"/>
                  <a:ea typeface="MS PGothic" charset="0"/>
                  <a:cs typeface="Segoe UI Semibold" panose="020B0702040204020203" pitchFamily="34" charset="0"/>
                </a:rPr>
                <a:t>New vCore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S PGothic" charset="0"/>
                  <a:cs typeface="Segoe UI Semibold" panose="020B0702040204020203" pitchFamily="34" charset="0"/>
                </a:rPr>
                <a:t>Independent scalability</a:t>
              </a:r>
            </a:p>
          </p:txBody>
        </p:sp>
        <p:sp>
          <p:nvSpPr>
            <p:cNvPr id="8" name="TextBox 7">
              <a:extLst>
                <a:ext uri="{FF2B5EF4-FFF2-40B4-BE49-F238E27FC236}">
                  <a16:creationId xmlns:a16="http://schemas.microsoft.com/office/drawing/2014/main" id="{5FE14864-D0AF-4D2C-84E8-77CCDC7FE651}"/>
                </a:ext>
              </a:extLst>
            </p:cNvPr>
            <p:cNvSpPr txBox="1"/>
            <p:nvPr/>
          </p:nvSpPr>
          <p:spPr>
            <a:xfrm>
              <a:off x="8435861" y="346017"/>
              <a:ext cx="1439710" cy="438582"/>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bold" panose="020B0702040204020203" pitchFamily="34" charset="0"/>
                  <a:ea typeface="MS PGothic" charset="0"/>
                  <a:cs typeface="Segoe UI Semibold" panose="020B0702040204020203" pitchFamily="34" charset="0"/>
                </a:rPr>
                <a:t>DTU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latin typeface="Segoe UI Semibold" panose="020B0702040204020203" pitchFamily="34" charset="0"/>
                  <a:ea typeface="MS PGothic" charset="0"/>
                  <a:cs typeface="Segoe UI Semibold" panose="020B0702040204020203" pitchFamily="34" charset="0"/>
                </a:rPr>
                <a:t>Fixed scalability</a:t>
              </a:r>
            </a:p>
          </p:txBody>
        </p:sp>
        <p:cxnSp>
          <p:nvCxnSpPr>
            <p:cNvPr id="9" name="Straight Arrow Connector 8">
              <a:extLst>
                <a:ext uri="{FF2B5EF4-FFF2-40B4-BE49-F238E27FC236}">
                  <a16:creationId xmlns:a16="http://schemas.microsoft.com/office/drawing/2014/main" id="{53275D1C-549D-495A-A3D2-3420B0A8618A}"/>
                </a:ext>
              </a:extLst>
            </p:cNvPr>
            <p:cNvCxnSpPr/>
            <p:nvPr/>
          </p:nvCxnSpPr>
          <p:spPr>
            <a:xfrm flipV="1">
              <a:off x="6865373" y="4336874"/>
              <a:ext cx="0" cy="1955155"/>
            </a:xfrm>
            <a:prstGeom prst="straightConnector1">
              <a:avLst/>
            </a:prstGeom>
            <a:noFill/>
            <a:ln w="12700" cap="flat" cmpd="sng" algn="ctr">
              <a:solidFill>
                <a:schemeClr val="tx1">
                  <a:lumMod val="65000"/>
                  <a:lumOff val="35000"/>
                </a:schemeClr>
              </a:solidFill>
              <a:prstDash val="solid"/>
              <a:miter lim="800000"/>
              <a:tailEnd type="triangle"/>
            </a:ln>
            <a:effectLst/>
          </p:spPr>
        </p:cxnSp>
        <p:cxnSp>
          <p:nvCxnSpPr>
            <p:cNvPr id="10" name="Straight Arrow Connector 9">
              <a:extLst>
                <a:ext uri="{FF2B5EF4-FFF2-40B4-BE49-F238E27FC236}">
                  <a16:creationId xmlns:a16="http://schemas.microsoft.com/office/drawing/2014/main" id="{0D887CAB-4442-45D6-9A30-85AEB02BF393}"/>
                </a:ext>
              </a:extLst>
            </p:cNvPr>
            <p:cNvCxnSpPr>
              <a:cxnSpLocks/>
            </p:cNvCxnSpPr>
            <p:nvPr/>
          </p:nvCxnSpPr>
          <p:spPr>
            <a:xfrm flipV="1">
              <a:off x="6865373" y="6292028"/>
              <a:ext cx="4369136" cy="1"/>
            </a:xfrm>
            <a:prstGeom prst="straightConnector1">
              <a:avLst/>
            </a:prstGeom>
            <a:noFill/>
            <a:ln w="12700" cap="flat" cmpd="sng" algn="ctr">
              <a:solidFill>
                <a:schemeClr val="tx1">
                  <a:lumMod val="65000"/>
                  <a:lumOff val="35000"/>
                </a:schemeClr>
              </a:solidFill>
              <a:prstDash val="solid"/>
              <a:miter lim="800000"/>
              <a:tailEnd type="triangle"/>
            </a:ln>
            <a:effectLst/>
          </p:spPr>
        </p:cxnSp>
        <p:sp>
          <p:nvSpPr>
            <p:cNvPr id="11" name="TextBox 10">
              <a:extLst>
                <a:ext uri="{FF2B5EF4-FFF2-40B4-BE49-F238E27FC236}">
                  <a16:creationId xmlns:a16="http://schemas.microsoft.com/office/drawing/2014/main" id="{C26E3A7F-4789-401F-BE89-267EF50B61F5}"/>
                </a:ext>
              </a:extLst>
            </p:cNvPr>
            <p:cNvSpPr txBox="1"/>
            <p:nvPr/>
          </p:nvSpPr>
          <p:spPr>
            <a:xfrm rot="16200000">
              <a:off x="6196829" y="5104835"/>
              <a:ext cx="973313" cy="29712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Compute</a:t>
              </a:r>
              <a:r>
                <a:rPr kumimoji="0" lang="en-US" sz="105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 </a:t>
              </a:r>
            </a:p>
          </p:txBody>
        </p:sp>
        <p:sp>
          <p:nvSpPr>
            <p:cNvPr id="12" name="TextBox 11">
              <a:extLst>
                <a:ext uri="{FF2B5EF4-FFF2-40B4-BE49-F238E27FC236}">
                  <a16:creationId xmlns:a16="http://schemas.microsoft.com/office/drawing/2014/main" id="{09739CB9-693F-4FB8-94BE-DF5648BD881E}"/>
                </a:ext>
              </a:extLst>
            </p:cNvPr>
            <p:cNvSpPr txBox="1"/>
            <p:nvPr/>
          </p:nvSpPr>
          <p:spPr>
            <a:xfrm>
              <a:off x="8424318" y="6335445"/>
              <a:ext cx="1251247"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Storage</a:t>
              </a:r>
              <a:r>
                <a:rPr kumimoji="0" lang="en-US" sz="105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 </a:t>
              </a:r>
            </a:p>
          </p:txBody>
        </p:sp>
        <p:sp>
          <p:nvSpPr>
            <p:cNvPr id="13" name="TextBox 12">
              <a:extLst>
                <a:ext uri="{FF2B5EF4-FFF2-40B4-BE49-F238E27FC236}">
                  <a16:creationId xmlns:a16="http://schemas.microsoft.com/office/drawing/2014/main" id="{6FF4ABC5-B3B5-473E-BBFF-C64F18AEB990}"/>
                </a:ext>
              </a:extLst>
            </p:cNvPr>
            <p:cNvSpPr txBox="1"/>
            <p:nvPr/>
          </p:nvSpPr>
          <p:spPr>
            <a:xfrm>
              <a:off x="8224313" y="2966066"/>
              <a:ext cx="165125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Storage</a:t>
              </a:r>
            </a:p>
          </p:txBody>
        </p:sp>
        <p:sp>
          <p:nvSpPr>
            <p:cNvPr id="14" name="TextBox 13">
              <a:extLst>
                <a:ext uri="{FF2B5EF4-FFF2-40B4-BE49-F238E27FC236}">
                  <a16:creationId xmlns:a16="http://schemas.microsoft.com/office/drawing/2014/main" id="{064AE4FF-FD59-4664-BBA7-FDC46442E801}"/>
                </a:ext>
              </a:extLst>
            </p:cNvPr>
            <p:cNvSpPr txBox="1"/>
            <p:nvPr/>
          </p:nvSpPr>
          <p:spPr>
            <a:xfrm rot="16200000">
              <a:off x="6170362" y="1761423"/>
              <a:ext cx="973313" cy="29712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Compute</a:t>
              </a:r>
              <a:r>
                <a:rPr kumimoji="0" lang="en-US" sz="105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 </a:t>
              </a:r>
            </a:p>
          </p:txBody>
        </p:sp>
        <p:cxnSp>
          <p:nvCxnSpPr>
            <p:cNvPr id="15" name="Straight Arrow Connector 14">
              <a:extLst>
                <a:ext uri="{FF2B5EF4-FFF2-40B4-BE49-F238E27FC236}">
                  <a16:creationId xmlns:a16="http://schemas.microsoft.com/office/drawing/2014/main" id="{51737AB7-B85A-4BEA-80C2-F580DFECB114}"/>
                </a:ext>
              </a:extLst>
            </p:cNvPr>
            <p:cNvCxnSpPr/>
            <p:nvPr/>
          </p:nvCxnSpPr>
          <p:spPr>
            <a:xfrm flipV="1">
              <a:off x="6865375" y="962203"/>
              <a:ext cx="0" cy="1955152"/>
            </a:xfrm>
            <a:prstGeom prst="straightConnector1">
              <a:avLst/>
            </a:prstGeom>
            <a:noFill/>
            <a:ln w="12700" cap="flat" cmpd="sng" algn="ctr">
              <a:solidFill>
                <a:schemeClr val="tx1">
                  <a:lumMod val="65000"/>
                  <a:lumOff val="35000"/>
                </a:schemeClr>
              </a:solidFill>
              <a:prstDash val="solid"/>
              <a:miter lim="800000"/>
              <a:tailEnd type="triangle"/>
            </a:ln>
            <a:effectLst/>
          </p:spPr>
        </p:cxnSp>
        <p:cxnSp>
          <p:nvCxnSpPr>
            <p:cNvPr id="16" name="Straight Arrow Connector 15">
              <a:extLst>
                <a:ext uri="{FF2B5EF4-FFF2-40B4-BE49-F238E27FC236}">
                  <a16:creationId xmlns:a16="http://schemas.microsoft.com/office/drawing/2014/main" id="{40117F59-AB3B-4E46-95CC-8ECDF6642F30}"/>
                </a:ext>
              </a:extLst>
            </p:cNvPr>
            <p:cNvCxnSpPr>
              <a:cxnSpLocks/>
            </p:cNvCxnSpPr>
            <p:nvPr/>
          </p:nvCxnSpPr>
          <p:spPr>
            <a:xfrm flipV="1">
              <a:off x="6865375" y="2917354"/>
              <a:ext cx="4369132" cy="1"/>
            </a:xfrm>
            <a:prstGeom prst="straightConnector1">
              <a:avLst/>
            </a:prstGeom>
            <a:noFill/>
            <a:ln w="12700" cap="flat" cmpd="sng" algn="ctr">
              <a:solidFill>
                <a:schemeClr val="tx1">
                  <a:lumMod val="65000"/>
                  <a:lumOff val="35000"/>
                </a:schemeClr>
              </a:solidFill>
              <a:prstDash val="solid"/>
              <a:miter lim="800000"/>
              <a:tailEnd type="triangle"/>
            </a:ln>
            <a:effectLst/>
          </p:spPr>
        </p:cxnSp>
        <p:cxnSp>
          <p:nvCxnSpPr>
            <p:cNvPr id="17" name="Straight Arrow Connector 16">
              <a:extLst>
                <a:ext uri="{FF2B5EF4-FFF2-40B4-BE49-F238E27FC236}">
                  <a16:creationId xmlns:a16="http://schemas.microsoft.com/office/drawing/2014/main" id="{54E3ABED-53C4-405A-AF09-4BF2473D22AE}"/>
                </a:ext>
              </a:extLst>
            </p:cNvPr>
            <p:cNvCxnSpPr>
              <a:cxnSpLocks/>
            </p:cNvCxnSpPr>
            <p:nvPr/>
          </p:nvCxnSpPr>
          <p:spPr>
            <a:xfrm flipV="1">
              <a:off x="6902736" y="1106737"/>
              <a:ext cx="4202818" cy="1808855"/>
            </a:xfrm>
            <a:prstGeom prst="straightConnector1">
              <a:avLst/>
            </a:prstGeom>
            <a:noFill/>
            <a:ln w="9525" cap="flat" cmpd="sng" algn="ctr">
              <a:solidFill>
                <a:schemeClr val="tx2"/>
              </a:solidFill>
              <a:prstDash val="sysDash"/>
              <a:miter lim="800000"/>
              <a:tailEnd type="triangle" w="sm" len="sm"/>
            </a:ln>
            <a:effectLst/>
          </p:spPr>
        </p:cxnSp>
        <p:cxnSp>
          <p:nvCxnSpPr>
            <p:cNvPr id="18" name="Straight Connector 17">
              <a:extLst>
                <a:ext uri="{FF2B5EF4-FFF2-40B4-BE49-F238E27FC236}">
                  <a16:creationId xmlns:a16="http://schemas.microsoft.com/office/drawing/2014/main" id="{87FDD1CA-9170-41C6-B776-2943E8AD0E6B}"/>
                </a:ext>
              </a:extLst>
            </p:cNvPr>
            <p:cNvCxnSpPr>
              <a:cxnSpLocks/>
            </p:cNvCxnSpPr>
            <p:nvPr/>
          </p:nvCxnSpPr>
          <p:spPr>
            <a:xfrm flipV="1">
              <a:off x="7598967" y="2656901"/>
              <a:ext cx="0" cy="258692"/>
            </a:xfrm>
            <a:prstGeom prst="line">
              <a:avLst/>
            </a:prstGeom>
            <a:noFill/>
            <a:ln w="9525" cap="flat" cmpd="sng" algn="ctr">
              <a:solidFill>
                <a:schemeClr val="tx2"/>
              </a:solidFill>
              <a:prstDash val="dash"/>
              <a:round/>
              <a:headEnd type="none" w="med" len="med"/>
              <a:tailEnd type="none" w="med" len="med"/>
            </a:ln>
            <a:effectLst/>
          </p:spPr>
        </p:cxnSp>
        <p:cxnSp>
          <p:nvCxnSpPr>
            <p:cNvPr id="19" name="Straight Connector 18">
              <a:extLst>
                <a:ext uri="{FF2B5EF4-FFF2-40B4-BE49-F238E27FC236}">
                  <a16:creationId xmlns:a16="http://schemas.microsoft.com/office/drawing/2014/main" id="{1E0CCA4A-8BAE-4E77-B7B3-C58324044D42}"/>
                </a:ext>
              </a:extLst>
            </p:cNvPr>
            <p:cNvCxnSpPr>
              <a:cxnSpLocks/>
            </p:cNvCxnSpPr>
            <p:nvPr/>
          </p:nvCxnSpPr>
          <p:spPr>
            <a:xfrm flipV="1">
              <a:off x="8377343" y="2325478"/>
              <a:ext cx="0" cy="590235"/>
            </a:xfrm>
            <a:prstGeom prst="line">
              <a:avLst/>
            </a:prstGeom>
            <a:noFill/>
            <a:ln w="9525" cap="flat" cmpd="sng" algn="ctr">
              <a:solidFill>
                <a:schemeClr val="tx2"/>
              </a:solidFill>
              <a:prstDash val="dash"/>
              <a:round/>
              <a:headEnd type="none" w="med" len="med"/>
              <a:tailEnd type="none" w="med" len="med"/>
            </a:ln>
            <a:effectLst/>
          </p:spPr>
        </p:cxnSp>
        <p:cxnSp>
          <p:nvCxnSpPr>
            <p:cNvPr id="20" name="Straight Connector 19">
              <a:extLst>
                <a:ext uri="{FF2B5EF4-FFF2-40B4-BE49-F238E27FC236}">
                  <a16:creationId xmlns:a16="http://schemas.microsoft.com/office/drawing/2014/main" id="{CDFA479F-0C94-408A-8F53-151D34CE0B6E}"/>
                </a:ext>
              </a:extLst>
            </p:cNvPr>
            <p:cNvCxnSpPr>
              <a:cxnSpLocks/>
            </p:cNvCxnSpPr>
            <p:nvPr/>
          </p:nvCxnSpPr>
          <p:spPr>
            <a:xfrm flipH="1" flipV="1">
              <a:off x="9155718" y="1995104"/>
              <a:ext cx="0" cy="920608"/>
            </a:xfrm>
            <a:prstGeom prst="line">
              <a:avLst/>
            </a:prstGeom>
            <a:noFill/>
            <a:ln w="9525" cap="flat" cmpd="sng" algn="ctr">
              <a:solidFill>
                <a:schemeClr val="tx2"/>
              </a:solidFill>
              <a:prstDash val="dash"/>
              <a:round/>
              <a:headEnd type="none" w="med" len="med"/>
              <a:tailEnd type="none" w="med" len="med"/>
            </a:ln>
            <a:effectLst/>
          </p:spPr>
        </p:cxnSp>
        <p:cxnSp>
          <p:nvCxnSpPr>
            <p:cNvPr id="21" name="Straight Connector 20">
              <a:extLst>
                <a:ext uri="{FF2B5EF4-FFF2-40B4-BE49-F238E27FC236}">
                  <a16:creationId xmlns:a16="http://schemas.microsoft.com/office/drawing/2014/main" id="{1992A00A-43AF-41D8-88A3-DDC955547053}"/>
                </a:ext>
              </a:extLst>
            </p:cNvPr>
            <p:cNvCxnSpPr>
              <a:cxnSpLocks/>
            </p:cNvCxnSpPr>
            <p:nvPr/>
          </p:nvCxnSpPr>
          <p:spPr>
            <a:xfrm flipV="1">
              <a:off x="9934095" y="1662632"/>
              <a:ext cx="0" cy="1252962"/>
            </a:xfrm>
            <a:prstGeom prst="line">
              <a:avLst/>
            </a:prstGeom>
            <a:noFill/>
            <a:ln w="9525" cap="flat" cmpd="sng" algn="ctr">
              <a:solidFill>
                <a:schemeClr val="tx2"/>
              </a:solidFill>
              <a:prstDash val="dash"/>
              <a:round/>
              <a:headEnd type="none" w="med" len="med"/>
              <a:tailEnd type="none" w="med" len="med"/>
            </a:ln>
            <a:effectLst/>
          </p:spPr>
        </p:cxnSp>
        <p:cxnSp>
          <p:nvCxnSpPr>
            <p:cNvPr id="22" name="Straight Connector 21">
              <a:extLst>
                <a:ext uri="{FF2B5EF4-FFF2-40B4-BE49-F238E27FC236}">
                  <a16:creationId xmlns:a16="http://schemas.microsoft.com/office/drawing/2014/main" id="{075BFB73-01FF-4484-BB1C-DE5AE5CDB16C}"/>
                </a:ext>
              </a:extLst>
            </p:cNvPr>
            <p:cNvCxnSpPr>
              <a:cxnSpLocks/>
            </p:cNvCxnSpPr>
            <p:nvPr/>
          </p:nvCxnSpPr>
          <p:spPr>
            <a:xfrm flipV="1">
              <a:off x="10712470" y="1331209"/>
              <a:ext cx="0" cy="1584384"/>
            </a:xfrm>
            <a:prstGeom prst="line">
              <a:avLst/>
            </a:prstGeom>
            <a:noFill/>
            <a:ln w="9525" cap="flat" cmpd="sng" algn="ctr">
              <a:solidFill>
                <a:schemeClr val="tx2"/>
              </a:solidFill>
              <a:prstDash val="dash"/>
              <a:round/>
              <a:headEnd type="none" w="med" len="med"/>
              <a:tailEnd type="none" w="med" len="med"/>
            </a:ln>
            <a:effectLst/>
          </p:spPr>
        </p:cxnSp>
        <p:cxnSp>
          <p:nvCxnSpPr>
            <p:cNvPr id="23" name="Straight Connector 22">
              <a:extLst>
                <a:ext uri="{FF2B5EF4-FFF2-40B4-BE49-F238E27FC236}">
                  <a16:creationId xmlns:a16="http://schemas.microsoft.com/office/drawing/2014/main" id="{03A382E7-1A1F-483D-B43A-CCEC032D0A37}"/>
                </a:ext>
              </a:extLst>
            </p:cNvPr>
            <p:cNvCxnSpPr>
              <a:cxnSpLocks/>
            </p:cNvCxnSpPr>
            <p:nvPr/>
          </p:nvCxnSpPr>
          <p:spPr>
            <a:xfrm flipV="1">
              <a:off x="6865372" y="2280603"/>
              <a:ext cx="1434014" cy="0"/>
            </a:xfrm>
            <a:prstGeom prst="line">
              <a:avLst/>
            </a:prstGeom>
            <a:noFill/>
            <a:ln w="9525" cap="flat" cmpd="sng" algn="ctr">
              <a:solidFill>
                <a:schemeClr val="tx2"/>
              </a:solidFill>
              <a:prstDash val="dash"/>
              <a:round/>
              <a:headEnd type="none" w="med" len="med"/>
              <a:tailEnd type="none" w="med" len="med"/>
            </a:ln>
            <a:effectLst/>
          </p:spPr>
        </p:cxnSp>
        <p:cxnSp>
          <p:nvCxnSpPr>
            <p:cNvPr id="24" name="Straight Connector 23">
              <a:extLst>
                <a:ext uri="{FF2B5EF4-FFF2-40B4-BE49-F238E27FC236}">
                  <a16:creationId xmlns:a16="http://schemas.microsoft.com/office/drawing/2014/main" id="{ACB940CA-CE9B-46E5-8C1C-AB1AF7B000E0}"/>
                </a:ext>
              </a:extLst>
            </p:cNvPr>
            <p:cNvCxnSpPr>
              <a:cxnSpLocks/>
            </p:cNvCxnSpPr>
            <p:nvPr/>
          </p:nvCxnSpPr>
          <p:spPr>
            <a:xfrm>
              <a:off x="6865372" y="1949180"/>
              <a:ext cx="2238371" cy="0"/>
            </a:xfrm>
            <a:prstGeom prst="line">
              <a:avLst/>
            </a:prstGeom>
            <a:noFill/>
            <a:ln w="9525" cap="flat" cmpd="sng" algn="ctr">
              <a:solidFill>
                <a:schemeClr val="tx2"/>
              </a:solidFill>
              <a:prstDash val="dash"/>
              <a:round/>
              <a:headEnd type="none" w="med" len="med"/>
              <a:tailEnd type="none" w="med" len="med"/>
            </a:ln>
            <a:effectLst/>
          </p:spPr>
        </p:cxnSp>
        <p:cxnSp>
          <p:nvCxnSpPr>
            <p:cNvPr id="25" name="Straight Connector 24">
              <a:extLst>
                <a:ext uri="{FF2B5EF4-FFF2-40B4-BE49-F238E27FC236}">
                  <a16:creationId xmlns:a16="http://schemas.microsoft.com/office/drawing/2014/main" id="{6405B955-49ED-48A0-A500-E84C17433771}"/>
                </a:ext>
              </a:extLst>
            </p:cNvPr>
            <p:cNvCxnSpPr>
              <a:cxnSpLocks/>
            </p:cNvCxnSpPr>
            <p:nvPr/>
          </p:nvCxnSpPr>
          <p:spPr>
            <a:xfrm flipV="1">
              <a:off x="6865372" y="1617757"/>
              <a:ext cx="3042728" cy="0"/>
            </a:xfrm>
            <a:prstGeom prst="line">
              <a:avLst/>
            </a:prstGeom>
            <a:noFill/>
            <a:ln w="9525" cap="flat" cmpd="sng" algn="ctr">
              <a:solidFill>
                <a:schemeClr val="tx2"/>
              </a:solidFill>
              <a:prstDash val="dash"/>
              <a:round/>
              <a:headEnd type="none" w="med" len="med"/>
              <a:tailEnd type="none" w="med" len="med"/>
            </a:ln>
            <a:effectLst/>
          </p:spPr>
        </p:cxnSp>
        <p:cxnSp>
          <p:nvCxnSpPr>
            <p:cNvPr id="26" name="Straight Connector 25">
              <a:extLst>
                <a:ext uri="{FF2B5EF4-FFF2-40B4-BE49-F238E27FC236}">
                  <a16:creationId xmlns:a16="http://schemas.microsoft.com/office/drawing/2014/main" id="{74BA89C8-3161-42B7-979F-119548B3EC16}"/>
                </a:ext>
              </a:extLst>
            </p:cNvPr>
            <p:cNvCxnSpPr>
              <a:cxnSpLocks/>
            </p:cNvCxnSpPr>
            <p:nvPr/>
          </p:nvCxnSpPr>
          <p:spPr>
            <a:xfrm>
              <a:off x="6865372" y="1286334"/>
              <a:ext cx="3847087" cy="0"/>
            </a:xfrm>
            <a:prstGeom prst="line">
              <a:avLst/>
            </a:prstGeom>
            <a:noFill/>
            <a:ln w="9525" cap="flat" cmpd="sng" algn="ctr">
              <a:solidFill>
                <a:schemeClr val="tx2"/>
              </a:solidFill>
              <a:prstDash val="dash"/>
              <a:round/>
              <a:headEnd type="none" w="med" len="med"/>
              <a:tailEnd type="none" w="med" len="med"/>
            </a:ln>
            <a:effectLst/>
          </p:spPr>
        </p:cxnSp>
        <p:cxnSp>
          <p:nvCxnSpPr>
            <p:cNvPr id="27" name="Straight Connector 26">
              <a:extLst>
                <a:ext uri="{FF2B5EF4-FFF2-40B4-BE49-F238E27FC236}">
                  <a16:creationId xmlns:a16="http://schemas.microsoft.com/office/drawing/2014/main" id="{FCDC20D2-B754-4302-8F26-9098EB050A03}"/>
                </a:ext>
              </a:extLst>
            </p:cNvPr>
            <p:cNvCxnSpPr>
              <a:cxnSpLocks/>
              <a:endCxn id="28" idx="1"/>
            </p:cNvCxnSpPr>
            <p:nvPr/>
          </p:nvCxnSpPr>
          <p:spPr>
            <a:xfrm>
              <a:off x="6865372" y="2612026"/>
              <a:ext cx="665603" cy="1632"/>
            </a:xfrm>
            <a:prstGeom prst="line">
              <a:avLst/>
            </a:prstGeom>
            <a:noFill/>
            <a:ln w="9525" cap="flat" cmpd="sng" algn="ctr">
              <a:solidFill>
                <a:schemeClr val="tx2"/>
              </a:solidFill>
              <a:prstDash val="dash"/>
              <a:round/>
              <a:headEnd type="none" w="med" len="med"/>
              <a:tailEnd type="none" w="med" len="med"/>
            </a:ln>
            <a:effectLst/>
          </p:spPr>
        </p:cxnSp>
        <p:sp>
          <p:nvSpPr>
            <p:cNvPr id="28" name="Rectangle 27">
              <a:extLst>
                <a:ext uri="{FF2B5EF4-FFF2-40B4-BE49-F238E27FC236}">
                  <a16:creationId xmlns:a16="http://schemas.microsoft.com/office/drawing/2014/main" id="{DA4736C7-32A6-41C3-9D2F-8A493237AC54}"/>
                </a:ext>
              </a:extLst>
            </p:cNvPr>
            <p:cNvSpPr/>
            <p:nvPr/>
          </p:nvSpPr>
          <p:spPr>
            <a:xfrm>
              <a:off x="7530975" y="2545078"/>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6C4AD181-D4ED-46B8-8DDC-2BD8119D78A9}"/>
                </a:ext>
              </a:extLst>
            </p:cNvPr>
            <p:cNvSpPr/>
            <p:nvPr/>
          </p:nvSpPr>
          <p:spPr>
            <a:xfrm>
              <a:off x="8309350" y="2213655"/>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DA575BFF-C554-4009-93BB-764E9B42375F}"/>
                </a:ext>
              </a:extLst>
            </p:cNvPr>
            <p:cNvSpPr/>
            <p:nvPr/>
          </p:nvSpPr>
          <p:spPr>
            <a:xfrm>
              <a:off x="9087726" y="1882232"/>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6C391C01-A7D4-494A-A5AE-19BAECEAA907}"/>
                </a:ext>
              </a:extLst>
            </p:cNvPr>
            <p:cNvSpPr/>
            <p:nvPr/>
          </p:nvSpPr>
          <p:spPr>
            <a:xfrm>
              <a:off x="9866101" y="1550809"/>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3885341B-4CB7-4B65-B10B-05BCDBE8B18B}"/>
                </a:ext>
              </a:extLst>
            </p:cNvPr>
            <p:cNvSpPr/>
            <p:nvPr/>
          </p:nvSpPr>
          <p:spPr>
            <a:xfrm>
              <a:off x="10644478" y="1219386"/>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33" name="Group 32">
              <a:extLst>
                <a:ext uri="{FF2B5EF4-FFF2-40B4-BE49-F238E27FC236}">
                  <a16:creationId xmlns:a16="http://schemas.microsoft.com/office/drawing/2014/main" id="{4CA57C1B-E0DA-42D0-B879-EE10F2E5C2DF}"/>
                </a:ext>
              </a:extLst>
            </p:cNvPr>
            <p:cNvGrpSpPr/>
            <p:nvPr/>
          </p:nvGrpSpPr>
          <p:grpSpPr>
            <a:xfrm>
              <a:off x="7240056" y="4568812"/>
              <a:ext cx="502920" cy="502920"/>
              <a:chOff x="7240056" y="4430167"/>
              <a:chExt cx="502920" cy="502920"/>
            </a:xfrm>
          </p:grpSpPr>
          <p:sp>
            <p:nvSpPr>
              <p:cNvPr id="46" name="Rectangle 45">
                <a:extLst>
                  <a:ext uri="{FF2B5EF4-FFF2-40B4-BE49-F238E27FC236}">
                    <a16:creationId xmlns:a16="http://schemas.microsoft.com/office/drawing/2014/main" id="{6E7A0688-AB20-4C64-BBF3-4228EEC85016}"/>
                  </a:ext>
                </a:extLst>
              </p:cNvPr>
              <p:cNvSpPr/>
              <p:nvPr/>
            </p:nvSpPr>
            <p:spPr>
              <a:xfrm>
                <a:off x="7422936" y="4613047"/>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47" name="Straight Connector 46">
                <a:extLst>
                  <a:ext uri="{FF2B5EF4-FFF2-40B4-BE49-F238E27FC236}">
                    <a16:creationId xmlns:a16="http://schemas.microsoft.com/office/drawing/2014/main" id="{3EE60A5D-7E59-4C26-AEFD-8807DD6A19B4}"/>
                  </a:ext>
                </a:extLst>
              </p:cNvPr>
              <p:cNvCxnSpPr>
                <a:cxnSpLocks/>
              </p:cNvCxnSpPr>
              <p:nvPr/>
            </p:nvCxnSpPr>
            <p:spPr>
              <a:xfrm flipV="1">
                <a:off x="7491516" y="4430167"/>
                <a:ext cx="0" cy="502920"/>
              </a:xfrm>
              <a:prstGeom prst="line">
                <a:avLst/>
              </a:prstGeom>
              <a:noFill/>
              <a:ln w="9525" cap="flat" cmpd="sng" algn="ctr">
                <a:solidFill>
                  <a:schemeClr val="tx2"/>
                </a:solidFill>
                <a:prstDash val="sysDash"/>
                <a:miter lim="800000"/>
                <a:headEnd type="triangle" w="med" len="med"/>
                <a:tailEnd type="triangle" w="med" len="med"/>
              </a:ln>
              <a:effectLst/>
            </p:spPr>
          </p:cxnSp>
          <p:cxnSp>
            <p:nvCxnSpPr>
              <p:cNvPr id="48" name="Straight Connector 47">
                <a:extLst>
                  <a:ext uri="{FF2B5EF4-FFF2-40B4-BE49-F238E27FC236}">
                    <a16:creationId xmlns:a16="http://schemas.microsoft.com/office/drawing/2014/main" id="{546C0B12-46AA-404A-B66F-70EAF535F170}"/>
                  </a:ext>
                </a:extLst>
              </p:cNvPr>
              <p:cNvCxnSpPr>
                <a:cxnSpLocks/>
              </p:cNvCxnSpPr>
              <p:nvPr/>
            </p:nvCxnSpPr>
            <p:spPr>
              <a:xfrm flipV="1">
                <a:off x="7240056" y="4681627"/>
                <a:ext cx="502920" cy="0"/>
              </a:xfrm>
              <a:prstGeom prst="line">
                <a:avLst/>
              </a:prstGeom>
              <a:noFill/>
              <a:ln w="9525" cap="flat" cmpd="sng" algn="ctr">
                <a:solidFill>
                  <a:schemeClr val="tx2"/>
                </a:solidFill>
                <a:prstDash val="sysDash"/>
                <a:miter lim="800000"/>
                <a:headEnd type="triangle" w="med" len="med"/>
                <a:tailEnd type="triangle" w="med" len="med"/>
              </a:ln>
              <a:effectLst/>
            </p:spPr>
          </p:cxnSp>
        </p:grpSp>
        <p:grpSp>
          <p:nvGrpSpPr>
            <p:cNvPr id="34" name="Group 33">
              <a:extLst>
                <a:ext uri="{FF2B5EF4-FFF2-40B4-BE49-F238E27FC236}">
                  <a16:creationId xmlns:a16="http://schemas.microsoft.com/office/drawing/2014/main" id="{B4F2D761-F316-40C7-87CC-388F5CDB88C5}"/>
                </a:ext>
              </a:extLst>
            </p:cNvPr>
            <p:cNvGrpSpPr/>
            <p:nvPr/>
          </p:nvGrpSpPr>
          <p:grpSpPr>
            <a:xfrm>
              <a:off x="8172858" y="5456054"/>
              <a:ext cx="502920" cy="502920"/>
              <a:chOff x="7240056" y="4430167"/>
              <a:chExt cx="502920" cy="502920"/>
            </a:xfrm>
          </p:grpSpPr>
          <p:sp>
            <p:nvSpPr>
              <p:cNvPr id="43" name="Rectangle 42">
                <a:extLst>
                  <a:ext uri="{FF2B5EF4-FFF2-40B4-BE49-F238E27FC236}">
                    <a16:creationId xmlns:a16="http://schemas.microsoft.com/office/drawing/2014/main" id="{762750F2-E6D3-4AEB-8BC4-17DB3E00C50E}"/>
                  </a:ext>
                </a:extLst>
              </p:cNvPr>
              <p:cNvSpPr/>
              <p:nvPr/>
            </p:nvSpPr>
            <p:spPr>
              <a:xfrm>
                <a:off x="7422936" y="4613047"/>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44" name="Straight Connector 43">
                <a:extLst>
                  <a:ext uri="{FF2B5EF4-FFF2-40B4-BE49-F238E27FC236}">
                    <a16:creationId xmlns:a16="http://schemas.microsoft.com/office/drawing/2014/main" id="{BCB219A8-870A-4B8A-923E-DC89BF72D355}"/>
                  </a:ext>
                </a:extLst>
              </p:cNvPr>
              <p:cNvCxnSpPr>
                <a:cxnSpLocks/>
              </p:cNvCxnSpPr>
              <p:nvPr/>
            </p:nvCxnSpPr>
            <p:spPr>
              <a:xfrm flipV="1">
                <a:off x="7491516" y="4430167"/>
                <a:ext cx="0" cy="502920"/>
              </a:xfrm>
              <a:prstGeom prst="line">
                <a:avLst/>
              </a:prstGeom>
              <a:noFill/>
              <a:ln w="9525" cap="flat" cmpd="sng" algn="ctr">
                <a:solidFill>
                  <a:schemeClr val="tx2"/>
                </a:solidFill>
                <a:prstDash val="sysDash"/>
                <a:miter lim="800000"/>
                <a:headEnd type="triangle" w="med" len="med"/>
                <a:tailEnd type="triangle" w="med" len="med"/>
              </a:ln>
              <a:effectLst/>
            </p:spPr>
          </p:cxnSp>
          <p:cxnSp>
            <p:nvCxnSpPr>
              <p:cNvPr id="45" name="Straight Connector 44">
                <a:extLst>
                  <a:ext uri="{FF2B5EF4-FFF2-40B4-BE49-F238E27FC236}">
                    <a16:creationId xmlns:a16="http://schemas.microsoft.com/office/drawing/2014/main" id="{DFC2E308-2926-4EEB-99CC-3FAAFA5EBB93}"/>
                  </a:ext>
                </a:extLst>
              </p:cNvPr>
              <p:cNvCxnSpPr>
                <a:cxnSpLocks/>
              </p:cNvCxnSpPr>
              <p:nvPr/>
            </p:nvCxnSpPr>
            <p:spPr>
              <a:xfrm flipV="1">
                <a:off x="7240056" y="4681627"/>
                <a:ext cx="502920" cy="0"/>
              </a:xfrm>
              <a:prstGeom prst="line">
                <a:avLst/>
              </a:prstGeom>
              <a:noFill/>
              <a:ln w="9525" cap="flat" cmpd="sng" algn="ctr">
                <a:solidFill>
                  <a:schemeClr val="tx2"/>
                </a:solidFill>
                <a:prstDash val="sysDash"/>
                <a:miter lim="800000"/>
                <a:headEnd type="triangle" w="med" len="med"/>
                <a:tailEnd type="triangle" w="med" len="med"/>
              </a:ln>
              <a:effectLst/>
            </p:spPr>
          </p:cxnSp>
        </p:grpSp>
        <p:grpSp>
          <p:nvGrpSpPr>
            <p:cNvPr id="35" name="Group 34">
              <a:extLst>
                <a:ext uri="{FF2B5EF4-FFF2-40B4-BE49-F238E27FC236}">
                  <a16:creationId xmlns:a16="http://schemas.microsoft.com/office/drawing/2014/main" id="{64F3953A-8224-4699-8F9E-65B69D96BB28}"/>
                </a:ext>
              </a:extLst>
            </p:cNvPr>
            <p:cNvGrpSpPr/>
            <p:nvPr/>
          </p:nvGrpSpPr>
          <p:grpSpPr>
            <a:xfrm>
              <a:off x="9155716" y="4766738"/>
              <a:ext cx="502920" cy="502920"/>
              <a:chOff x="7240056" y="4430167"/>
              <a:chExt cx="502920" cy="502920"/>
            </a:xfrm>
          </p:grpSpPr>
          <p:sp>
            <p:nvSpPr>
              <p:cNvPr id="40" name="Rectangle 39">
                <a:extLst>
                  <a:ext uri="{FF2B5EF4-FFF2-40B4-BE49-F238E27FC236}">
                    <a16:creationId xmlns:a16="http://schemas.microsoft.com/office/drawing/2014/main" id="{271423D6-A7DF-4603-A1ED-BBCD6EE66611}"/>
                  </a:ext>
                </a:extLst>
              </p:cNvPr>
              <p:cNvSpPr/>
              <p:nvPr/>
            </p:nvSpPr>
            <p:spPr>
              <a:xfrm>
                <a:off x="7422936" y="4613047"/>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41" name="Straight Connector 40">
                <a:extLst>
                  <a:ext uri="{FF2B5EF4-FFF2-40B4-BE49-F238E27FC236}">
                    <a16:creationId xmlns:a16="http://schemas.microsoft.com/office/drawing/2014/main" id="{A5A821DF-5E4C-4424-B090-2A72F5CE4DFC}"/>
                  </a:ext>
                </a:extLst>
              </p:cNvPr>
              <p:cNvCxnSpPr>
                <a:cxnSpLocks/>
              </p:cNvCxnSpPr>
              <p:nvPr/>
            </p:nvCxnSpPr>
            <p:spPr>
              <a:xfrm flipV="1">
                <a:off x="7491516" y="4430167"/>
                <a:ext cx="0" cy="502920"/>
              </a:xfrm>
              <a:prstGeom prst="line">
                <a:avLst/>
              </a:prstGeom>
              <a:noFill/>
              <a:ln w="9525" cap="flat" cmpd="sng" algn="ctr">
                <a:solidFill>
                  <a:schemeClr val="tx2"/>
                </a:solidFill>
                <a:prstDash val="sysDash"/>
                <a:miter lim="800000"/>
                <a:headEnd type="triangle" w="med" len="med"/>
                <a:tailEnd type="triangle" w="med" len="med"/>
              </a:ln>
              <a:effectLst/>
            </p:spPr>
          </p:cxnSp>
          <p:cxnSp>
            <p:nvCxnSpPr>
              <p:cNvPr id="42" name="Straight Connector 41">
                <a:extLst>
                  <a:ext uri="{FF2B5EF4-FFF2-40B4-BE49-F238E27FC236}">
                    <a16:creationId xmlns:a16="http://schemas.microsoft.com/office/drawing/2014/main" id="{1B918F14-6DE6-40F2-AD32-393055476A72}"/>
                  </a:ext>
                </a:extLst>
              </p:cNvPr>
              <p:cNvCxnSpPr>
                <a:cxnSpLocks/>
              </p:cNvCxnSpPr>
              <p:nvPr/>
            </p:nvCxnSpPr>
            <p:spPr>
              <a:xfrm flipV="1">
                <a:off x="7240056" y="4681627"/>
                <a:ext cx="502920" cy="0"/>
              </a:xfrm>
              <a:prstGeom prst="line">
                <a:avLst/>
              </a:prstGeom>
              <a:noFill/>
              <a:ln w="9525" cap="flat" cmpd="sng" algn="ctr">
                <a:solidFill>
                  <a:schemeClr val="tx2"/>
                </a:solidFill>
                <a:prstDash val="sysDash"/>
                <a:miter lim="800000"/>
                <a:headEnd type="triangle" w="med" len="med"/>
                <a:tailEnd type="triangle" w="med" len="med"/>
              </a:ln>
              <a:effectLst/>
            </p:spPr>
          </p:cxnSp>
        </p:grpSp>
        <p:grpSp>
          <p:nvGrpSpPr>
            <p:cNvPr id="36" name="Group 35">
              <a:extLst>
                <a:ext uri="{FF2B5EF4-FFF2-40B4-BE49-F238E27FC236}">
                  <a16:creationId xmlns:a16="http://schemas.microsoft.com/office/drawing/2014/main" id="{504CED0C-1529-4AA7-8389-37A1371DD361}"/>
                </a:ext>
              </a:extLst>
            </p:cNvPr>
            <p:cNvGrpSpPr/>
            <p:nvPr/>
          </p:nvGrpSpPr>
          <p:grpSpPr>
            <a:xfrm>
              <a:off x="10262160" y="4949618"/>
              <a:ext cx="502920" cy="502920"/>
              <a:chOff x="7240056" y="4430167"/>
              <a:chExt cx="502920" cy="502920"/>
            </a:xfrm>
          </p:grpSpPr>
          <p:sp>
            <p:nvSpPr>
              <p:cNvPr id="37" name="Rectangle 36">
                <a:extLst>
                  <a:ext uri="{FF2B5EF4-FFF2-40B4-BE49-F238E27FC236}">
                    <a16:creationId xmlns:a16="http://schemas.microsoft.com/office/drawing/2014/main" id="{845B5517-7DCD-4633-8DBE-8B8244CC960D}"/>
                  </a:ext>
                </a:extLst>
              </p:cNvPr>
              <p:cNvSpPr/>
              <p:nvPr/>
            </p:nvSpPr>
            <p:spPr>
              <a:xfrm>
                <a:off x="7422936" y="4613047"/>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EE1FBE4F-74CB-4BFB-B97D-03434C41C71A}"/>
                  </a:ext>
                </a:extLst>
              </p:cNvPr>
              <p:cNvCxnSpPr>
                <a:cxnSpLocks/>
              </p:cNvCxnSpPr>
              <p:nvPr/>
            </p:nvCxnSpPr>
            <p:spPr>
              <a:xfrm flipV="1">
                <a:off x="7491516" y="4430167"/>
                <a:ext cx="0" cy="502920"/>
              </a:xfrm>
              <a:prstGeom prst="line">
                <a:avLst/>
              </a:prstGeom>
              <a:noFill/>
              <a:ln w="9525" cap="flat" cmpd="sng" algn="ctr">
                <a:solidFill>
                  <a:schemeClr val="tx2"/>
                </a:solidFill>
                <a:prstDash val="sysDash"/>
                <a:miter lim="800000"/>
                <a:headEnd type="triangle" w="med" len="med"/>
                <a:tailEnd type="triangle" w="med" len="med"/>
              </a:ln>
              <a:effectLst/>
            </p:spPr>
          </p:cxnSp>
          <p:cxnSp>
            <p:nvCxnSpPr>
              <p:cNvPr id="39" name="Straight Connector 38">
                <a:extLst>
                  <a:ext uri="{FF2B5EF4-FFF2-40B4-BE49-F238E27FC236}">
                    <a16:creationId xmlns:a16="http://schemas.microsoft.com/office/drawing/2014/main" id="{D87F9C4B-B303-445F-8A56-F246A00FA101}"/>
                  </a:ext>
                </a:extLst>
              </p:cNvPr>
              <p:cNvCxnSpPr>
                <a:cxnSpLocks/>
              </p:cNvCxnSpPr>
              <p:nvPr/>
            </p:nvCxnSpPr>
            <p:spPr>
              <a:xfrm flipV="1">
                <a:off x="7240056" y="4681627"/>
                <a:ext cx="502920" cy="0"/>
              </a:xfrm>
              <a:prstGeom prst="line">
                <a:avLst/>
              </a:prstGeom>
              <a:noFill/>
              <a:ln w="9525" cap="flat" cmpd="sng" algn="ctr">
                <a:solidFill>
                  <a:schemeClr val="tx2"/>
                </a:solidFill>
                <a:prstDash val="sysDash"/>
                <a:miter lim="800000"/>
                <a:headEnd type="triangle" w="med" len="med"/>
                <a:tailEnd type="triangle" w="med" len="med"/>
              </a:ln>
              <a:effectLst/>
            </p:spPr>
          </p:cxnSp>
        </p:grpSp>
      </p:grpSp>
      <p:graphicFrame>
        <p:nvGraphicFramePr>
          <p:cNvPr id="56" name="Content Placeholder 55">
            <a:extLst>
              <a:ext uri="{FF2B5EF4-FFF2-40B4-BE49-F238E27FC236}">
                <a16:creationId xmlns:a16="http://schemas.microsoft.com/office/drawing/2014/main" id="{AA37CBE4-8426-49ED-855E-F7D6AF9139AA}"/>
              </a:ext>
            </a:extLst>
          </p:cNvPr>
          <p:cNvGraphicFramePr>
            <a:graphicFrameLocks noGrp="1"/>
          </p:cNvGraphicFramePr>
          <p:nvPr>
            <p:ph sz="quarter" idx="13"/>
            <p:extLst>
              <p:ext uri="{D42A27DB-BD31-4B8C-83A1-F6EECF244321}">
                <p14:modId xmlns:p14="http://schemas.microsoft.com/office/powerpoint/2010/main" val="521726508"/>
              </p:ext>
            </p:extLst>
          </p:nvPr>
        </p:nvGraphicFramePr>
        <p:xfrm>
          <a:off x="655637" y="1408114"/>
          <a:ext cx="683604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97725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able 23">
            <a:extLst>
              <a:ext uri="{FF2B5EF4-FFF2-40B4-BE49-F238E27FC236}">
                <a16:creationId xmlns:a16="http://schemas.microsoft.com/office/drawing/2014/main" id="{B0DE46E9-B9D5-4510-A31A-1FBA0F0F23A2}"/>
              </a:ext>
            </a:extLst>
          </p:cNvPr>
          <p:cNvGraphicFramePr>
            <a:graphicFrameLocks noGrp="1"/>
          </p:cNvGraphicFramePr>
          <p:nvPr>
            <p:extLst>
              <p:ext uri="{D42A27DB-BD31-4B8C-83A1-F6EECF244321}">
                <p14:modId xmlns:p14="http://schemas.microsoft.com/office/powerpoint/2010/main" val="3267893109"/>
              </p:ext>
            </p:extLst>
          </p:nvPr>
        </p:nvGraphicFramePr>
        <p:xfrm>
          <a:off x="820132" y="1187777"/>
          <a:ext cx="10803117" cy="4920795"/>
        </p:xfrm>
        <a:graphic>
          <a:graphicData uri="http://schemas.openxmlformats.org/drawingml/2006/table">
            <a:tbl>
              <a:tblPr firstRow="1" bandRow="1">
                <a:tableStyleId>{B301B821-A1FF-4177-AEE7-76D212191A09}</a:tableStyleId>
              </a:tblPr>
              <a:tblGrid>
                <a:gridCol w="3601039">
                  <a:extLst>
                    <a:ext uri="{9D8B030D-6E8A-4147-A177-3AD203B41FA5}">
                      <a16:colId xmlns:a16="http://schemas.microsoft.com/office/drawing/2014/main" val="2860013488"/>
                    </a:ext>
                  </a:extLst>
                </a:gridCol>
                <a:gridCol w="3601039">
                  <a:extLst>
                    <a:ext uri="{9D8B030D-6E8A-4147-A177-3AD203B41FA5}">
                      <a16:colId xmlns:a16="http://schemas.microsoft.com/office/drawing/2014/main" val="3685007891"/>
                    </a:ext>
                  </a:extLst>
                </a:gridCol>
                <a:gridCol w="3601039">
                  <a:extLst>
                    <a:ext uri="{9D8B030D-6E8A-4147-A177-3AD203B41FA5}">
                      <a16:colId xmlns:a16="http://schemas.microsoft.com/office/drawing/2014/main" val="703986932"/>
                    </a:ext>
                  </a:extLst>
                </a:gridCol>
              </a:tblGrid>
              <a:tr h="984159">
                <a:tc>
                  <a:txBody>
                    <a:bodyPr/>
                    <a:lstStyle/>
                    <a:p>
                      <a:pPr algn="ctr" fontAlgn="b"/>
                      <a:r>
                        <a:rPr lang="en-US" sz="2000" u="none" strike="noStrike">
                          <a:effectLst/>
                        </a:rPr>
                        <a:t>Purchasing model/ Deployment model</a:t>
                      </a:r>
                      <a:endParaRPr lang="en-US" sz="2000" b="0" i="0" u="none" strike="noStrike">
                        <a:solidFill>
                          <a:schemeClr val="bg1"/>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a:effectLst/>
                        </a:rPr>
                        <a:t>DTU based </a:t>
                      </a:r>
                      <a:endParaRPr lang="en-US" sz="2000" b="0" i="0" u="none" strike="noStrike">
                        <a:solidFill>
                          <a:schemeClr val="bg1"/>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dirty="0">
                          <a:effectLst/>
                        </a:rPr>
                        <a:t>vCore based </a:t>
                      </a:r>
                      <a:endParaRPr lang="en-US" sz="2000" b="0" i="0" u="none" strike="noStrike" dirty="0">
                        <a:solidFill>
                          <a:schemeClr val="bg1"/>
                        </a:solidFill>
                        <a:effectLst/>
                        <a:latin typeface="Calibri" panose="020F0502020204030204" pitchFamily="34" charset="0"/>
                        <a:cs typeface="Calibri" panose="020F0502020204030204" pitchFamily="34" charset="0"/>
                      </a:endParaRPr>
                    </a:p>
                  </a:txBody>
                  <a:tcPr marL="4669" marR="4669" marT="4669" marB="0" anchor="ctr"/>
                </a:tc>
                <a:extLst>
                  <a:ext uri="{0D108BD9-81ED-4DB2-BD59-A6C34878D82A}">
                    <a16:rowId xmlns:a16="http://schemas.microsoft.com/office/drawing/2014/main" val="2500174082"/>
                  </a:ext>
                </a:extLst>
              </a:tr>
              <a:tr h="984159">
                <a:tc>
                  <a:txBody>
                    <a:bodyPr/>
                    <a:lstStyle/>
                    <a:p>
                      <a:pPr algn="ctr" fontAlgn="b"/>
                      <a:r>
                        <a:rPr lang="en-US" sz="2400" u="none" strike="noStrike" dirty="0">
                          <a:effectLst/>
                        </a:rPr>
                        <a:t>Single Database</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a:effectLst/>
                        </a:rPr>
                        <a:t>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a:effectLst/>
                        </a:rPr>
                        <a:t>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4669" marR="4669" marT="4669" marB="0" anchor="ctr"/>
                </a:tc>
                <a:extLst>
                  <a:ext uri="{0D108BD9-81ED-4DB2-BD59-A6C34878D82A}">
                    <a16:rowId xmlns:a16="http://schemas.microsoft.com/office/drawing/2014/main" val="942962592"/>
                  </a:ext>
                </a:extLst>
              </a:tr>
              <a:tr h="984159">
                <a:tc>
                  <a:txBody>
                    <a:bodyPr/>
                    <a:lstStyle/>
                    <a:p>
                      <a:pPr algn="ctr" fontAlgn="b"/>
                      <a:r>
                        <a:rPr lang="en-US" sz="2400" u="none" strike="noStrike" dirty="0">
                          <a:effectLst/>
                        </a:rPr>
                        <a:t>Elastic Pool</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a:effectLst/>
                        </a:rPr>
                        <a:t>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a:effectLst/>
                        </a:rPr>
                        <a:t>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4669" marR="4669" marT="4669" marB="0" anchor="ctr"/>
                </a:tc>
                <a:extLst>
                  <a:ext uri="{0D108BD9-81ED-4DB2-BD59-A6C34878D82A}">
                    <a16:rowId xmlns:a16="http://schemas.microsoft.com/office/drawing/2014/main" val="3582095725"/>
                  </a:ext>
                </a:extLst>
              </a:tr>
              <a:tr h="984159">
                <a:tc>
                  <a:txBody>
                    <a:bodyPr/>
                    <a:lstStyle/>
                    <a:p>
                      <a:pPr algn="ctr" fontAlgn="b"/>
                      <a:r>
                        <a:rPr lang="en-US" sz="2400" u="none" strike="noStrike" dirty="0">
                          <a:effectLst/>
                        </a:rPr>
                        <a:t>Managed Instance</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a:effectLst/>
                        </a:rPr>
                        <a:t>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a:effectLst/>
                        </a:rPr>
                        <a:t>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4669" marR="4669" marT="4669" marB="0" anchor="ctr"/>
                </a:tc>
                <a:extLst>
                  <a:ext uri="{0D108BD9-81ED-4DB2-BD59-A6C34878D82A}">
                    <a16:rowId xmlns:a16="http://schemas.microsoft.com/office/drawing/2014/main" val="4119840710"/>
                  </a:ext>
                </a:extLst>
              </a:tr>
              <a:tr h="984159">
                <a:tc>
                  <a:txBody>
                    <a:bodyPr/>
                    <a:lstStyle/>
                    <a:p>
                      <a:pPr algn="ctr" fontAlgn="b"/>
                      <a:r>
                        <a:rPr lang="en-US" sz="2400" u="none" strike="noStrike" dirty="0">
                          <a:effectLst/>
                        </a:rPr>
                        <a:t>Hyperscale service tier</a:t>
                      </a:r>
                    </a:p>
                    <a:p>
                      <a:pPr algn="ctr" fontAlgn="b"/>
                      <a:r>
                        <a:rPr lang="en-US" sz="2400" u="none" strike="noStrike" kern="1200" dirty="0">
                          <a:effectLst/>
                        </a:rPr>
                        <a:t>(single databases)</a:t>
                      </a:r>
                      <a:endParaRPr lang="en-US" sz="2400" u="none" strike="noStrike" kern="1200" dirty="0">
                        <a:solidFill>
                          <a:schemeClr val="dk1"/>
                        </a:solidFill>
                        <a:effectLst/>
                        <a:latin typeface="+mn-lt"/>
                        <a:ea typeface="+mn-ea"/>
                        <a:cs typeface="+mn-cs"/>
                      </a:endParaRPr>
                    </a:p>
                  </a:txBody>
                  <a:tcPr marL="4669" marR="4669" marT="4669" marB="0" anchor="ctr"/>
                </a:tc>
                <a:tc>
                  <a:txBody>
                    <a:bodyPr/>
                    <a:lstStyle/>
                    <a:p>
                      <a:pPr algn="ctr" fontAlgn="b"/>
                      <a:r>
                        <a:rPr lang="en-US" sz="2000" u="none" strike="noStrike" dirty="0">
                          <a:effectLst/>
                        </a:rPr>
                        <a:t> </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dirty="0">
                          <a:effectLst/>
                        </a:rPr>
                        <a:t> </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4669" marR="4669" marT="4669" marB="0" anchor="ctr"/>
                </a:tc>
                <a:extLst>
                  <a:ext uri="{0D108BD9-81ED-4DB2-BD59-A6C34878D82A}">
                    <a16:rowId xmlns:a16="http://schemas.microsoft.com/office/drawing/2014/main" val="2053998816"/>
                  </a:ext>
                </a:extLst>
              </a:tr>
            </a:tbl>
          </a:graphicData>
        </a:graphic>
      </p:graphicFrame>
      <p:sp>
        <p:nvSpPr>
          <p:cNvPr id="16" name="Title 1">
            <a:extLst>
              <a:ext uri="{FF2B5EF4-FFF2-40B4-BE49-F238E27FC236}">
                <a16:creationId xmlns:a16="http://schemas.microsoft.com/office/drawing/2014/main" id="{4B7B82A7-A77E-4CD4-BCDA-38DF1AC60F9C}"/>
              </a:ext>
            </a:extLst>
          </p:cNvPr>
          <p:cNvSpPr>
            <a:spLocks noGrp="1"/>
          </p:cNvSpPr>
          <p:nvPr>
            <p:ph type="title"/>
          </p:nvPr>
        </p:nvSpPr>
        <p:spPr>
          <a:xfrm>
            <a:off x="655638" y="320675"/>
            <a:ext cx="10880725" cy="427553"/>
          </a:xfrm>
        </p:spPr>
        <p:txBody>
          <a:bodyPr/>
          <a:lstStyle/>
          <a:p>
            <a:r>
              <a:rPr lang="en-US" sz="2800" dirty="0"/>
              <a:t>Purchasing models available for Azure SQL Database deployment:</a:t>
            </a:r>
          </a:p>
        </p:txBody>
      </p:sp>
      <p:sp>
        <p:nvSpPr>
          <p:cNvPr id="5" name="Graphic 25" descr="Checkmark">
            <a:extLst>
              <a:ext uri="{FF2B5EF4-FFF2-40B4-BE49-F238E27FC236}">
                <a16:creationId xmlns:a16="http://schemas.microsoft.com/office/drawing/2014/main" id="{A04AAEE3-EE01-4B1C-8DD8-2A42A55D7AC3}"/>
              </a:ext>
            </a:extLst>
          </p:cNvPr>
          <p:cNvSpPr/>
          <p:nvPr/>
        </p:nvSpPr>
        <p:spPr>
          <a:xfrm>
            <a:off x="5970200" y="2489943"/>
            <a:ext cx="674836" cy="473992"/>
          </a:xfrm>
          <a:custGeom>
            <a:avLst/>
            <a:gdLst>
              <a:gd name="connsiteX0" fmla="*/ 615679 w 674836"/>
              <a:gd name="connsiteY0" fmla="*/ 0 h 473992"/>
              <a:gd name="connsiteX1" fmla="*/ 241743 w 674836"/>
              <a:gd name="connsiteY1" fmla="*/ 353486 h 473992"/>
              <a:gd name="connsiteX2" fmla="*/ 62079 w 674836"/>
              <a:gd name="connsiteY2" fmla="*/ 169440 h 473992"/>
              <a:gd name="connsiteX3" fmla="*/ 0 w 674836"/>
              <a:gd name="connsiteY3" fmla="*/ 228597 h 473992"/>
              <a:gd name="connsiteX4" fmla="*/ 238822 w 674836"/>
              <a:gd name="connsiteY4" fmla="*/ 473992 h 473992"/>
              <a:gd name="connsiteX5" fmla="*/ 301632 w 674836"/>
              <a:gd name="connsiteY5" fmla="*/ 415565 h 473992"/>
              <a:gd name="connsiteX6" fmla="*/ 674837 w 674836"/>
              <a:gd name="connsiteY6" fmla="*/ 61349 h 47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836" h="473992">
                <a:moveTo>
                  <a:pt x="615679" y="0"/>
                </a:moveTo>
                <a:lnTo>
                  <a:pt x="241743" y="353486"/>
                </a:lnTo>
                <a:lnTo>
                  <a:pt x="62079" y="169440"/>
                </a:lnTo>
                <a:lnTo>
                  <a:pt x="0" y="228597"/>
                </a:lnTo>
                <a:lnTo>
                  <a:pt x="238822" y="473992"/>
                </a:lnTo>
                <a:lnTo>
                  <a:pt x="301632" y="415565"/>
                </a:lnTo>
                <a:lnTo>
                  <a:pt x="674837" y="61349"/>
                </a:lnTo>
                <a:close/>
              </a:path>
            </a:pathLst>
          </a:custGeom>
          <a:solidFill>
            <a:schemeClr val="accent1"/>
          </a:solidFill>
          <a:ln w="7243" cap="flat">
            <a:noFill/>
            <a:prstDash val="solid"/>
            <a:miter/>
          </a:ln>
        </p:spPr>
        <p:txBody>
          <a:bodyPr rtlCol="0" anchor="ctr"/>
          <a:lstStyle/>
          <a:p>
            <a:endParaRPr lang="en-US"/>
          </a:p>
        </p:txBody>
      </p:sp>
      <p:sp>
        <p:nvSpPr>
          <p:cNvPr id="6" name="Graphic 27" descr="Close">
            <a:extLst>
              <a:ext uri="{FF2B5EF4-FFF2-40B4-BE49-F238E27FC236}">
                <a16:creationId xmlns:a16="http://schemas.microsoft.com/office/drawing/2014/main" id="{72FD3F85-2A87-42EA-BBFF-490B0EAA2DDF}"/>
              </a:ext>
            </a:extLst>
          </p:cNvPr>
          <p:cNvSpPr/>
          <p:nvPr/>
        </p:nvSpPr>
        <p:spPr>
          <a:xfrm>
            <a:off x="6049077" y="4469865"/>
            <a:ext cx="517082" cy="517082"/>
          </a:xfrm>
          <a:custGeom>
            <a:avLst/>
            <a:gdLst>
              <a:gd name="connsiteX0" fmla="*/ 517083 w 517082"/>
              <a:gd name="connsiteY0" fmla="*/ 62079 h 517082"/>
              <a:gd name="connsiteX1" fmla="*/ 455004 w 517082"/>
              <a:gd name="connsiteY1" fmla="*/ 0 h 517082"/>
              <a:gd name="connsiteX2" fmla="*/ 258541 w 517082"/>
              <a:gd name="connsiteY2" fmla="*/ 196462 h 517082"/>
              <a:gd name="connsiteX3" fmla="*/ 62079 w 517082"/>
              <a:gd name="connsiteY3" fmla="*/ 0 h 517082"/>
              <a:gd name="connsiteX4" fmla="*/ 0 w 517082"/>
              <a:gd name="connsiteY4" fmla="*/ 62079 h 517082"/>
              <a:gd name="connsiteX5" fmla="*/ 196462 w 517082"/>
              <a:gd name="connsiteY5" fmla="*/ 258541 h 517082"/>
              <a:gd name="connsiteX6" fmla="*/ 0 w 517082"/>
              <a:gd name="connsiteY6" fmla="*/ 455004 h 517082"/>
              <a:gd name="connsiteX7" fmla="*/ 62079 w 517082"/>
              <a:gd name="connsiteY7" fmla="*/ 517083 h 517082"/>
              <a:gd name="connsiteX8" fmla="*/ 258541 w 517082"/>
              <a:gd name="connsiteY8" fmla="*/ 320620 h 517082"/>
              <a:gd name="connsiteX9" fmla="*/ 455004 w 517082"/>
              <a:gd name="connsiteY9" fmla="*/ 517083 h 517082"/>
              <a:gd name="connsiteX10" fmla="*/ 517083 w 517082"/>
              <a:gd name="connsiteY10" fmla="*/ 455004 h 517082"/>
              <a:gd name="connsiteX11" fmla="*/ 320620 w 517082"/>
              <a:gd name="connsiteY11" fmla="*/ 258541 h 517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7082" h="517082">
                <a:moveTo>
                  <a:pt x="517083" y="62079"/>
                </a:moveTo>
                <a:lnTo>
                  <a:pt x="455004" y="0"/>
                </a:lnTo>
                <a:lnTo>
                  <a:pt x="258541" y="196462"/>
                </a:lnTo>
                <a:lnTo>
                  <a:pt x="62079" y="0"/>
                </a:lnTo>
                <a:lnTo>
                  <a:pt x="0" y="62079"/>
                </a:lnTo>
                <a:lnTo>
                  <a:pt x="196462" y="258541"/>
                </a:lnTo>
                <a:lnTo>
                  <a:pt x="0" y="455004"/>
                </a:lnTo>
                <a:lnTo>
                  <a:pt x="62079" y="517083"/>
                </a:lnTo>
                <a:lnTo>
                  <a:pt x="258541" y="320620"/>
                </a:lnTo>
                <a:lnTo>
                  <a:pt x="455004" y="517083"/>
                </a:lnTo>
                <a:lnTo>
                  <a:pt x="517083" y="455004"/>
                </a:lnTo>
                <a:lnTo>
                  <a:pt x="320620" y="258541"/>
                </a:lnTo>
                <a:close/>
              </a:path>
            </a:pathLst>
          </a:custGeom>
          <a:solidFill>
            <a:schemeClr val="accent3"/>
          </a:solidFill>
          <a:ln w="7243" cap="flat">
            <a:noFill/>
            <a:prstDash val="solid"/>
            <a:miter/>
          </a:ln>
        </p:spPr>
        <p:txBody>
          <a:bodyPr rtlCol="0" anchor="ctr"/>
          <a:lstStyle/>
          <a:p>
            <a:endParaRPr lang="en-US">
              <a:solidFill>
                <a:schemeClr val="accent3"/>
              </a:solidFill>
            </a:endParaRPr>
          </a:p>
        </p:txBody>
      </p:sp>
      <p:sp>
        <p:nvSpPr>
          <p:cNvPr id="7" name="Graphic 28" descr="Close">
            <a:extLst>
              <a:ext uri="{FF2B5EF4-FFF2-40B4-BE49-F238E27FC236}">
                <a16:creationId xmlns:a16="http://schemas.microsoft.com/office/drawing/2014/main" id="{8C977923-9A27-4145-AAD7-63FC82BE4CB4}"/>
              </a:ext>
            </a:extLst>
          </p:cNvPr>
          <p:cNvSpPr/>
          <p:nvPr/>
        </p:nvSpPr>
        <p:spPr>
          <a:xfrm>
            <a:off x="6077357" y="5411682"/>
            <a:ext cx="517082" cy="517082"/>
          </a:xfrm>
          <a:custGeom>
            <a:avLst/>
            <a:gdLst>
              <a:gd name="connsiteX0" fmla="*/ 517083 w 517082"/>
              <a:gd name="connsiteY0" fmla="*/ 62079 h 517082"/>
              <a:gd name="connsiteX1" fmla="*/ 455004 w 517082"/>
              <a:gd name="connsiteY1" fmla="*/ 0 h 517082"/>
              <a:gd name="connsiteX2" fmla="*/ 258541 w 517082"/>
              <a:gd name="connsiteY2" fmla="*/ 196462 h 517082"/>
              <a:gd name="connsiteX3" fmla="*/ 62079 w 517082"/>
              <a:gd name="connsiteY3" fmla="*/ 0 h 517082"/>
              <a:gd name="connsiteX4" fmla="*/ 0 w 517082"/>
              <a:gd name="connsiteY4" fmla="*/ 62079 h 517082"/>
              <a:gd name="connsiteX5" fmla="*/ 196462 w 517082"/>
              <a:gd name="connsiteY5" fmla="*/ 258541 h 517082"/>
              <a:gd name="connsiteX6" fmla="*/ 0 w 517082"/>
              <a:gd name="connsiteY6" fmla="*/ 455004 h 517082"/>
              <a:gd name="connsiteX7" fmla="*/ 62079 w 517082"/>
              <a:gd name="connsiteY7" fmla="*/ 517083 h 517082"/>
              <a:gd name="connsiteX8" fmla="*/ 258541 w 517082"/>
              <a:gd name="connsiteY8" fmla="*/ 320620 h 517082"/>
              <a:gd name="connsiteX9" fmla="*/ 455004 w 517082"/>
              <a:gd name="connsiteY9" fmla="*/ 517083 h 517082"/>
              <a:gd name="connsiteX10" fmla="*/ 517083 w 517082"/>
              <a:gd name="connsiteY10" fmla="*/ 455004 h 517082"/>
              <a:gd name="connsiteX11" fmla="*/ 320620 w 517082"/>
              <a:gd name="connsiteY11" fmla="*/ 258541 h 517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7082" h="517082">
                <a:moveTo>
                  <a:pt x="517083" y="62079"/>
                </a:moveTo>
                <a:lnTo>
                  <a:pt x="455004" y="0"/>
                </a:lnTo>
                <a:lnTo>
                  <a:pt x="258541" y="196462"/>
                </a:lnTo>
                <a:lnTo>
                  <a:pt x="62079" y="0"/>
                </a:lnTo>
                <a:lnTo>
                  <a:pt x="0" y="62079"/>
                </a:lnTo>
                <a:lnTo>
                  <a:pt x="196462" y="258541"/>
                </a:lnTo>
                <a:lnTo>
                  <a:pt x="0" y="455004"/>
                </a:lnTo>
                <a:lnTo>
                  <a:pt x="62079" y="517083"/>
                </a:lnTo>
                <a:lnTo>
                  <a:pt x="258541" y="320620"/>
                </a:lnTo>
                <a:lnTo>
                  <a:pt x="455004" y="517083"/>
                </a:lnTo>
                <a:lnTo>
                  <a:pt x="517083" y="455004"/>
                </a:lnTo>
                <a:lnTo>
                  <a:pt x="320620" y="258541"/>
                </a:lnTo>
                <a:close/>
              </a:path>
            </a:pathLst>
          </a:custGeom>
          <a:solidFill>
            <a:schemeClr val="accent3"/>
          </a:solidFill>
          <a:ln w="7243" cap="flat">
            <a:noFill/>
            <a:prstDash val="solid"/>
            <a:miter/>
          </a:ln>
        </p:spPr>
        <p:txBody>
          <a:bodyPr rtlCol="0" anchor="ctr"/>
          <a:lstStyle/>
          <a:p>
            <a:endParaRPr lang="en-US">
              <a:solidFill>
                <a:schemeClr val="accent3"/>
              </a:solidFill>
            </a:endParaRPr>
          </a:p>
        </p:txBody>
      </p:sp>
      <p:sp>
        <p:nvSpPr>
          <p:cNvPr id="8" name="Graphic 29" descr="Checkmark">
            <a:extLst>
              <a:ext uri="{FF2B5EF4-FFF2-40B4-BE49-F238E27FC236}">
                <a16:creationId xmlns:a16="http://schemas.microsoft.com/office/drawing/2014/main" id="{1937399E-F9E4-4E56-9FBE-F7893D87D795}"/>
              </a:ext>
            </a:extLst>
          </p:cNvPr>
          <p:cNvSpPr/>
          <p:nvPr/>
        </p:nvSpPr>
        <p:spPr>
          <a:xfrm>
            <a:off x="5998480" y="3464782"/>
            <a:ext cx="674836" cy="473992"/>
          </a:xfrm>
          <a:custGeom>
            <a:avLst/>
            <a:gdLst>
              <a:gd name="connsiteX0" fmla="*/ 615679 w 674836"/>
              <a:gd name="connsiteY0" fmla="*/ 0 h 473992"/>
              <a:gd name="connsiteX1" fmla="*/ 241743 w 674836"/>
              <a:gd name="connsiteY1" fmla="*/ 353486 h 473992"/>
              <a:gd name="connsiteX2" fmla="*/ 62079 w 674836"/>
              <a:gd name="connsiteY2" fmla="*/ 169440 h 473992"/>
              <a:gd name="connsiteX3" fmla="*/ 0 w 674836"/>
              <a:gd name="connsiteY3" fmla="*/ 228597 h 473992"/>
              <a:gd name="connsiteX4" fmla="*/ 238822 w 674836"/>
              <a:gd name="connsiteY4" fmla="*/ 473992 h 473992"/>
              <a:gd name="connsiteX5" fmla="*/ 301632 w 674836"/>
              <a:gd name="connsiteY5" fmla="*/ 415565 h 473992"/>
              <a:gd name="connsiteX6" fmla="*/ 674837 w 674836"/>
              <a:gd name="connsiteY6" fmla="*/ 61349 h 47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836" h="473992">
                <a:moveTo>
                  <a:pt x="615679" y="0"/>
                </a:moveTo>
                <a:lnTo>
                  <a:pt x="241743" y="353486"/>
                </a:lnTo>
                <a:lnTo>
                  <a:pt x="62079" y="169440"/>
                </a:lnTo>
                <a:lnTo>
                  <a:pt x="0" y="228597"/>
                </a:lnTo>
                <a:lnTo>
                  <a:pt x="238822" y="473992"/>
                </a:lnTo>
                <a:lnTo>
                  <a:pt x="301632" y="415565"/>
                </a:lnTo>
                <a:lnTo>
                  <a:pt x="674837" y="61349"/>
                </a:lnTo>
                <a:close/>
              </a:path>
            </a:pathLst>
          </a:custGeom>
          <a:solidFill>
            <a:schemeClr val="accent1"/>
          </a:solidFill>
          <a:ln w="7243" cap="flat">
            <a:noFill/>
            <a:prstDash val="solid"/>
            <a:miter/>
          </a:ln>
        </p:spPr>
        <p:txBody>
          <a:bodyPr rtlCol="0" anchor="ctr"/>
          <a:lstStyle/>
          <a:p>
            <a:endParaRPr lang="en-US"/>
          </a:p>
        </p:txBody>
      </p:sp>
      <p:sp>
        <p:nvSpPr>
          <p:cNvPr id="9" name="Graphic 30" descr="Checkmark">
            <a:extLst>
              <a:ext uri="{FF2B5EF4-FFF2-40B4-BE49-F238E27FC236}">
                <a16:creationId xmlns:a16="http://schemas.microsoft.com/office/drawing/2014/main" id="{36E3E0F1-2F90-46BC-BF70-0E7231B44F7C}"/>
              </a:ext>
            </a:extLst>
          </p:cNvPr>
          <p:cNvSpPr/>
          <p:nvPr/>
        </p:nvSpPr>
        <p:spPr>
          <a:xfrm>
            <a:off x="9518495" y="2385627"/>
            <a:ext cx="674836" cy="473992"/>
          </a:xfrm>
          <a:custGeom>
            <a:avLst/>
            <a:gdLst>
              <a:gd name="connsiteX0" fmla="*/ 615679 w 674836"/>
              <a:gd name="connsiteY0" fmla="*/ 0 h 473992"/>
              <a:gd name="connsiteX1" fmla="*/ 241743 w 674836"/>
              <a:gd name="connsiteY1" fmla="*/ 353486 h 473992"/>
              <a:gd name="connsiteX2" fmla="*/ 62079 w 674836"/>
              <a:gd name="connsiteY2" fmla="*/ 169440 h 473992"/>
              <a:gd name="connsiteX3" fmla="*/ 0 w 674836"/>
              <a:gd name="connsiteY3" fmla="*/ 228597 h 473992"/>
              <a:gd name="connsiteX4" fmla="*/ 238822 w 674836"/>
              <a:gd name="connsiteY4" fmla="*/ 473992 h 473992"/>
              <a:gd name="connsiteX5" fmla="*/ 301632 w 674836"/>
              <a:gd name="connsiteY5" fmla="*/ 415565 h 473992"/>
              <a:gd name="connsiteX6" fmla="*/ 674837 w 674836"/>
              <a:gd name="connsiteY6" fmla="*/ 61349 h 47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836" h="473992">
                <a:moveTo>
                  <a:pt x="615679" y="0"/>
                </a:moveTo>
                <a:lnTo>
                  <a:pt x="241743" y="353486"/>
                </a:lnTo>
                <a:lnTo>
                  <a:pt x="62079" y="169440"/>
                </a:lnTo>
                <a:lnTo>
                  <a:pt x="0" y="228597"/>
                </a:lnTo>
                <a:lnTo>
                  <a:pt x="238822" y="473992"/>
                </a:lnTo>
                <a:lnTo>
                  <a:pt x="301632" y="415565"/>
                </a:lnTo>
                <a:lnTo>
                  <a:pt x="674837" y="61349"/>
                </a:lnTo>
                <a:close/>
              </a:path>
            </a:pathLst>
          </a:custGeom>
          <a:solidFill>
            <a:schemeClr val="accent1"/>
          </a:solidFill>
          <a:ln w="7243" cap="flat">
            <a:noFill/>
            <a:prstDash val="solid"/>
            <a:miter/>
          </a:ln>
        </p:spPr>
        <p:txBody>
          <a:bodyPr rtlCol="0" anchor="ctr"/>
          <a:lstStyle/>
          <a:p>
            <a:endParaRPr lang="en-US"/>
          </a:p>
        </p:txBody>
      </p:sp>
      <p:sp>
        <p:nvSpPr>
          <p:cNvPr id="10" name="Graphic 31" descr="Checkmark">
            <a:extLst>
              <a:ext uri="{FF2B5EF4-FFF2-40B4-BE49-F238E27FC236}">
                <a16:creationId xmlns:a16="http://schemas.microsoft.com/office/drawing/2014/main" id="{F4D73C3E-7D8A-4657-94AB-BACB4944E095}"/>
              </a:ext>
            </a:extLst>
          </p:cNvPr>
          <p:cNvSpPr/>
          <p:nvPr/>
        </p:nvSpPr>
        <p:spPr>
          <a:xfrm>
            <a:off x="9518495" y="3464782"/>
            <a:ext cx="674836" cy="473992"/>
          </a:xfrm>
          <a:custGeom>
            <a:avLst/>
            <a:gdLst>
              <a:gd name="connsiteX0" fmla="*/ 615679 w 674836"/>
              <a:gd name="connsiteY0" fmla="*/ 0 h 473992"/>
              <a:gd name="connsiteX1" fmla="*/ 241743 w 674836"/>
              <a:gd name="connsiteY1" fmla="*/ 353486 h 473992"/>
              <a:gd name="connsiteX2" fmla="*/ 62079 w 674836"/>
              <a:gd name="connsiteY2" fmla="*/ 169440 h 473992"/>
              <a:gd name="connsiteX3" fmla="*/ 0 w 674836"/>
              <a:gd name="connsiteY3" fmla="*/ 228597 h 473992"/>
              <a:gd name="connsiteX4" fmla="*/ 238822 w 674836"/>
              <a:gd name="connsiteY4" fmla="*/ 473992 h 473992"/>
              <a:gd name="connsiteX5" fmla="*/ 301632 w 674836"/>
              <a:gd name="connsiteY5" fmla="*/ 415565 h 473992"/>
              <a:gd name="connsiteX6" fmla="*/ 674837 w 674836"/>
              <a:gd name="connsiteY6" fmla="*/ 61349 h 47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836" h="473992">
                <a:moveTo>
                  <a:pt x="615679" y="0"/>
                </a:moveTo>
                <a:lnTo>
                  <a:pt x="241743" y="353486"/>
                </a:lnTo>
                <a:lnTo>
                  <a:pt x="62079" y="169440"/>
                </a:lnTo>
                <a:lnTo>
                  <a:pt x="0" y="228597"/>
                </a:lnTo>
                <a:lnTo>
                  <a:pt x="238822" y="473992"/>
                </a:lnTo>
                <a:lnTo>
                  <a:pt x="301632" y="415565"/>
                </a:lnTo>
                <a:lnTo>
                  <a:pt x="674837" y="61349"/>
                </a:lnTo>
                <a:close/>
              </a:path>
            </a:pathLst>
          </a:custGeom>
          <a:solidFill>
            <a:schemeClr val="accent1"/>
          </a:solidFill>
          <a:ln w="7243" cap="flat">
            <a:noFill/>
            <a:prstDash val="solid"/>
            <a:miter/>
          </a:ln>
        </p:spPr>
        <p:txBody>
          <a:bodyPr rtlCol="0" anchor="ctr"/>
          <a:lstStyle/>
          <a:p>
            <a:endParaRPr lang="en-US"/>
          </a:p>
        </p:txBody>
      </p:sp>
      <p:sp>
        <p:nvSpPr>
          <p:cNvPr id="11" name="Graphic 32" descr="Checkmark">
            <a:extLst>
              <a:ext uri="{FF2B5EF4-FFF2-40B4-BE49-F238E27FC236}">
                <a16:creationId xmlns:a16="http://schemas.microsoft.com/office/drawing/2014/main" id="{360C4140-7975-4122-B566-D31439099E4F}"/>
              </a:ext>
            </a:extLst>
          </p:cNvPr>
          <p:cNvSpPr/>
          <p:nvPr/>
        </p:nvSpPr>
        <p:spPr>
          <a:xfrm>
            <a:off x="9518495" y="4469865"/>
            <a:ext cx="674836" cy="473992"/>
          </a:xfrm>
          <a:custGeom>
            <a:avLst/>
            <a:gdLst>
              <a:gd name="connsiteX0" fmla="*/ 615679 w 674836"/>
              <a:gd name="connsiteY0" fmla="*/ 0 h 473992"/>
              <a:gd name="connsiteX1" fmla="*/ 241743 w 674836"/>
              <a:gd name="connsiteY1" fmla="*/ 353486 h 473992"/>
              <a:gd name="connsiteX2" fmla="*/ 62079 w 674836"/>
              <a:gd name="connsiteY2" fmla="*/ 169440 h 473992"/>
              <a:gd name="connsiteX3" fmla="*/ 0 w 674836"/>
              <a:gd name="connsiteY3" fmla="*/ 228597 h 473992"/>
              <a:gd name="connsiteX4" fmla="*/ 238822 w 674836"/>
              <a:gd name="connsiteY4" fmla="*/ 473992 h 473992"/>
              <a:gd name="connsiteX5" fmla="*/ 301632 w 674836"/>
              <a:gd name="connsiteY5" fmla="*/ 415565 h 473992"/>
              <a:gd name="connsiteX6" fmla="*/ 674837 w 674836"/>
              <a:gd name="connsiteY6" fmla="*/ 61349 h 47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836" h="473992">
                <a:moveTo>
                  <a:pt x="615679" y="0"/>
                </a:moveTo>
                <a:lnTo>
                  <a:pt x="241743" y="353486"/>
                </a:lnTo>
                <a:lnTo>
                  <a:pt x="62079" y="169440"/>
                </a:lnTo>
                <a:lnTo>
                  <a:pt x="0" y="228597"/>
                </a:lnTo>
                <a:lnTo>
                  <a:pt x="238822" y="473992"/>
                </a:lnTo>
                <a:lnTo>
                  <a:pt x="301632" y="415565"/>
                </a:lnTo>
                <a:lnTo>
                  <a:pt x="674837" y="61349"/>
                </a:lnTo>
                <a:close/>
              </a:path>
            </a:pathLst>
          </a:custGeom>
          <a:solidFill>
            <a:schemeClr val="accent1"/>
          </a:solidFill>
          <a:ln w="7243" cap="flat">
            <a:noFill/>
            <a:prstDash val="solid"/>
            <a:miter/>
          </a:ln>
        </p:spPr>
        <p:txBody>
          <a:bodyPr rtlCol="0" anchor="ctr"/>
          <a:lstStyle/>
          <a:p>
            <a:endParaRPr lang="en-US"/>
          </a:p>
        </p:txBody>
      </p:sp>
      <p:sp>
        <p:nvSpPr>
          <p:cNvPr id="13" name="Graphic 33" descr="Checkmark">
            <a:extLst>
              <a:ext uri="{FF2B5EF4-FFF2-40B4-BE49-F238E27FC236}">
                <a16:creationId xmlns:a16="http://schemas.microsoft.com/office/drawing/2014/main" id="{561B424C-EADA-4732-981C-47623685A634}"/>
              </a:ext>
            </a:extLst>
          </p:cNvPr>
          <p:cNvSpPr/>
          <p:nvPr/>
        </p:nvSpPr>
        <p:spPr>
          <a:xfrm>
            <a:off x="9518495" y="5474948"/>
            <a:ext cx="674836" cy="473992"/>
          </a:xfrm>
          <a:custGeom>
            <a:avLst/>
            <a:gdLst>
              <a:gd name="connsiteX0" fmla="*/ 615679 w 674836"/>
              <a:gd name="connsiteY0" fmla="*/ 0 h 473992"/>
              <a:gd name="connsiteX1" fmla="*/ 241743 w 674836"/>
              <a:gd name="connsiteY1" fmla="*/ 353486 h 473992"/>
              <a:gd name="connsiteX2" fmla="*/ 62079 w 674836"/>
              <a:gd name="connsiteY2" fmla="*/ 169440 h 473992"/>
              <a:gd name="connsiteX3" fmla="*/ 0 w 674836"/>
              <a:gd name="connsiteY3" fmla="*/ 228597 h 473992"/>
              <a:gd name="connsiteX4" fmla="*/ 238822 w 674836"/>
              <a:gd name="connsiteY4" fmla="*/ 473992 h 473992"/>
              <a:gd name="connsiteX5" fmla="*/ 301632 w 674836"/>
              <a:gd name="connsiteY5" fmla="*/ 415565 h 473992"/>
              <a:gd name="connsiteX6" fmla="*/ 674837 w 674836"/>
              <a:gd name="connsiteY6" fmla="*/ 61349 h 47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836" h="473992">
                <a:moveTo>
                  <a:pt x="615679" y="0"/>
                </a:moveTo>
                <a:lnTo>
                  <a:pt x="241743" y="353486"/>
                </a:lnTo>
                <a:lnTo>
                  <a:pt x="62079" y="169440"/>
                </a:lnTo>
                <a:lnTo>
                  <a:pt x="0" y="228597"/>
                </a:lnTo>
                <a:lnTo>
                  <a:pt x="238822" y="473992"/>
                </a:lnTo>
                <a:lnTo>
                  <a:pt x="301632" y="415565"/>
                </a:lnTo>
                <a:lnTo>
                  <a:pt x="674837" y="61349"/>
                </a:lnTo>
                <a:close/>
              </a:path>
            </a:pathLst>
          </a:custGeom>
          <a:solidFill>
            <a:schemeClr val="accent1"/>
          </a:solidFill>
          <a:ln w="7243" cap="flat">
            <a:noFill/>
            <a:prstDash val="solid"/>
            <a:miter/>
          </a:ln>
        </p:spPr>
        <p:txBody>
          <a:bodyPr rtlCol="0" anchor="ctr"/>
          <a:lstStyle/>
          <a:p>
            <a:endParaRPr lang="en-US"/>
          </a:p>
        </p:txBody>
      </p:sp>
    </p:spTree>
    <p:extLst>
      <p:ext uri="{BB962C8B-B14F-4D97-AF65-F5344CB8AC3E}">
        <p14:creationId xmlns:p14="http://schemas.microsoft.com/office/powerpoint/2010/main" val="41394858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580710EA-282A-47EC-93C4-EC32C29CD39B}"/>
              </a:ext>
            </a:extLst>
          </p:cNvPr>
          <p:cNvGraphicFramePr>
            <a:graphicFrameLocks noGrp="1"/>
          </p:cNvGraphicFramePr>
          <p:nvPr>
            <p:ph sz="quarter" idx="13"/>
            <p:extLst>
              <p:ext uri="{D42A27DB-BD31-4B8C-83A1-F6EECF244321}">
                <p14:modId xmlns:p14="http://schemas.microsoft.com/office/powerpoint/2010/main" val="1193920758"/>
              </p:ext>
            </p:extLst>
          </p:nvPr>
        </p:nvGraphicFramePr>
        <p:xfrm>
          <a:off x="655637" y="151445"/>
          <a:ext cx="10880726" cy="65258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Overview Service Tiers </a:t>
            </a:r>
          </a:p>
        </p:txBody>
      </p:sp>
      <p:sp>
        <p:nvSpPr>
          <p:cNvPr id="5" name="Rectangle 4">
            <a:extLst>
              <a:ext uri="{FF2B5EF4-FFF2-40B4-BE49-F238E27FC236}">
                <a16:creationId xmlns:a16="http://schemas.microsoft.com/office/drawing/2014/main" id="{E30EB0C8-F538-41BA-8473-010CA34DAA0D}"/>
              </a:ext>
            </a:extLst>
          </p:cNvPr>
          <p:cNvSpPr/>
          <p:nvPr/>
        </p:nvSpPr>
        <p:spPr bwMode="auto">
          <a:xfrm>
            <a:off x="4576751" y="5320142"/>
            <a:ext cx="3482728" cy="10269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nSpc>
                <a:spcPct val="90000"/>
              </a:lnSpc>
              <a:spcAft>
                <a:spcPts val="600"/>
              </a:spcAft>
            </a:pPr>
            <a:r>
              <a:rPr lang="en-US" dirty="0">
                <a:solidFill>
                  <a:schemeClr val="bg1"/>
                </a:solidFill>
              </a:rPr>
              <a:t>Standard 100DTUs = 1vCore </a:t>
            </a:r>
          </a:p>
          <a:p>
            <a:pPr>
              <a:lnSpc>
                <a:spcPct val="90000"/>
              </a:lnSpc>
              <a:spcAft>
                <a:spcPts val="600"/>
              </a:spcAft>
            </a:pPr>
            <a:r>
              <a:rPr lang="en-US" dirty="0">
                <a:solidFill>
                  <a:schemeClr val="bg1"/>
                </a:solidFill>
              </a:rPr>
              <a:t>Premium 125DTUs = 1vCore</a:t>
            </a: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5308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endParaRPr lang="en-US" b="1">
              <a:solidFill>
                <a:schemeClr val="accent1"/>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custDataLst>
              <p:tags r:id="rId2"/>
            </p:custDataLst>
          </p:nvPr>
        </p:nvSpPr>
        <p:spPr>
          <a:xfrm>
            <a:off x="655320" y="3584448"/>
            <a:ext cx="4352925" cy="3044952"/>
          </a:xfrm>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a:buNone/>
            </a:pPr>
            <a:r>
              <a:rPr lang="en-US" b="1">
                <a:latin typeface="Segoe UI" panose="020B0502040204020203" pitchFamily="34" charset="0"/>
                <a:cs typeface="Segoe UI"/>
              </a:rPr>
              <a:t>Overview of Service Tiers available for Azure SQL Database</a:t>
            </a:r>
          </a:p>
          <a:p>
            <a:pPr lvl="1"/>
            <a:r>
              <a:rPr lang="en-US">
                <a:latin typeface="Segoe UI" panose="020B0502040204020203" pitchFamily="34" charset="0"/>
                <a:cs typeface="Segoe UI"/>
              </a:rPr>
              <a:t>Review the different Service Tiers, Compute and Hardware options available while creating an Azure SQL Database.</a:t>
            </a:r>
            <a:endParaRPr lang="en-US">
              <a:latin typeface="Segoe UI" panose="020B0502040204020203" pitchFamily="34" charset="0"/>
            </a:endParaRPr>
          </a:p>
          <a:p>
            <a:pPr>
              <a:buNone/>
            </a:pPr>
            <a:endParaRPr lang="en-US">
              <a:latin typeface="Segoe UI" panose="020B0502040204020203" pitchFamily="34" charset="0"/>
            </a:endParaRP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2383551743"/>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Database Transaction Units (DTUs)</a:t>
            </a:r>
          </a:p>
        </p:txBody>
      </p:sp>
      <p:pic>
        <p:nvPicPr>
          <p:cNvPr id="8" name="Content Placeholder 4">
            <a:extLst>
              <a:ext uri="{FF2B5EF4-FFF2-40B4-BE49-F238E27FC236}">
                <a16:creationId xmlns:a16="http://schemas.microsoft.com/office/drawing/2014/main" id="{1833ADED-B442-4211-87BA-FD1A50B39175}"/>
              </a:ext>
            </a:extLst>
          </p:cNvPr>
          <p:cNvPicPr>
            <a:picLocks noChangeAspect="1"/>
          </p:cNvPicPr>
          <p:nvPr/>
        </p:nvPicPr>
        <p:blipFill>
          <a:blip r:embed="rId3"/>
          <a:stretch>
            <a:fillRect/>
          </a:stretch>
        </p:blipFill>
        <p:spPr>
          <a:xfrm>
            <a:off x="1500142" y="1408114"/>
            <a:ext cx="9191715" cy="4328657"/>
          </a:xfrm>
          <a:prstGeom prst="rect">
            <a:avLst/>
          </a:prstGeom>
        </p:spPr>
      </p:pic>
    </p:spTree>
    <p:extLst>
      <p:ext uri="{BB962C8B-B14F-4D97-AF65-F5344CB8AC3E}">
        <p14:creationId xmlns:p14="http://schemas.microsoft.com/office/powerpoint/2010/main" val="6365216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DTU-based model: Service Tiers </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908653"/>
            <a:ext cx="10880726" cy="4819650"/>
          </a:xfrm>
        </p:spPr>
        <p:txBody>
          <a:bodyPr/>
          <a:lstStyle/>
          <a:p>
            <a:endParaRPr lang="en-US"/>
          </a:p>
        </p:txBody>
      </p:sp>
      <p:sp>
        <p:nvSpPr>
          <p:cNvPr id="17" name="TextBox 16">
            <a:extLst>
              <a:ext uri="{FF2B5EF4-FFF2-40B4-BE49-F238E27FC236}">
                <a16:creationId xmlns:a16="http://schemas.microsoft.com/office/drawing/2014/main" id="{0A585082-47F3-47F5-A911-31E2E02C9261}"/>
              </a:ext>
            </a:extLst>
          </p:cNvPr>
          <p:cNvSpPr txBox="1"/>
          <p:nvPr/>
        </p:nvSpPr>
        <p:spPr>
          <a:xfrm>
            <a:off x="2292000" y="6059188"/>
            <a:ext cx="274994" cy="263704"/>
          </a:xfrm>
          <a:prstGeom prst="rect">
            <a:avLst/>
          </a:prstGeom>
          <a:noFill/>
        </p:spPr>
        <p:txBody>
          <a:bodyPr wrap="square" lIns="93260" tIns="46630" rIns="93260" bIns="46630"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224" b="0" i="0" u="none" strike="noStrike" kern="0" cap="none" spc="0" normalizeH="0" baseline="0" noProof="0">
                <a:ln>
                  <a:noFill/>
                </a:ln>
                <a:gradFill>
                  <a:gsLst>
                    <a:gs pos="2917">
                      <a:srgbClr val="000000"/>
                    </a:gs>
                    <a:gs pos="30000">
                      <a:srgbClr val="000000"/>
                    </a:gs>
                  </a:gsLst>
                  <a:lin ang="5400000" scaled="0"/>
                </a:gradFill>
                <a:effectLst/>
                <a:uLnTx/>
                <a:uFillTx/>
              </a:rPr>
              <a:t>$</a:t>
            </a:r>
          </a:p>
        </p:txBody>
      </p:sp>
      <p:sp>
        <p:nvSpPr>
          <p:cNvPr id="18" name="TextBox 17">
            <a:extLst>
              <a:ext uri="{FF2B5EF4-FFF2-40B4-BE49-F238E27FC236}">
                <a16:creationId xmlns:a16="http://schemas.microsoft.com/office/drawing/2014/main" id="{6D7C4E30-6111-4271-BC05-25E67C4EE2DB}"/>
              </a:ext>
            </a:extLst>
          </p:cNvPr>
          <p:cNvSpPr txBox="1"/>
          <p:nvPr/>
        </p:nvSpPr>
        <p:spPr>
          <a:xfrm>
            <a:off x="11312216" y="6129325"/>
            <a:ext cx="448294" cy="430135"/>
          </a:xfrm>
          <a:prstGeom prst="rect">
            <a:avLst/>
          </a:prstGeom>
          <a:noFill/>
        </p:spPr>
        <p:txBody>
          <a:bodyPr wrap="none" lIns="93260" tIns="46630" rIns="93260" bIns="46630"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224" b="0" i="0" u="none" strike="noStrike" kern="0" cap="none" spc="0" normalizeH="0" baseline="0" noProof="0" dirty="0">
                <a:ln>
                  <a:noFill/>
                </a:ln>
                <a:gradFill>
                  <a:gsLst>
                    <a:gs pos="2917">
                      <a:srgbClr val="000000"/>
                    </a:gs>
                    <a:gs pos="30000">
                      <a:srgbClr val="000000"/>
                    </a:gs>
                  </a:gsLst>
                  <a:lin ang="5400000" scaled="0"/>
                </a:gradFill>
                <a:effectLst/>
                <a:uLnTx/>
                <a:uFillTx/>
              </a:rPr>
              <a:t>$$$</a:t>
            </a:r>
          </a:p>
        </p:txBody>
      </p:sp>
      <p:cxnSp>
        <p:nvCxnSpPr>
          <p:cNvPr id="19" name="Straight Arrow Connector 18">
            <a:extLst>
              <a:ext uri="{FF2B5EF4-FFF2-40B4-BE49-F238E27FC236}">
                <a16:creationId xmlns:a16="http://schemas.microsoft.com/office/drawing/2014/main" id="{599E692F-A61C-4F2D-BE95-7150B40A8E5F}"/>
              </a:ext>
            </a:extLst>
          </p:cNvPr>
          <p:cNvCxnSpPr>
            <a:cxnSpLocks/>
          </p:cNvCxnSpPr>
          <p:nvPr/>
        </p:nvCxnSpPr>
        <p:spPr>
          <a:xfrm>
            <a:off x="2311706" y="6059022"/>
            <a:ext cx="9448804" cy="23690"/>
          </a:xfrm>
          <a:prstGeom prst="straightConnector1">
            <a:avLst/>
          </a:prstGeom>
          <a:noFill/>
          <a:ln w="28575" cap="flat" cmpd="sng" algn="ctr">
            <a:solidFill>
              <a:srgbClr val="00BCF2">
                <a:lumMod val="75000"/>
              </a:srgbClr>
            </a:solidFill>
            <a:prstDash val="solid"/>
            <a:headEnd type="triangle"/>
            <a:tailEnd type="triangle"/>
          </a:ln>
          <a:effectLst/>
        </p:spPr>
      </p:cxnSp>
      <p:graphicFrame>
        <p:nvGraphicFramePr>
          <p:cNvPr id="20" name="Table 19">
            <a:extLst>
              <a:ext uri="{FF2B5EF4-FFF2-40B4-BE49-F238E27FC236}">
                <a16:creationId xmlns:a16="http://schemas.microsoft.com/office/drawing/2014/main" id="{2A52DC15-A65C-4604-8292-93B527600C4A}"/>
              </a:ext>
            </a:extLst>
          </p:cNvPr>
          <p:cNvGraphicFramePr>
            <a:graphicFrameLocks noGrp="1"/>
          </p:cNvGraphicFramePr>
          <p:nvPr>
            <p:extLst>
              <p:ext uri="{D42A27DB-BD31-4B8C-83A1-F6EECF244321}">
                <p14:modId xmlns:p14="http://schemas.microsoft.com/office/powerpoint/2010/main" val="3617491426"/>
              </p:ext>
            </p:extLst>
          </p:nvPr>
        </p:nvGraphicFramePr>
        <p:xfrm>
          <a:off x="655636" y="833604"/>
          <a:ext cx="11291639" cy="5119258"/>
        </p:xfrm>
        <a:graphic>
          <a:graphicData uri="http://schemas.openxmlformats.org/drawingml/2006/table">
            <a:tbl>
              <a:tblPr bandRow="1"/>
              <a:tblGrid>
                <a:gridCol w="1686971">
                  <a:extLst>
                    <a:ext uri="{9D8B030D-6E8A-4147-A177-3AD203B41FA5}">
                      <a16:colId xmlns:a16="http://schemas.microsoft.com/office/drawing/2014/main" val="1641115587"/>
                    </a:ext>
                  </a:extLst>
                </a:gridCol>
                <a:gridCol w="1320089">
                  <a:extLst>
                    <a:ext uri="{9D8B030D-6E8A-4147-A177-3AD203B41FA5}">
                      <a16:colId xmlns:a16="http://schemas.microsoft.com/office/drawing/2014/main" val="851697351"/>
                    </a:ext>
                  </a:extLst>
                </a:gridCol>
                <a:gridCol w="509597">
                  <a:extLst>
                    <a:ext uri="{9D8B030D-6E8A-4147-A177-3AD203B41FA5}">
                      <a16:colId xmlns:a16="http://schemas.microsoft.com/office/drawing/2014/main" val="1725539160"/>
                    </a:ext>
                  </a:extLst>
                </a:gridCol>
                <a:gridCol w="509597">
                  <a:extLst>
                    <a:ext uri="{9D8B030D-6E8A-4147-A177-3AD203B41FA5}">
                      <a16:colId xmlns:a16="http://schemas.microsoft.com/office/drawing/2014/main" val="2749465807"/>
                    </a:ext>
                  </a:extLst>
                </a:gridCol>
                <a:gridCol w="509597">
                  <a:extLst>
                    <a:ext uri="{9D8B030D-6E8A-4147-A177-3AD203B41FA5}">
                      <a16:colId xmlns:a16="http://schemas.microsoft.com/office/drawing/2014/main" val="3721630276"/>
                    </a:ext>
                  </a:extLst>
                </a:gridCol>
                <a:gridCol w="491758">
                  <a:extLst>
                    <a:ext uri="{9D8B030D-6E8A-4147-A177-3AD203B41FA5}">
                      <a16:colId xmlns:a16="http://schemas.microsoft.com/office/drawing/2014/main" val="659091790"/>
                    </a:ext>
                  </a:extLst>
                </a:gridCol>
                <a:gridCol w="491758">
                  <a:extLst>
                    <a:ext uri="{9D8B030D-6E8A-4147-A177-3AD203B41FA5}">
                      <a16:colId xmlns:a16="http://schemas.microsoft.com/office/drawing/2014/main" val="2794484508"/>
                    </a:ext>
                  </a:extLst>
                </a:gridCol>
                <a:gridCol w="491758">
                  <a:extLst>
                    <a:ext uri="{9D8B030D-6E8A-4147-A177-3AD203B41FA5}">
                      <a16:colId xmlns:a16="http://schemas.microsoft.com/office/drawing/2014/main" val="1949844289"/>
                    </a:ext>
                  </a:extLst>
                </a:gridCol>
                <a:gridCol w="491758">
                  <a:extLst>
                    <a:ext uri="{9D8B030D-6E8A-4147-A177-3AD203B41FA5}">
                      <a16:colId xmlns:a16="http://schemas.microsoft.com/office/drawing/2014/main" val="2905655254"/>
                    </a:ext>
                  </a:extLst>
                </a:gridCol>
                <a:gridCol w="654833">
                  <a:extLst>
                    <a:ext uri="{9D8B030D-6E8A-4147-A177-3AD203B41FA5}">
                      <a16:colId xmlns:a16="http://schemas.microsoft.com/office/drawing/2014/main" val="1347937065"/>
                    </a:ext>
                  </a:extLst>
                </a:gridCol>
                <a:gridCol w="654833">
                  <a:extLst>
                    <a:ext uri="{9D8B030D-6E8A-4147-A177-3AD203B41FA5}">
                      <a16:colId xmlns:a16="http://schemas.microsoft.com/office/drawing/2014/main" val="2861927024"/>
                    </a:ext>
                  </a:extLst>
                </a:gridCol>
                <a:gridCol w="509597">
                  <a:extLst>
                    <a:ext uri="{9D8B030D-6E8A-4147-A177-3AD203B41FA5}">
                      <a16:colId xmlns:a16="http://schemas.microsoft.com/office/drawing/2014/main" val="2583665386"/>
                    </a:ext>
                  </a:extLst>
                </a:gridCol>
                <a:gridCol w="491758">
                  <a:extLst>
                    <a:ext uri="{9D8B030D-6E8A-4147-A177-3AD203B41FA5}">
                      <a16:colId xmlns:a16="http://schemas.microsoft.com/office/drawing/2014/main" val="2850931112"/>
                    </a:ext>
                  </a:extLst>
                </a:gridCol>
                <a:gridCol w="491758">
                  <a:extLst>
                    <a:ext uri="{9D8B030D-6E8A-4147-A177-3AD203B41FA5}">
                      <a16:colId xmlns:a16="http://schemas.microsoft.com/office/drawing/2014/main" val="2242411004"/>
                    </a:ext>
                  </a:extLst>
                </a:gridCol>
                <a:gridCol w="654833">
                  <a:extLst>
                    <a:ext uri="{9D8B030D-6E8A-4147-A177-3AD203B41FA5}">
                      <a16:colId xmlns:a16="http://schemas.microsoft.com/office/drawing/2014/main" val="2459189114"/>
                    </a:ext>
                  </a:extLst>
                </a:gridCol>
                <a:gridCol w="654833">
                  <a:extLst>
                    <a:ext uri="{9D8B030D-6E8A-4147-A177-3AD203B41FA5}">
                      <a16:colId xmlns:a16="http://schemas.microsoft.com/office/drawing/2014/main" val="1344251794"/>
                    </a:ext>
                  </a:extLst>
                </a:gridCol>
                <a:gridCol w="676311">
                  <a:extLst>
                    <a:ext uri="{9D8B030D-6E8A-4147-A177-3AD203B41FA5}">
                      <a16:colId xmlns:a16="http://schemas.microsoft.com/office/drawing/2014/main" val="3415541349"/>
                    </a:ext>
                  </a:extLst>
                </a:gridCol>
              </a:tblGrid>
              <a:tr h="212013">
                <a:tc rowSpan="2">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endParaRPr lang="en-US" sz="1400" kern="1200">
                        <a:solidFill>
                          <a:schemeClr val="tx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rowSpan="2">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solidFill>
                            <a:schemeClr val="bg1"/>
                          </a:solidFill>
                        </a:rPr>
                        <a:t>Basic</a:t>
                      </a:r>
                      <a:endParaRPr lang="en-US" sz="1400" kern="120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gridSpan="9">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solidFill>
                            <a:schemeClr val="bg1"/>
                          </a:solidFill>
                        </a:rPr>
                        <a:t>Standard</a:t>
                      </a:r>
                      <a:endParaRPr lang="en-US" sz="1400" kern="1200" dirty="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lnL w="12700" cap="flat" cmpd="sng" algn="ctr">
                      <a:solidFill>
                        <a:srgbClr val="00BCF2"/>
                      </a:solidFill>
                      <a:prstDash val="solid"/>
                      <a:round/>
                      <a:headEnd type="none" w="med" len="med"/>
                      <a:tailEnd type="none" w="med" len="med"/>
                    </a:lnL>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gridSpan="6">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solidFill>
                            <a:schemeClr val="bg1"/>
                          </a:solidFill>
                        </a:rPr>
                        <a:t>Premium</a:t>
                      </a:r>
                      <a:endParaRPr lang="en-US" sz="1400" kern="120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extLst>
                  <a:ext uri="{0D108BD9-81ED-4DB2-BD59-A6C34878D82A}">
                    <a16:rowId xmlns:a16="http://schemas.microsoft.com/office/drawing/2014/main" val="900670429"/>
                  </a:ext>
                </a:extLst>
              </a:tr>
              <a:tr h="284286">
                <a:tc vMerge="1">
                  <a:txBody>
                    <a:bodyPr/>
                    <a:lstStyle/>
                    <a:p>
                      <a:pPr marL="0" algn="ctr" defTabSz="914367" rtl="0" eaLnBrk="1" latinLnBrk="0" hangingPunct="1"/>
                      <a:endParaRPr lang="en-US" sz="1400" kern="1200">
                        <a:solidFill>
                          <a:schemeClr val="tx1"/>
                        </a:solidFill>
                        <a:latin typeface="Segoe UI Semibold"/>
                        <a:ea typeface="+mn-ea"/>
                        <a:cs typeface="Segoe UI Semibold"/>
                      </a:endParaRPr>
                    </a:p>
                  </a:txBody>
                  <a:tcPr marL="93260" marR="93260" marT="46630" marB="46630"/>
                </a:tc>
                <a:tc v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0</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1</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2</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3</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4</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6</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7</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9</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12</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solidFill>
                            <a:schemeClr val="bg1"/>
                          </a:solidFill>
                        </a:rPr>
                        <a:t>P1</a:t>
                      </a:r>
                      <a:endParaRPr lang="en-US" sz="1400" kern="120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solidFill>
                            <a:schemeClr val="bg1"/>
                          </a:solidFill>
                        </a:rPr>
                        <a:t>P2</a:t>
                      </a:r>
                      <a:endParaRPr lang="en-US" sz="1400" kern="120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solidFill>
                            <a:schemeClr val="bg1"/>
                          </a:solidFill>
                        </a:rPr>
                        <a:t>P4</a:t>
                      </a:r>
                      <a:endParaRPr lang="en-US" sz="1400" kern="120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solidFill>
                            <a:schemeClr val="bg1"/>
                          </a:solidFill>
                        </a:rPr>
                        <a:t>P6</a:t>
                      </a:r>
                      <a:endParaRPr lang="en-US" sz="1400" kern="120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solidFill>
                            <a:schemeClr val="bg1"/>
                          </a:solidFill>
                        </a:rPr>
                        <a:t>P11</a:t>
                      </a:r>
                      <a:endParaRPr lang="en-US" sz="1400" kern="120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solidFill>
                            <a:schemeClr val="bg1"/>
                          </a:solidFill>
                        </a:rPr>
                        <a:t>P15</a:t>
                      </a:r>
                      <a:endParaRPr lang="en-US" sz="1400" kern="120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3232970631"/>
                  </a:ext>
                </a:extLst>
              </a:tr>
              <a:tr h="43983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14367" rtl="0" eaLnBrk="1" latinLnBrk="0" hangingPunct="1"/>
                      <a:r>
                        <a:rPr lang="en-US" sz="1400" kern="1200"/>
                        <a:t>Built for</a:t>
                      </a:r>
                      <a:endParaRPr lang="en-US" sz="1400" kern="1200">
                        <a:solidFill>
                          <a:schemeClr val="tx1"/>
                        </a:solidFill>
                        <a:latin typeface="Segoe UI Semibold"/>
                        <a:ea typeface="+mn-ea"/>
                        <a:cs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t>Light transactional workloads</a:t>
                      </a:r>
                      <a:endParaRPr lang="en-US" sz="1400" kern="1200" dirty="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gridSpan="9">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t>Medium transactional workloads</a:t>
                      </a:r>
                      <a:endParaRPr lang="en-US" sz="1400" kern="1200" dirty="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endParaRPr lang="en-US"/>
                    </a:p>
                  </a:txBody>
                  <a:tcPr>
                    <a:lnL w="12700" cap="flat" cmpd="sng" algn="ctr">
                      <a:solidFill>
                        <a:srgbClr val="00BCF2"/>
                      </a:solidFill>
                      <a:prstDash val="solid"/>
                      <a:round/>
                      <a:headEnd type="none" w="med" len="med"/>
                      <a:tailEnd type="none" w="med" len="med"/>
                    </a:lnL>
                    <a:lnT w="12700" cap="flat" cmpd="sng" algn="ctr">
                      <a:solidFill>
                        <a:srgbClr val="00BCF2"/>
                      </a:solidFill>
                      <a:prstDash val="solid"/>
                      <a:round/>
                      <a:headEnd type="none" w="med" len="med"/>
                      <a:tailEnd type="none" w="med" len="med"/>
                    </a:lnT>
                  </a:tcPr>
                </a:tc>
                <a:tc hMerge="1">
                  <a:txBody>
                    <a:bodyPr/>
                    <a:lstStyle/>
                    <a:p>
                      <a:endParaRPr lang="en-US"/>
                    </a:p>
                  </a:txBody>
                  <a:tcPr/>
                </a:tc>
                <a:tc hMerge="1">
                  <a:txBody>
                    <a:bodyPr/>
                    <a:lstStyle/>
                    <a:p>
                      <a:endParaRPr lang="en-US"/>
                    </a:p>
                  </a:txBody>
                  <a:tcPr>
                    <a:lnL w="12700" cap="flat" cmpd="sng" algn="ctr">
                      <a:solidFill>
                        <a:schemeClr val="bg2"/>
                      </a:solidFill>
                      <a:prstDash val="solid"/>
                      <a:round/>
                      <a:headEnd type="none" w="med" len="med"/>
                      <a:tailEnd type="none" w="med" len="med"/>
                    </a:lnL>
                    <a:lnT w="12700" cmpd="sng">
                      <a:noFill/>
                    </a:lnT>
                  </a:tcPr>
                </a:tc>
                <a:tc hMerge="1">
                  <a:txBody>
                    <a:bodyPr/>
                    <a:lstStyle/>
                    <a:p>
                      <a:endParaRPr lang="en-US"/>
                    </a:p>
                  </a:txBody>
                  <a:tcPr>
                    <a:lnL w="12700" cap="flat" cmpd="sng" algn="ctr">
                      <a:solidFill>
                        <a:schemeClr val="bg2"/>
                      </a:solidFill>
                      <a:prstDash val="solid"/>
                      <a:round/>
                      <a:headEnd type="none" w="med" len="med"/>
                      <a:tailEnd type="none" w="med" len="med"/>
                    </a:lnL>
                    <a:lnT w="12700" cmpd="sng">
                      <a:noFill/>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6">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Heavy transactional workloads</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50044522"/>
                  </a:ext>
                </a:extLst>
              </a:tr>
              <a:tr h="41090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14367" rtl="0" eaLnBrk="1" latinLnBrk="0" hangingPunct="1"/>
                      <a:r>
                        <a:rPr lang="en-US" sz="1400" kern="1200"/>
                        <a:t>Available SLA</a:t>
                      </a:r>
                      <a:endParaRPr lang="en-US" sz="1400" kern="1200">
                        <a:solidFill>
                          <a:schemeClr val="tx1"/>
                        </a:solidFill>
                        <a:latin typeface="Segoe UI Semibold"/>
                        <a:ea typeface="+mn-ea"/>
                        <a:cs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16">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99.99%</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55397524"/>
                  </a:ext>
                </a:extLst>
              </a:tr>
              <a:tr h="4821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14367" rtl="0" eaLnBrk="1" latinLnBrk="0" hangingPunct="1"/>
                      <a:r>
                        <a:rPr lang="en-US" sz="1400" kern="1200"/>
                        <a:t>Database max. size</a:t>
                      </a:r>
                      <a:endParaRPr lang="en-US" sz="1400" kern="1200">
                        <a:solidFill>
                          <a:schemeClr val="tx1"/>
                        </a:solidFill>
                        <a:latin typeface="Segoe UI Semibold"/>
                        <a:ea typeface="+mn-ea"/>
                        <a:cs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2 GB</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gridSpan="3">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250 GB</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10">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1 TB</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4 TB</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99421169"/>
                  </a:ext>
                </a:extLst>
              </a:tr>
              <a:tr h="67992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14367" rtl="0" eaLnBrk="1" latinLnBrk="0" hangingPunct="1"/>
                      <a:r>
                        <a:rPr lang="en-US" sz="1400" kern="1200"/>
                        <a:t>Point-in-time restore</a:t>
                      </a:r>
                    </a:p>
                    <a:p>
                      <a:pPr marL="0" algn="l" defTabSz="914367" rtl="0" eaLnBrk="1" latinLnBrk="0" hangingPunct="1"/>
                      <a:r>
                        <a:rPr lang="en-US" sz="1400" kern="1200"/>
                        <a:t>(“oops” recovery)</a:t>
                      </a:r>
                      <a:endParaRPr lang="en-US" sz="1400" kern="1200">
                        <a:solidFill>
                          <a:schemeClr val="tx1"/>
                        </a:solidFill>
                        <a:latin typeface="Segoe UI Semibold"/>
                        <a:ea typeface="+mn-ea"/>
                        <a:cs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Any point within 7 days</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15">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u="none" strike="noStrike">
                          <a:effectLst/>
                        </a:rPr>
                        <a:t>7-35 days (7 days by default)</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420935"/>
                  </a:ext>
                </a:extLst>
              </a:tr>
              <a:tr h="4821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14367" rtl="0" eaLnBrk="1" latinLnBrk="0" hangingPunct="1"/>
                      <a:r>
                        <a:rPr lang="en-US" sz="1400" kern="1200"/>
                        <a:t>Business continuity</a:t>
                      </a:r>
                      <a:endParaRPr lang="en-US" sz="1400" kern="1200">
                        <a:solidFill>
                          <a:schemeClr val="tx1"/>
                        </a:solidFill>
                        <a:latin typeface="Segoe UI Semibold"/>
                        <a:ea typeface="+mn-ea"/>
                        <a:cs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gridSpan="16">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Active geo-replication, up to four readable secondary backups</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60195514"/>
                  </a:ext>
                </a:extLst>
              </a:tr>
              <a:tr h="41090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14367" rtl="0" eaLnBrk="1" latinLnBrk="0" hangingPunct="1"/>
                      <a:r>
                        <a:rPr lang="en-US" sz="1400" kern="1200"/>
                        <a:t>Security</a:t>
                      </a:r>
                      <a:endParaRPr lang="en-US" sz="1400" kern="1200">
                        <a:solidFill>
                          <a:schemeClr val="tx1"/>
                        </a:solidFill>
                        <a:latin typeface="Segoe UI Semibold"/>
                        <a:ea typeface="+mn-ea"/>
                        <a:cs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16">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a:ln>
                            <a:noFill/>
                          </a:ln>
                          <a:effectLst/>
                          <a:uLnTx/>
                          <a:uFillTx/>
                        </a:rPr>
                        <a:t>Auditing, row-level security, dynamic data masking, Advanced Threat Protection</a:t>
                      </a:r>
                      <a:endParaRPr kumimoji="0" lang="en-US" sz="1400" b="0" i="0" u="none" strike="noStrike" kern="0" cap="none" spc="0" normalizeH="0" baseline="0" noProof="0">
                        <a:ln>
                          <a:noFill/>
                        </a:ln>
                        <a:solidFill>
                          <a:schemeClr val="tx1"/>
                        </a:solidFill>
                        <a:effectLst/>
                        <a:uLnTx/>
                        <a:uFillTx/>
                        <a:latin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62221051"/>
                  </a:ext>
                </a:extLst>
              </a:tr>
              <a:tr h="4821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14367" rtl="0" eaLnBrk="1" latinLnBrk="0" hangingPunct="1"/>
                      <a:r>
                        <a:rPr lang="en-US" sz="1400" kern="1200"/>
                        <a:t>Performance objectives</a:t>
                      </a:r>
                      <a:endParaRPr lang="en-US" sz="1400" kern="1200">
                        <a:solidFill>
                          <a:schemeClr val="tx1"/>
                        </a:solidFill>
                        <a:latin typeface="Segoe UI Semibold"/>
                        <a:ea typeface="+mn-ea"/>
                        <a:cs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Transactions per hour</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gridSpan="9">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t>Transactions per minute</a:t>
                      </a:r>
                      <a:endParaRPr lang="en-US" sz="1400" kern="1200" dirty="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6">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Transactions per second</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46969942"/>
                  </a:ext>
                </a:extLst>
              </a:tr>
              <a:tr h="67992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14367" rtl="0" eaLnBrk="1" latinLnBrk="0" hangingPunct="1"/>
                      <a:r>
                        <a:rPr lang="en-US" sz="1400" kern="1200"/>
                        <a:t>Database transaction units (DTUs)</a:t>
                      </a:r>
                      <a:endParaRPr lang="en-US" sz="1400" kern="1200">
                        <a:solidFill>
                          <a:schemeClr val="tx1"/>
                        </a:solidFill>
                        <a:latin typeface="Segoe UI Semibold"/>
                        <a:ea typeface="+mn-ea"/>
                        <a:cs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t>5</a:t>
                      </a:r>
                      <a:endParaRPr lang="en-US" sz="1400" kern="1200" dirty="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1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t>20</a:t>
                      </a:r>
                      <a:endParaRPr lang="en-US" sz="1400" kern="1200" dirty="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50E6FF"/>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5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10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20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40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80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1,60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3,00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125</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25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50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1,00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1,75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t>4,000</a:t>
                      </a:r>
                      <a:endParaRPr lang="en-US" sz="1400" kern="1200" dirty="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81501684"/>
                  </a:ext>
                </a:extLst>
              </a:tr>
            </a:tbl>
          </a:graphicData>
        </a:graphic>
      </p:graphicFrame>
      <p:sp>
        <p:nvSpPr>
          <p:cNvPr id="22" name="TextBox 21">
            <a:extLst>
              <a:ext uri="{FF2B5EF4-FFF2-40B4-BE49-F238E27FC236}">
                <a16:creationId xmlns:a16="http://schemas.microsoft.com/office/drawing/2014/main" id="{B7311D23-B138-44D3-954D-14C71307B8D4}"/>
              </a:ext>
            </a:extLst>
          </p:cNvPr>
          <p:cNvSpPr txBox="1"/>
          <p:nvPr/>
        </p:nvSpPr>
        <p:spPr>
          <a:xfrm>
            <a:off x="3500171" y="6191040"/>
            <a:ext cx="6399829" cy="489365"/>
          </a:xfrm>
          <a:prstGeom prst="rect">
            <a:avLst/>
          </a:prstGeom>
          <a:noFill/>
        </p:spPr>
        <p:txBody>
          <a:bodyPr wrap="none" lIns="182880" tIns="146304" rIns="182880" bIns="146304" rtlCol="0" anchor="t">
            <a:spAutoFit/>
          </a:bodyPr>
          <a:lstStyle/>
          <a:p>
            <a:pPr marL="0" marR="0" lvl="0" indent="0" defTabSz="932742"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hlinkClick r:id="rId3"/>
              </a:rPr>
              <a:t>Resource limits for single databases using the DTU-based purchasing model</a:t>
            </a:r>
            <a:endParaRPr kumimoji="0" lang="nl-BE" sz="1400" b="0" i="0" u="none" strike="noStrike" kern="0" cap="none" spc="0" normalizeH="0" baseline="0" noProof="0" dirty="0">
              <a:ln>
                <a:noFill/>
              </a:ln>
              <a:gradFill>
                <a:gsLst>
                  <a:gs pos="2917">
                    <a:srgbClr val="505050"/>
                  </a:gs>
                  <a:gs pos="30000">
                    <a:srgbClr val="505050"/>
                  </a:gs>
                </a:gsLst>
                <a:lin ang="5400000" scaled="0"/>
              </a:gradFill>
              <a:effectLst/>
              <a:uLnTx/>
              <a:uFillTx/>
              <a:cs typeface="Segoe UI"/>
            </a:endParaRPr>
          </a:p>
        </p:txBody>
      </p:sp>
    </p:spTree>
    <p:extLst>
      <p:ext uri="{BB962C8B-B14F-4D97-AF65-F5344CB8AC3E}">
        <p14:creationId xmlns:p14="http://schemas.microsoft.com/office/powerpoint/2010/main" val="22768451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7EC0F6-B31A-411D-BBA7-EF213F312CBB}"/>
              </a:ext>
            </a:extLst>
          </p:cNvPr>
          <p:cNvSpPr>
            <a:spLocks noGrp="1"/>
          </p:cNvSpPr>
          <p:nvPr>
            <p:ph type="title"/>
          </p:nvPr>
        </p:nvSpPr>
        <p:spPr/>
        <p:txBody>
          <a:bodyPr/>
          <a:lstStyle/>
          <a:p>
            <a:r>
              <a:rPr lang="en-US" err="1"/>
              <a:t>vCore</a:t>
            </a:r>
            <a:r>
              <a:rPr lang="en-US"/>
              <a:t>-based purchasing model: Provisioned compute tier </a:t>
            </a:r>
          </a:p>
        </p:txBody>
      </p:sp>
      <p:graphicFrame>
        <p:nvGraphicFramePr>
          <p:cNvPr id="7" name="Content Placeholder 6">
            <a:extLst>
              <a:ext uri="{FF2B5EF4-FFF2-40B4-BE49-F238E27FC236}">
                <a16:creationId xmlns:a16="http://schemas.microsoft.com/office/drawing/2014/main" id="{06FC3312-3751-49D5-9529-688AF08D3398}"/>
              </a:ext>
            </a:extLst>
          </p:cNvPr>
          <p:cNvGraphicFramePr>
            <a:graphicFrameLocks noGrp="1"/>
          </p:cNvGraphicFramePr>
          <p:nvPr>
            <p:ph sz="quarter" idx="13"/>
            <p:extLst>
              <p:ext uri="{D42A27DB-BD31-4B8C-83A1-F6EECF244321}">
                <p14:modId xmlns:p14="http://schemas.microsoft.com/office/powerpoint/2010/main" val="2809635427"/>
              </p:ext>
            </p:extLst>
          </p:nvPr>
        </p:nvGraphicFramePr>
        <p:xfrm>
          <a:off x="655637" y="1122978"/>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87459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a:extLst>
              <a:ext uri="{FF2B5EF4-FFF2-40B4-BE49-F238E27FC236}">
                <a16:creationId xmlns:a16="http://schemas.microsoft.com/office/drawing/2014/main" id="{81DA0D0A-6A76-479C-9608-A86440D4607E}"/>
              </a:ext>
            </a:extLst>
          </p:cNvPr>
          <p:cNvGraphicFramePr>
            <a:graphicFrameLocks noGrp="1"/>
          </p:cNvGraphicFramePr>
          <p:nvPr>
            <p:extLst>
              <p:ext uri="{D42A27DB-BD31-4B8C-83A1-F6EECF244321}">
                <p14:modId xmlns:p14="http://schemas.microsoft.com/office/powerpoint/2010/main" val="1911019081"/>
              </p:ext>
            </p:extLst>
          </p:nvPr>
        </p:nvGraphicFramePr>
        <p:xfrm>
          <a:off x="655638" y="1141447"/>
          <a:ext cx="10880726" cy="4879630"/>
        </p:xfrm>
        <a:graphic>
          <a:graphicData uri="http://schemas.openxmlformats.org/drawingml/2006/table">
            <a:tbl>
              <a:tblPr/>
              <a:tblGrid>
                <a:gridCol w="1554390">
                  <a:extLst>
                    <a:ext uri="{9D8B030D-6E8A-4147-A177-3AD203B41FA5}">
                      <a16:colId xmlns:a16="http://schemas.microsoft.com/office/drawing/2014/main" val="784886160"/>
                    </a:ext>
                  </a:extLst>
                </a:gridCol>
                <a:gridCol w="1590724">
                  <a:extLst>
                    <a:ext uri="{9D8B030D-6E8A-4147-A177-3AD203B41FA5}">
                      <a16:colId xmlns:a16="http://schemas.microsoft.com/office/drawing/2014/main" val="2771511070"/>
                    </a:ext>
                  </a:extLst>
                </a:gridCol>
                <a:gridCol w="1590724">
                  <a:extLst>
                    <a:ext uri="{9D8B030D-6E8A-4147-A177-3AD203B41FA5}">
                      <a16:colId xmlns:a16="http://schemas.microsoft.com/office/drawing/2014/main" val="4198495588"/>
                    </a:ext>
                  </a:extLst>
                </a:gridCol>
                <a:gridCol w="1590724">
                  <a:extLst>
                    <a:ext uri="{9D8B030D-6E8A-4147-A177-3AD203B41FA5}">
                      <a16:colId xmlns:a16="http://schemas.microsoft.com/office/drawing/2014/main" val="3616988431"/>
                    </a:ext>
                  </a:extLst>
                </a:gridCol>
                <a:gridCol w="1590724">
                  <a:extLst>
                    <a:ext uri="{9D8B030D-6E8A-4147-A177-3AD203B41FA5}">
                      <a16:colId xmlns:a16="http://schemas.microsoft.com/office/drawing/2014/main" val="1579151052"/>
                    </a:ext>
                  </a:extLst>
                </a:gridCol>
                <a:gridCol w="2963440">
                  <a:extLst>
                    <a:ext uri="{9D8B030D-6E8A-4147-A177-3AD203B41FA5}">
                      <a16:colId xmlns:a16="http://schemas.microsoft.com/office/drawing/2014/main" val="745531816"/>
                    </a:ext>
                  </a:extLst>
                </a:gridCol>
              </a:tblGrid>
              <a:tr h="4665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a:effectLst/>
                        </a:rPr>
                        <a:t> Service tier</a:t>
                      </a:r>
                      <a:endParaRPr lang="en-US" sz="1100" b="0" i="0" u="none" strike="noStrike">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b"/>
                      <a:r>
                        <a:rPr lang="en-US" sz="1400" u="none" strike="noStrike">
                          <a:solidFill>
                            <a:srgbClr val="0078D7"/>
                          </a:solidFill>
                          <a:effectLst/>
                        </a:rPr>
                        <a:t> General purpose</a:t>
                      </a:r>
                      <a:endParaRPr lang="en-US" sz="1100" b="0" i="0" u="none" strike="noStrike">
                        <a:solidFill>
                          <a:srgbClr val="0078D7"/>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b"/>
                      <a:r>
                        <a:rPr lang="en-US" sz="1400" u="none" strike="noStrike">
                          <a:solidFill>
                            <a:srgbClr val="0078D7"/>
                          </a:solidFill>
                          <a:effectLst/>
                        </a:rPr>
                        <a:t>Business critical</a:t>
                      </a:r>
                      <a:endParaRPr lang="en-US" sz="1100" b="0" i="0" u="none" strike="noStrike">
                        <a:solidFill>
                          <a:srgbClr val="0078D7"/>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b"/>
                      <a:r>
                        <a:rPr lang="en-US" sz="1400" u="none" strike="noStrike" dirty="0">
                          <a:solidFill>
                            <a:srgbClr val="0078D7"/>
                          </a:solidFill>
                          <a:effectLst/>
                        </a:rPr>
                        <a:t>Hyperscale</a:t>
                      </a:r>
                      <a:endParaRPr lang="en-US" sz="1100" b="0" i="0" u="none" strike="noStrike" dirty="0">
                        <a:solidFill>
                          <a:srgbClr val="0078D7"/>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3587259502"/>
                  </a:ext>
                </a:extLst>
              </a:tr>
              <a:tr h="72158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a:effectLst/>
                        </a:rPr>
                        <a:t> Best for</a:t>
                      </a:r>
                      <a:endParaRPr lang="en-US" sz="1100" b="0" i="0" u="none" strike="noStrike">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a:effectLst/>
                        </a:rPr>
                        <a:t>Most budget-oriented workloads</a:t>
                      </a:r>
                      <a:endParaRPr lang="en-US"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a:effectLst/>
                        </a:rPr>
                        <a:t>Critical business applications with high IO requirements. </a:t>
                      </a:r>
                      <a:endParaRPr lang="en-US"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a:effectLst/>
                        </a:rPr>
                        <a:t>VLDB OLTP and HTAP workloads with highly scalable storage and read-scale requirements.</a:t>
                      </a:r>
                      <a:endParaRPr lang="en-US"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1943949272"/>
                  </a:ext>
                </a:extLst>
              </a:tr>
              <a:tr h="520863">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a:effectLst/>
                        </a:rPr>
                        <a:t>Deployment  option</a:t>
                      </a:r>
                      <a:endParaRPr lang="en-US" sz="1100" b="0" i="0" u="none" strike="noStrike">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200" u="none" strike="noStrike">
                          <a:solidFill>
                            <a:schemeClr val="bg1"/>
                          </a:solidFill>
                          <a:effectLst/>
                        </a:rPr>
                        <a:t>Single / </a:t>
                      </a:r>
                    </a:p>
                    <a:p>
                      <a:pPr algn="ctr" rtl="0" fontAlgn="ctr"/>
                      <a:r>
                        <a:rPr lang="en-US" sz="1200" u="none" strike="noStrike">
                          <a:solidFill>
                            <a:schemeClr val="bg1"/>
                          </a:solidFill>
                          <a:effectLst/>
                        </a:rPr>
                        <a:t>Elastic Pools</a:t>
                      </a:r>
                      <a:endParaRPr lang="en-US" sz="1200" b="0" i="0" u="none" strike="noStrike">
                        <a:solidFill>
                          <a:schemeClr val="bg1"/>
                        </a:solidFill>
                        <a:effectLst/>
                        <a:latin typeface="Segoe UI Semibold" panose="020B0702040204020203" pitchFamily="34" charset="0"/>
                      </a:endParaRPr>
                    </a:p>
                  </a:txBody>
                  <a:tcPr marL="0" marR="0" marT="0" marB="0">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200" u="none" strike="noStrike">
                          <a:solidFill>
                            <a:schemeClr val="bg1"/>
                          </a:solidFill>
                          <a:effectLst/>
                        </a:rPr>
                        <a:t>Managed Instance</a:t>
                      </a:r>
                      <a:endParaRPr lang="en-US" sz="1200" b="0" i="0" u="none" strike="noStrike">
                        <a:solidFill>
                          <a:schemeClr val="bg1"/>
                        </a:solidFill>
                        <a:effectLst/>
                        <a:latin typeface="Segoe UI Semibold" panose="020B0702040204020203" pitchFamily="34" charset="0"/>
                      </a:endParaRPr>
                    </a:p>
                  </a:txBody>
                  <a:tcPr marL="0" marR="0" marT="0" marB="0">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200" u="none" strike="noStrike">
                          <a:solidFill>
                            <a:schemeClr val="bg1"/>
                          </a:solidFill>
                          <a:effectLst/>
                        </a:rPr>
                        <a:t>Single / </a:t>
                      </a:r>
                    </a:p>
                    <a:p>
                      <a:pPr algn="ctr" rtl="0" fontAlgn="ctr"/>
                      <a:r>
                        <a:rPr lang="en-US" sz="1200" u="none" strike="noStrike">
                          <a:solidFill>
                            <a:schemeClr val="bg1"/>
                          </a:solidFill>
                          <a:effectLst/>
                        </a:rPr>
                        <a:t>Elastic Pools</a:t>
                      </a:r>
                      <a:endParaRPr lang="en-US" sz="1200" b="0" i="0" u="none" strike="noStrike">
                        <a:solidFill>
                          <a:schemeClr val="bg1"/>
                        </a:solidFill>
                        <a:effectLst/>
                        <a:latin typeface="Segoe UI Semibold" panose="020B0702040204020203" pitchFamily="34" charset="0"/>
                      </a:endParaRPr>
                    </a:p>
                  </a:txBody>
                  <a:tcPr marL="0" marR="0" marT="0" marB="0">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200" u="none" strike="noStrike">
                          <a:solidFill>
                            <a:schemeClr val="bg1"/>
                          </a:solidFill>
                          <a:effectLst/>
                        </a:rPr>
                        <a:t>Managed Instance</a:t>
                      </a:r>
                    </a:p>
                    <a:p>
                      <a:pPr algn="ctr" rtl="0" fontAlgn="ctr"/>
                      <a:endParaRPr lang="en-US" sz="1200" b="0" i="0" u="none" strike="noStrike">
                        <a:solidFill>
                          <a:schemeClr val="bg1"/>
                        </a:solidFill>
                        <a:effectLst/>
                        <a:latin typeface="Segoe UI Semibold" panose="020B0702040204020203" pitchFamily="34" charset="0"/>
                      </a:endParaRPr>
                    </a:p>
                  </a:txBody>
                  <a:tcPr marL="0" marR="0" marT="0" marB="0">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200" u="none" strike="noStrike">
                          <a:solidFill>
                            <a:schemeClr val="bg1"/>
                          </a:solidFill>
                          <a:effectLst/>
                        </a:rPr>
                        <a:t>Single</a:t>
                      </a:r>
                      <a:endParaRPr lang="en-US" sz="1200" b="0" i="0" u="none" strike="noStrike">
                        <a:solidFill>
                          <a:schemeClr val="bg1"/>
                        </a:solidFill>
                        <a:effectLst/>
                        <a:latin typeface="Segoe UI Semibold" panose="020B0702040204020203" pitchFamily="34" charset="0"/>
                      </a:endParaRPr>
                    </a:p>
                  </a:txBody>
                  <a:tcPr marL="0" marR="0" marT="0" marB="0">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056660644"/>
                  </a:ext>
                </a:extLst>
              </a:tr>
              <a:tr h="993020">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a:effectLst/>
                        </a:rPr>
                        <a:t> Compute tiers</a:t>
                      </a:r>
                      <a:endParaRPr lang="en-US" sz="1100" b="0" i="0" u="none" strike="noStrike">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br>
                        <a:rPr lang="en-US" sz="1000" u="none" strike="noStrike" dirty="0">
                          <a:effectLst/>
                        </a:rPr>
                      </a:br>
                      <a:r>
                        <a:rPr lang="en-US" sz="1000" u="none" strike="noStrike" dirty="0">
                          <a:effectLst/>
                        </a:rPr>
                        <a:t>Gen5: 2 to 80 vCore</a:t>
                      </a:r>
                    </a:p>
                    <a:p>
                      <a:pPr algn="ctr" rtl="0" fontAlgn="ctr"/>
                      <a:r>
                        <a:rPr lang="en-US" sz="1000" u="none" strike="noStrike" dirty="0">
                          <a:effectLst/>
                        </a:rPr>
                        <a:t>Fsv2-series</a:t>
                      </a:r>
                      <a:r>
                        <a:rPr lang="en-US" sz="1000" b="1" u="none" strike="noStrike" dirty="0">
                          <a:effectLst/>
                        </a:rPr>
                        <a:t>*</a:t>
                      </a:r>
                      <a:r>
                        <a:rPr lang="en-US" sz="1000" u="none" strike="noStrike" dirty="0">
                          <a:effectLst/>
                        </a:rPr>
                        <a:t>: 72 vCore</a:t>
                      </a:r>
                    </a:p>
                    <a:p>
                      <a:pPr marL="0" marR="0" lvl="0" indent="0" algn="ctr" defTabSz="914367" rtl="0" eaLnBrk="1" fontAlgn="ctr" latinLnBrk="0" hangingPunct="1">
                        <a:lnSpc>
                          <a:spcPct val="100000"/>
                        </a:lnSpc>
                        <a:spcBef>
                          <a:spcPts val="0"/>
                        </a:spcBef>
                        <a:spcAft>
                          <a:spcPts val="0"/>
                        </a:spcAft>
                        <a:buClrTx/>
                        <a:buSzTx/>
                        <a:buFontTx/>
                        <a:buNone/>
                        <a:tabLst/>
                        <a:defRPr/>
                      </a:pPr>
                      <a:r>
                        <a:rPr lang="en-US" sz="1000" u="none" strike="noStrike" dirty="0">
                          <a:effectLst/>
                        </a:rPr>
                        <a:t>Serverless: 0.5 to 16 vCore</a:t>
                      </a:r>
                    </a:p>
                    <a:p>
                      <a:pPr algn="ctr" rtl="0" fontAlgn="ctr"/>
                      <a:endParaRPr lang="en-US" sz="10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000" u="none" strike="noStrike" dirty="0">
                          <a:effectLst/>
                        </a:rPr>
                        <a:t>Gen5: 4 to 80 vCore</a:t>
                      </a:r>
                      <a:endParaRPr lang="en-US" sz="10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000" u="none" strike="noStrike" dirty="0">
                          <a:effectLst/>
                        </a:rPr>
                        <a:t>Gen5: 2 to 80 vCore</a:t>
                      </a:r>
                    </a:p>
                    <a:p>
                      <a:pPr algn="ctr" rtl="0" fontAlgn="ctr"/>
                      <a:r>
                        <a:rPr lang="en-US" sz="1000" u="none" strike="noStrike" dirty="0">
                          <a:effectLst/>
                        </a:rPr>
                        <a:t>M-series*: 128 vCore</a:t>
                      </a:r>
                      <a:endParaRPr lang="en-US" sz="10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000" u="none" strike="noStrike" dirty="0">
                          <a:effectLst/>
                        </a:rPr>
                        <a:t>Gen5: 4 to 80 vCore</a:t>
                      </a:r>
                      <a:endParaRPr lang="en-US" sz="10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000" u="none" strike="noStrike" dirty="0">
                          <a:effectLst/>
                        </a:rPr>
                        <a:t>Gen5: 2 to 80 vCore</a:t>
                      </a:r>
                      <a:endParaRPr lang="en-US" sz="10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2687905213"/>
                  </a:ext>
                </a:extLst>
              </a:tr>
              <a:tr h="217726">
                <a:tc row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a:effectLst/>
                        </a:rPr>
                        <a:t> Storage</a:t>
                      </a:r>
                      <a:endParaRPr lang="en-US" sz="1100" b="0" i="0" u="none" strike="noStrike">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a:effectLst/>
                        </a:rPr>
                        <a:t>Premium remote</a:t>
                      </a:r>
                      <a:endParaRPr lang="en-US" sz="1100" b="1"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a:effectLst/>
                        </a:rPr>
                        <a:t>Local SSD</a:t>
                      </a:r>
                      <a:endParaRPr lang="en-US" sz="1100" b="1"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a:effectLst/>
                        </a:rPr>
                        <a:t>Local SSD Cache</a:t>
                      </a:r>
                      <a:endParaRPr lang="en-US" sz="1100" b="1"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4002356545"/>
                  </a:ext>
                </a:extLst>
              </a:tr>
              <a:tr h="360793">
                <a:tc vMerge="1">
                  <a:txBody>
                    <a:bodyPr/>
                    <a:lstStyle/>
                    <a:p>
                      <a:endParaRPr lang="en-US"/>
                    </a:p>
                  </a:txBody>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5GB – 4TB per instance</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32GB – 8TB per instance</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5GB – 4TB per instance</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32GB – 4TB per instance</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Scale from 5GB to 100TB of storage in 1GB increments</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2052644292"/>
                  </a:ext>
                </a:extLst>
              </a:tr>
              <a:tr h="20694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a:effectLst/>
                        </a:rPr>
                        <a:t> In-Memory</a:t>
                      </a:r>
                      <a:endParaRPr lang="en-US" sz="1100" b="0" i="0" u="none" strike="noStrike">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a:effectLst/>
                        </a:rPr>
                        <a:t>Not supported</a:t>
                      </a:r>
                      <a:endParaRPr lang="en-US"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a:effectLst/>
                        </a:rPr>
                        <a:t>Supported</a:t>
                      </a:r>
                      <a:endParaRPr lang="en-US"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a:effectLst/>
                        </a:rPr>
                        <a:t>Not supported</a:t>
                      </a:r>
                      <a:endParaRPr lang="en-US"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2145969495"/>
                  </a:ext>
                </a:extLst>
              </a:tr>
              <a:tr h="360793">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a:effectLst/>
                        </a:rPr>
                        <a:t> Read-write IO</a:t>
                      </a:r>
                      <a:endParaRPr lang="en-US" sz="1100" b="0" i="0" u="none" strike="noStrike">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a:effectLst/>
                        </a:rPr>
                        <a:t>~2ms for all data access</a:t>
                      </a:r>
                      <a:endParaRPr lang="en-US"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a:effectLst/>
                        </a:rPr>
                        <a:t>&lt;0.5ms for all data access</a:t>
                      </a:r>
                      <a:endParaRPr lang="en-US"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a:effectLst/>
                        </a:rPr>
                        <a:t>&lt;0.5ms for hot data access</a:t>
                      </a:r>
                      <a:br>
                        <a:rPr lang="en-US" sz="1100" u="none" strike="noStrike">
                          <a:effectLst/>
                        </a:rPr>
                      </a:br>
                      <a:r>
                        <a:rPr lang="en-US" sz="1100" u="none" strike="noStrike">
                          <a:effectLst/>
                        </a:rPr>
                        <a:t>~2ms otherwise</a:t>
                      </a:r>
                      <a:endParaRPr lang="en-US"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3513752236"/>
                  </a:ext>
                </a:extLst>
              </a:tr>
              <a:tr h="62418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a:effectLst/>
                        </a:rPr>
                        <a:t> Availability</a:t>
                      </a:r>
                      <a:endParaRPr lang="en-US" sz="1100" b="0" i="0" u="none" strike="noStrike">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a:effectLst/>
                        </a:rPr>
                        <a:t>1 replica, no read-scale replicas</a:t>
                      </a:r>
                      <a:endParaRPr lang="en-US"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it-IT" sz="1100" u="none" strike="noStrike">
                          <a:effectLst/>
                        </a:rPr>
                        <a:t>3 read replicas, zone-redundant HA</a:t>
                      </a:r>
                      <a:endParaRPr lang="it-IT"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ctr" latinLnBrk="0" hangingPunct="1">
                        <a:lnSpc>
                          <a:spcPct val="100000"/>
                        </a:lnSpc>
                        <a:spcBef>
                          <a:spcPts val="0"/>
                        </a:spcBef>
                        <a:spcAft>
                          <a:spcPts val="0"/>
                        </a:spcAft>
                        <a:buClrTx/>
                        <a:buSzTx/>
                        <a:buFontTx/>
                        <a:buNone/>
                        <a:tabLst/>
                        <a:defRPr/>
                      </a:pPr>
                      <a:r>
                        <a:rPr lang="it-IT" sz="1100" u="none" strike="noStrike">
                          <a:effectLst/>
                        </a:rPr>
                        <a:t>3 replicas, 1 read-scale replica, zone-redundant HA</a:t>
                      </a:r>
                    </a:p>
                    <a:p>
                      <a:pPr algn="ctr" rtl="0" fontAlgn="ctr"/>
                      <a:endParaRPr lang="it-IT"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a:effectLst/>
                        </a:rPr>
                        <a:t>Primary read/write replica + up to 4 read replicas</a:t>
                      </a:r>
                      <a:endParaRPr lang="en-US"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3645875476"/>
                  </a:ext>
                </a:extLst>
              </a:tr>
              <a:tr h="360793">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a:effectLst/>
                        </a:rPr>
                        <a:t> Backups</a:t>
                      </a:r>
                      <a:endParaRPr lang="en-US" sz="1100" b="0" i="0" u="none" strike="noStrike">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a:effectLst/>
                        </a:rPr>
                        <a:t>RA-GRS, 7-35 days (7 days by default)</a:t>
                      </a:r>
                      <a:endParaRPr lang="en-US"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a:effectLst/>
                        </a:rPr>
                        <a:t>RA-GRS, 7-35 days (7 days by default)</a:t>
                      </a:r>
                      <a:endParaRPr lang="en-US"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LRS, ZRS, RA-GRS, 7-35 days (7 days by default)</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4008461807"/>
                  </a:ext>
                </a:extLst>
              </a:tr>
            </a:tbl>
          </a:graphicData>
        </a:graphic>
      </p:graphicFrame>
      <p:sp>
        <p:nvSpPr>
          <p:cNvPr id="2" name="Title 1">
            <a:extLst>
              <a:ext uri="{FF2B5EF4-FFF2-40B4-BE49-F238E27FC236}">
                <a16:creationId xmlns:a16="http://schemas.microsoft.com/office/drawing/2014/main" id="{277EC0F6-B31A-411D-BBA7-EF213F312CBB}"/>
              </a:ext>
            </a:extLst>
          </p:cNvPr>
          <p:cNvSpPr>
            <a:spLocks noGrp="1"/>
          </p:cNvSpPr>
          <p:nvPr>
            <p:ph type="title"/>
          </p:nvPr>
        </p:nvSpPr>
        <p:spPr/>
        <p:txBody>
          <a:bodyPr/>
          <a:lstStyle/>
          <a:p>
            <a:r>
              <a:rPr lang="en-US" err="1"/>
              <a:t>vCore</a:t>
            </a:r>
            <a:r>
              <a:rPr lang="en-US"/>
              <a:t>-based purchasing model: Provisioned compute tier </a:t>
            </a:r>
          </a:p>
        </p:txBody>
      </p:sp>
      <p:sp>
        <p:nvSpPr>
          <p:cNvPr id="18" name="Freeform 182">
            <a:extLst>
              <a:ext uri="{FF2B5EF4-FFF2-40B4-BE49-F238E27FC236}">
                <a16:creationId xmlns:a16="http://schemas.microsoft.com/office/drawing/2014/main" id="{8CE34CF4-C4B4-4A18-88EB-8C1C9AD175BD}"/>
              </a:ext>
            </a:extLst>
          </p:cNvPr>
          <p:cNvSpPr/>
          <p:nvPr/>
        </p:nvSpPr>
        <p:spPr bwMode="auto">
          <a:xfrm>
            <a:off x="2457733" y="1198505"/>
            <a:ext cx="361669" cy="37475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137141" tIns="109712" rIns="137141" bIns="109712"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99220" fontAlgn="base">
              <a:lnSpc>
                <a:spcPct val="90000"/>
              </a:lnSpc>
              <a:spcBef>
                <a:spcPct val="0"/>
              </a:spcBef>
              <a:spcAft>
                <a:spcPct val="0"/>
              </a:spcAft>
              <a:defRPr/>
            </a:pPr>
            <a:endParaRPr lang="en-US" sz="18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85AC5BB8-000D-4371-A92D-2217B5C4FDDA}"/>
              </a:ext>
            </a:extLst>
          </p:cNvPr>
          <p:cNvGrpSpPr/>
          <p:nvPr/>
        </p:nvGrpSpPr>
        <p:grpSpPr>
          <a:xfrm>
            <a:off x="9035971" y="1209251"/>
            <a:ext cx="457111" cy="430278"/>
            <a:chOff x="0" y="0"/>
            <a:chExt cx="815248" cy="984722"/>
          </a:xfrm>
        </p:grpSpPr>
        <p:sp>
          <p:nvSpPr>
            <p:cNvPr id="20" name="Freeform 182">
              <a:extLst>
                <a:ext uri="{FF2B5EF4-FFF2-40B4-BE49-F238E27FC236}">
                  <a16:creationId xmlns:a16="http://schemas.microsoft.com/office/drawing/2014/main" id="{03B0F42E-12BF-4D34-801A-233A36C8B2E7}"/>
                </a:ext>
              </a:extLst>
            </p:cNvPr>
            <p:cNvSpPr/>
            <p:nvPr/>
          </p:nvSpPr>
          <p:spPr bwMode="auto">
            <a:xfrm>
              <a:off x="0" y="0"/>
              <a:ext cx="645030" cy="82728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137141" tIns="109712" rIns="137141" bIns="109712"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99220" fontAlgn="base">
                <a:lnSpc>
                  <a:spcPct val="90000"/>
                </a:lnSpc>
                <a:spcBef>
                  <a:spcPct val="0"/>
                </a:spcBef>
                <a:spcAft>
                  <a:spcPct val="0"/>
                </a:spcAft>
                <a:defRPr/>
              </a:pPr>
              <a:endParaRPr lang="en-US"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Freeform 28">
              <a:extLst>
                <a:ext uri="{FF2B5EF4-FFF2-40B4-BE49-F238E27FC236}">
                  <a16:creationId xmlns:a16="http://schemas.microsoft.com/office/drawing/2014/main" id="{4C5C849D-FB2F-42B5-9C1C-8EC521A36307}"/>
                </a:ext>
              </a:extLst>
            </p:cNvPr>
            <p:cNvSpPr/>
            <p:nvPr/>
          </p:nvSpPr>
          <p:spPr bwMode="auto">
            <a:xfrm>
              <a:off x="425605" y="313978"/>
              <a:ext cx="389643" cy="670744"/>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solidFill>
              <a:srgbClr val="50E6FF"/>
            </a:solidFill>
            <a:ln w="12700" cap="flat" cmpd="sng" algn="ctr">
              <a:noFill/>
              <a:prstDash val="solid"/>
              <a:bevel/>
              <a:headEnd type="none" w="med" len="med"/>
              <a:tailEnd type="none" w="med" len="med"/>
            </a:ln>
            <a:effectLst/>
          </p:spPr>
          <p:txBody>
            <a:bodyPr rot="0" spcFirstLastPara="0" vert="horz" wrap="square" lIns="137141" tIns="109712" rIns="137141" bIns="109712"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99220" fontAlgn="base">
                <a:lnSpc>
                  <a:spcPct val="90000"/>
                </a:lnSpc>
                <a:spcBef>
                  <a:spcPct val="0"/>
                </a:spcBef>
                <a:spcAft>
                  <a:spcPct val="0"/>
                </a:spcAft>
                <a:defRPr/>
              </a:pPr>
              <a:endParaRPr lang="en-US"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DCA2A26E-1F83-4CFA-AE0C-32AAB76AAF14}"/>
              </a:ext>
            </a:extLst>
          </p:cNvPr>
          <p:cNvGrpSpPr/>
          <p:nvPr/>
        </p:nvGrpSpPr>
        <p:grpSpPr>
          <a:xfrm>
            <a:off x="5761740" y="1215305"/>
            <a:ext cx="515116" cy="371273"/>
            <a:chOff x="0" y="0"/>
            <a:chExt cx="854772" cy="827284"/>
          </a:xfrm>
        </p:grpSpPr>
        <p:sp>
          <p:nvSpPr>
            <p:cNvPr id="23" name="Freeform 182">
              <a:extLst>
                <a:ext uri="{FF2B5EF4-FFF2-40B4-BE49-F238E27FC236}">
                  <a16:creationId xmlns:a16="http://schemas.microsoft.com/office/drawing/2014/main" id="{A6C682B2-93D1-4718-8062-0518FDAD83AE}"/>
                </a:ext>
              </a:extLst>
            </p:cNvPr>
            <p:cNvSpPr/>
            <p:nvPr/>
          </p:nvSpPr>
          <p:spPr bwMode="auto">
            <a:xfrm>
              <a:off x="0" y="0"/>
              <a:ext cx="645030" cy="82728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137141" tIns="109712" rIns="137141" bIns="109712"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99220" fontAlgn="base">
                <a:lnSpc>
                  <a:spcPct val="90000"/>
                </a:lnSpc>
                <a:spcBef>
                  <a:spcPct val="0"/>
                </a:spcBef>
                <a:spcAft>
                  <a:spcPct val="0"/>
                </a:spcAft>
                <a:defRPr/>
              </a:pPr>
              <a:endParaRPr lang="en-US" sz="18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Freeform 121">
              <a:extLst>
                <a:ext uri="{FF2B5EF4-FFF2-40B4-BE49-F238E27FC236}">
                  <a16:creationId xmlns:a16="http://schemas.microsoft.com/office/drawing/2014/main" id="{63F6DCB6-B667-44F3-8B22-C82BB2DDB913}"/>
                </a:ext>
              </a:extLst>
            </p:cNvPr>
            <p:cNvSpPr>
              <a:spLocks noChangeAspect="1"/>
            </p:cNvSpPr>
            <p:nvPr/>
          </p:nvSpPr>
          <p:spPr bwMode="black">
            <a:xfrm rot="5400000" flipH="1">
              <a:off x="367841" y="256150"/>
              <a:ext cx="554377" cy="419485"/>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 name="connsiteX0" fmla="*/ 4839 w 10000"/>
                <a:gd name="connsiteY0" fmla="*/ 10000 h 10000"/>
                <a:gd name="connsiteX1" fmla="*/ 1452 w 10000"/>
                <a:gd name="connsiteY1" fmla="*/ 6747 h 10000"/>
                <a:gd name="connsiteX2" fmla="*/ 5645 w 10000"/>
                <a:gd name="connsiteY2" fmla="*/ 3735 h 10000"/>
                <a:gd name="connsiteX3" fmla="*/ 5645 w 10000"/>
                <a:gd name="connsiteY3" fmla="*/ 5663 h 10000"/>
                <a:gd name="connsiteX4" fmla="*/ 10000 w 10000"/>
                <a:gd name="connsiteY4" fmla="*/ 2771 h 10000"/>
                <a:gd name="connsiteX5" fmla="*/ 5645 w 10000"/>
                <a:gd name="connsiteY5" fmla="*/ 0 h 10000"/>
                <a:gd name="connsiteX6" fmla="*/ 5645 w 10000"/>
                <a:gd name="connsiteY6" fmla="*/ 1807 h 10000"/>
                <a:gd name="connsiteX7" fmla="*/ 5484 w 10000"/>
                <a:gd name="connsiteY7" fmla="*/ 1807 h 10000"/>
                <a:gd name="connsiteX8" fmla="*/ 0 w 10000"/>
                <a:gd name="connsiteY8" fmla="*/ 6024 h 10000"/>
                <a:gd name="connsiteX9" fmla="*/ 4839 w 10000"/>
                <a:gd name="connsiteY9" fmla="*/ 10000 h 10000"/>
                <a:gd name="connsiteX0" fmla="*/ 197 w 10197"/>
                <a:gd name="connsiteY0" fmla="*/ 6024 h 6914"/>
                <a:gd name="connsiteX1" fmla="*/ 1649 w 10197"/>
                <a:gd name="connsiteY1" fmla="*/ 6747 h 6914"/>
                <a:gd name="connsiteX2" fmla="*/ 5842 w 10197"/>
                <a:gd name="connsiteY2" fmla="*/ 3735 h 6914"/>
                <a:gd name="connsiteX3" fmla="*/ 5842 w 10197"/>
                <a:gd name="connsiteY3" fmla="*/ 5663 h 6914"/>
                <a:gd name="connsiteX4" fmla="*/ 10197 w 10197"/>
                <a:gd name="connsiteY4" fmla="*/ 2771 h 6914"/>
                <a:gd name="connsiteX5" fmla="*/ 5842 w 10197"/>
                <a:gd name="connsiteY5" fmla="*/ 0 h 6914"/>
                <a:gd name="connsiteX6" fmla="*/ 5842 w 10197"/>
                <a:gd name="connsiteY6" fmla="*/ 1807 h 6914"/>
                <a:gd name="connsiteX7" fmla="*/ 5681 w 10197"/>
                <a:gd name="connsiteY7" fmla="*/ 1807 h 6914"/>
                <a:gd name="connsiteX8" fmla="*/ 197 w 10197"/>
                <a:gd name="connsiteY8" fmla="*/ 6024 h 6914"/>
                <a:gd name="connsiteX0" fmla="*/ 89 w 12307"/>
                <a:gd name="connsiteY0" fmla="*/ 8581 h 9965"/>
                <a:gd name="connsiteX1" fmla="*/ 3924 w 12307"/>
                <a:gd name="connsiteY1" fmla="*/ 9758 h 9965"/>
                <a:gd name="connsiteX2" fmla="*/ 8036 w 12307"/>
                <a:gd name="connsiteY2" fmla="*/ 5402 h 9965"/>
                <a:gd name="connsiteX3" fmla="*/ 8036 w 12307"/>
                <a:gd name="connsiteY3" fmla="*/ 8191 h 9965"/>
                <a:gd name="connsiteX4" fmla="*/ 12307 w 12307"/>
                <a:gd name="connsiteY4" fmla="*/ 4008 h 9965"/>
                <a:gd name="connsiteX5" fmla="*/ 8036 w 12307"/>
                <a:gd name="connsiteY5" fmla="*/ 0 h 9965"/>
                <a:gd name="connsiteX6" fmla="*/ 8036 w 12307"/>
                <a:gd name="connsiteY6" fmla="*/ 2614 h 9965"/>
                <a:gd name="connsiteX7" fmla="*/ 7878 w 12307"/>
                <a:gd name="connsiteY7" fmla="*/ 2614 h 9965"/>
                <a:gd name="connsiteX8" fmla="*/ 89 w 12307"/>
                <a:gd name="connsiteY8" fmla="*/ 8581 h 9965"/>
                <a:gd name="connsiteX0" fmla="*/ 77 w 10005"/>
                <a:gd name="connsiteY0" fmla="*/ 8611 h 10000"/>
                <a:gd name="connsiteX1" fmla="*/ 3193 w 10005"/>
                <a:gd name="connsiteY1" fmla="*/ 9792 h 10000"/>
                <a:gd name="connsiteX2" fmla="*/ 6535 w 10005"/>
                <a:gd name="connsiteY2" fmla="*/ 5421 h 10000"/>
                <a:gd name="connsiteX3" fmla="*/ 6535 w 10005"/>
                <a:gd name="connsiteY3" fmla="*/ 8220 h 10000"/>
                <a:gd name="connsiteX4" fmla="*/ 10005 w 10005"/>
                <a:gd name="connsiteY4" fmla="*/ 4022 h 10000"/>
                <a:gd name="connsiteX5" fmla="*/ 6535 w 10005"/>
                <a:gd name="connsiteY5" fmla="*/ 0 h 10000"/>
                <a:gd name="connsiteX6" fmla="*/ 6535 w 10005"/>
                <a:gd name="connsiteY6" fmla="*/ 2623 h 10000"/>
                <a:gd name="connsiteX7" fmla="*/ 77 w 10005"/>
                <a:gd name="connsiteY7" fmla="*/ 8611 h 10000"/>
                <a:gd name="connsiteX0" fmla="*/ 0 w 9928"/>
                <a:gd name="connsiteY0" fmla="*/ 8611 h 8652"/>
                <a:gd name="connsiteX1" fmla="*/ 6458 w 9928"/>
                <a:gd name="connsiteY1" fmla="*/ 5421 h 8652"/>
                <a:gd name="connsiteX2" fmla="*/ 6458 w 9928"/>
                <a:gd name="connsiteY2" fmla="*/ 8220 h 8652"/>
                <a:gd name="connsiteX3" fmla="*/ 9928 w 9928"/>
                <a:gd name="connsiteY3" fmla="*/ 4022 h 8652"/>
                <a:gd name="connsiteX4" fmla="*/ 6458 w 9928"/>
                <a:gd name="connsiteY4" fmla="*/ 0 h 8652"/>
                <a:gd name="connsiteX5" fmla="*/ 6458 w 9928"/>
                <a:gd name="connsiteY5" fmla="*/ 2623 h 8652"/>
                <a:gd name="connsiteX6" fmla="*/ 0 w 9928"/>
                <a:gd name="connsiteY6" fmla="*/ 8611 h 8652"/>
                <a:gd name="connsiteX0" fmla="*/ 0 w 10025"/>
                <a:gd name="connsiteY0" fmla="*/ 9224 h 9501"/>
                <a:gd name="connsiteX1" fmla="*/ 6530 w 10025"/>
                <a:gd name="connsiteY1" fmla="*/ 6266 h 9501"/>
                <a:gd name="connsiteX2" fmla="*/ 6530 w 10025"/>
                <a:gd name="connsiteY2" fmla="*/ 9501 h 9501"/>
                <a:gd name="connsiteX3" fmla="*/ 10025 w 10025"/>
                <a:gd name="connsiteY3" fmla="*/ 4649 h 9501"/>
                <a:gd name="connsiteX4" fmla="*/ 6530 w 10025"/>
                <a:gd name="connsiteY4" fmla="*/ 0 h 9501"/>
                <a:gd name="connsiteX5" fmla="*/ 6530 w 10025"/>
                <a:gd name="connsiteY5" fmla="*/ 3032 h 9501"/>
                <a:gd name="connsiteX6" fmla="*/ 0 w 10025"/>
                <a:gd name="connsiteY6" fmla="*/ 9224 h 9501"/>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9951"/>
                <a:gd name="connsiteY0" fmla="*/ 10354 h 10354"/>
                <a:gd name="connsiteX1" fmla="*/ 6465 w 9951"/>
                <a:gd name="connsiteY1" fmla="*/ 6595 h 10354"/>
                <a:gd name="connsiteX2" fmla="*/ 6465 w 9951"/>
                <a:gd name="connsiteY2" fmla="*/ 10000 h 10354"/>
                <a:gd name="connsiteX3" fmla="*/ 9951 w 9951"/>
                <a:gd name="connsiteY3" fmla="*/ 4893 h 10354"/>
                <a:gd name="connsiteX4" fmla="*/ 6465 w 9951"/>
                <a:gd name="connsiteY4" fmla="*/ 0 h 10354"/>
                <a:gd name="connsiteX5" fmla="*/ 6465 w 9951"/>
                <a:gd name="connsiteY5" fmla="*/ 3191 h 10354"/>
                <a:gd name="connsiteX6" fmla="*/ 0 w 9951"/>
                <a:gd name="connsiteY6" fmla="*/ 10354 h 10354"/>
                <a:gd name="connsiteX0" fmla="*/ 0 w 10000"/>
                <a:gd name="connsiteY0" fmla="*/ 10000 h 10000"/>
                <a:gd name="connsiteX1" fmla="*/ 6497 w 10000"/>
                <a:gd name="connsiteY1" fmla="*/ 6370 h 10000"/>
                <a:gd name="connsiteX2" fmla="*/ 6497 w 10000"/>
                <a:gd name="connsiteY2" fmla="*/ 9658 h 10000"/>
                <a:gd name="connsiteX3" fmla="*/ 10000 w 10000"/>
                <a:gd name="connsiteY3" fmla="*/ 4726 h 10000"/>
                <a:gd name="connsiteX4" fmla="*/ 6497 w 10000"/>
                <a:gd name="connsiteY4" fmla="*/ 0 h 10000"/>
                <a:gd name="connsiteX5" fmla="*/ 6497 w 10000"/>
                <a:gd name="connsiteY5" fmla="*/ 3082 h 10000"/>
                <a:gd name="connsiteX6" fmla="*/ 0 w 10000"/>
                <a:gd name="connsiteY6" fmla="*/ 10000 h 10000"/>
                <a:gd name="connsiteX0" fmla="*/ 0 w 10074"/>
                <a:gd name="connsiteY0" fmla="*/ 12029 h 12029"/>
                <a:gd name="connsiteX1" fmla="*/ 6571 w 10074"/>
                <a:gd name="connsiteY1" fmla="*/ 6370 h 12029"/>
                <a:gd name="connsiteX2" fmla="*/ 6571 w 10074"/>
                <a:gd name="connsiteY2" fmla="*/ 9658 h 12029"/>
                <a:gd name="connsiteX3" fmla="*/ 10074 w 10074"/>
                <a:gd name="connsiteY3" fmla="*/ 4726 h 12029"/>
                <a:gd name="connsiteX4" fmla="*/ 6571 w 10074"/>
                <a:gd name="connsiteY4" fmla="*/ 0 h 12029"/>
                <a:gd name="connsiteX5" fmla="*/ 6571 w 10074"/>
                <a:gd name="connsiteY5" fmla="*/ 3082 h 12029"/>
                <a:gd name="connsiteX6" fmla="*/ 0 w 10074"/>
                <a:gd name="connsiteY6" fmla="*/ 12029 h 12029"/>
                <a:gd name="connsiteX0" fmla="*/ 0 w 10074"/>
                <a:gd name="connsiteY0" fmla="*/ 12029 h 12029"/>
                <a:gd name="connsiteX1" fmla="*/ 6571 w 10074"/>
                <a:gd name="connsiteY1" fmla="*/ 6370 h 12029"/>
                <a:gd name="connsiteX2" fmla="*/ 6571 w 10074"/>
                <a:gd name="connsiteY2" fmla="*/ 9658 h 12029"/>
                <a:gd name="connsiteX3" fmla="*/ 10074 w 10074"/>
                <a:gd name="connsiteY3" fmla="*/ 4726 h 12029"/>
                <a:gd name="connsiteX4" fmla="*/ 6571 w 10074"/>
                <a:gd name="connsiteY4" fmla="*/ 0 h 12029"/>
                <a:gd name="connsiteX5" fmla="*/ 6571 w 10074"/>
                <a:gd name="connsiteY5" fmla="*/ 3082 h 12029"/>
                <a:gd name="connsiteX6" fmla="*/ 0 w 10074"/>
                <a:gd name="connsiteY6" fmla="*/ 12029 h 12029"/>
                <a:gd name="connsiteX0" fmla="*/ 0 w 10074"/>
                <a:gd name="connsiteY0" fmla="*/ 12029 h 12029"/>
                <a:gd name="connsiteX1" fmla="*/ 6571 w 10074"/>
                <a:gd name="connsiteY1" fmla="*/ 6370 h 12029"/>
                <a:gd name="connsiteX2" fmla="*/ 6571 w 10074"/>
                <a:gd name="connsiteY2" fmla="*/ 9658 h 12029"/>
                <a:gd name="connsiteX3" fmla="*/ 10074 w 10074"/>
                <a:gd name="connsiteY3" fmla="*/ 4726 h 12029"/>
                <a:gd name="connsiteX4" fmla="*/ 6571 w 10074"/>
                <a:gd name="connsiteY4" fmla="*/ 0 h 12029"/>
                <a:gd name="connsiteX5" fmla="*/ 6571 w 10074"/>
                <a:gd name="connsiteY5" fmla="*/ 3082 h 12029"/>
                <a:gd name="connsiteX6" fmla="*/ 0 w 10074"/>
                <a:gd name="connsiteY6" fmla="*/ 12029 h 12029"/>
                <a:gd name="connsiteX0" fmla="*/ 0 w 10074"/>
                <a:gd name="connsiteY0" fmla="*/ 12029 h 12029"/>
                <a:gd name="connsiteX1" fmla="*/ 6571 w 10074"/>
                <a:gd name="connsiteY1" fmla="*/ 6370 h 12029"/>
                <a:gd name="connsiteX2" fmla="*/ 6571 w 10074"/>
                <a:gd name="connsiteY2" fmla="*/ 9658 h 12029"/>
                <a:gd name="connsiteX3" fmla="*/ 10074 w 10074"/>
                <a:gd name="connsiteY3" fmla="*/ 4726 h 12029"/>
                <a:gd name="connsiteX4" fmla="*/ 6571 w 10074"/>
                <a:gd name="connsiteY4" fmla="*/ 0 h 12029"/>
                <a:gd name="connsiteX5" fmla="*/ 6571 w 10074"/>
                <a:gd name="connsiteY5" fmla="*/ 3082 h 12029"/>
                <a:gd name="connsiteX6" fmla="*/ 0 w 10074"/>
                <a:gd name="connsiteY6" fmla="*/ 12029 h 12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74" h="12029">
                  <a:moveTo>
                    <a:pt x="0" y="12029"/>
                  </a:moveTo>
                  <a:cubicBezTo>
                    <a:pt x="1929" y="7777"/>
                    <a:pt x="5476" y="6765"/>
                    <a:pt x="6571" y="6370"/>
                  </a:cubicBezTo>
                  <a:lnTo>
                    <a:pt x="6571" y="9658"/>
                  </a:lnTo>
                  <a:lnTo>
                    <a:pt x="10074" y="4726"/>
                  </a:lnTo>
                  <a:lnTo>
                    <a:pt x="6571" y="0"/>
                  </a:lnTo>
                  <a:lnTo>
                    <a:pt x="6571" y="3082"/>
                  </a:lnTo>
                  <a:cubicBezTo>
                    <a:pt x="3841" y="3185"/>
                    <a:pt x="1048" y="5994"/>
                    <a:pt x="0" y="12029"/>
                  </a:cubicBezTo>
                  <a:close/>
                </a:path>
              </a:pathLst>
            </a:custGeom>
            <a:solidFill>
              <a:srgbClr val="50E6FF"/>
            </a:solidFill>
            <a:ln>
              <a:noFill/>
            </a:ln>
          </p:spPr>
          <p:txBody>
            <a:bodyPr vert="horz" wrap="square" lIns="68573" tIns="34287" rIns="68573" bIns="3428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85643">
                <a:defRPr/>
              </a:pPr>
              <a:endParaRPr lang="en-US" sz="1323" kern="0">
                <a:solidFill>
                  <a:srgbClr val="000000"/>
                </a:solidFill>
                <a:latin typeface="Segoe UI"/>
              </a:endParaRPr>
            </a:p>
          </p:txBody>
        </p:sp>
      </p:grpSp>
      <p:sp>
        <p:nvSpPr>
          <p:cNvPr id="13" name="TextBox 12">
            <a:extLst>
              <a:ext uri="{FF2B5EF4-FFF2-40B4-BE49-F238E27FC236}">
                <a16:creationId xmlns:a16="http://schemas.microsoft.com/office/drawing/2014/main" id="{30810C71-C65E-415A-9FE2-C0BB608D51C6}"/>
              </a:ext>
            </a:extLst>
          </p:cNvPr>
          <p:cNvSpPr txBox="1"/>
          <p:nvPr/>
        </p:nvSpPr>
        <p:spPr>
          <a:xfrm>
            <a:off x="533402" y="5896037"/>
            <a:ext cx="7029179" cy="711436"/>
          </a:xfrm>
          <a:prstGeom prst="rect">
            <a:avLst/>
          </a:prstGeom>
          <a:noFill/>
        </p:spPr>
        <p:txBody>
          <a:bodyPr wrap="none" lIns="182854" tIns="146284" rIns="182854" bIns="146284" rtlCol="0">
            <a:spAutoFit/>
          </a:bodyPr>
          <a:lstStyle/>
          <a:p>
            <a:pPr defTabSz="932597">
              <a:lnSpc>
                <a:spcPct val="90000"/>
              </a:lnSpc>
              <a:spcAft>
                <a:spcPts val="612"/>
              </a:spcAft>
              <a:defRPr/>
            </a:pPr>
            <a:r>
              <a:rPr lang="en-US" sz="1200">
                <a:gradFill>
                  <a:gsLst>
                    <a:gs pos="2917">
                      <a:srgbClr val="3C3C41"/>
                    </a:gs>
                    <a:gs pos="30000">
                      <a:srgbClr val="3C3C41"/>
                    </a:gs>
                  </a:gsLst>
                  <a:lin ang="5400000" scaled="0"/>
                </a:gradFill>
              </a:rPr>
              <a:t>For latest information reference: </a:t>
            </a:r>
            <a:r>
              <a:rPr lang="en-US" sz="1200">
                <a:gradFill>
                  <a:gsLst>
                    <a:gs pos="2917">
                      <a:srgbClr val="3C3C41"/>
                    </a:gs>
                    <a:gs pos="30000">
                      <a:srgbClr val="3C3C41"/>
                    </a:gs>
                  </a:gsLst>
                  <a:lin ang="5400000" scaled="0"/>
                </a:gradFill>
                <a:hlinkClick r:id="rId3"/>
              </a:rPr>
              <a:t>https://azure.microsoft.com/en-us/pricing/details/sql-database/</a:t>
            </a:r>
            <a:endParaRPr lang="en-US" sz="1200">
              <a:gradFill>
                <a:gsLst>
                  <a:gs pos="2917">
                    <a:srgbClr val="3C3C41"/>
                  </a:gs>
                  <a:gs pos="30000">
                    <a:srgbClr val="3C3C41"/>
                  </a:gs>
                </a:gsLst>
                <a:lin ang="5400000" scaled="0"/>
              </a:gradFill>
            </a:endParaRPr>
          </a:p>
          <a:p>
            <a:pPr defTabSz="932597">
              <a:lnSpc>
                <a:spcPct val="90000"/>
              </a:lnSpc>
              <a:spcAft>
                <a:spcPts val="612"/>
              </a:spcAft>
              <a:defRPr/>
            </a:pPr>
            <a:r>
              <a:rPr lang="en-US" sz="1200">
                <a:gradFill>
                  <a:gsLst>
                    <a:gs pos="2917">
                      <a:srgbClr val="3C3C41"/>
                    </a:gs>
                    <a:gs pos="30000">
                      <a:srgbClr val="3C3C41"/>
                    </a:gs>
                  </a:gsLst>
                  <a:lin ang="5400000" scaled="0"/>
                </a:gradFill>
              </a:rPr>
              <a:t>* Fsv2-series and M-series  are currently in preview.</a:t>
            </a:r>
          </a:p>
        </p:txBody>
      </p:sp>
    </p:spTree>
    <p:extLst>
      <p:ext uri="{BB962C8B-B14F-4D97-AF65-F5344CB8AC3E}">
        <p14:creationId xmlns:p14="http://schemas.microsoft.com/office/powerpoint/2010/main" val="11684602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     General Purpose </a:t>
            </a:r>
          </a:p>
        </p:txBody>
      </p:sp>
      <p:sp>
        <p:nvSpPr>
          <p:cNvPr id="6" name="Freeform 182">
            <a:extLst>
              <a:ext uri="{FF2B5EF4-FFF2-40B4-BE49-F238E27FC236}">
                <a16:creationId xmlns:a16="http://schemas.microsoft.com/office/drawing/2014/main" id="{EEC73979-BE93-494E-9AB9-B394B6C6273C}"/>
              </a:ext>
            </a:extLst>
          </p:cNvPr>
          <p:cNvSpPr/>
          <p:nvPr/>
        </p:nvSpPr>
        <p:spPr bwMode="auto">
          <a:xfrm>
            <a:off x="655637" y="363496"/>
            <a:ext cx="361669" cy="37475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137141" tIns="109712" rIns="137141" bIns="109712"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99220" fontAlgn="base">
              <a:lnSpc>
                <a:spcPct val="90000"/>
              </a:lnSpc>
              <a:spcBef>
                <a:spcPct val="0"/>
              </a:spcBef>
              <a:spcAft>
                <a:spcPct val="0"/>
              </a:spcAft>
              <a:defRPr/>
            </a:pPr>
            <a:endParaRPr lang="en-US" sz="18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6D1B8ADA-5958-474C-B325-659FA8A302EA}"/>
              </a:ext>
            </a:extLst>
          </p:cNvPr>
          <p:cNvSpPr txBox="1"/>
          <p:nvPr/>
        </p:nvSpPr>
        <p:spPr>
          <a:xfrm>
            <a:off x="10429798" y="3794762"/>
            <a:ext cx="1081164" cy="480103"/>
          </a:xfrm>
          <a:prstGeom prst="rect">
            <a:avLst/>
          </a:prstGeom>
          <a:noFill/>
        </p:spPr>
        <p:txBody>
          <a:bodyPr wrap="square" lIns="91414" tIns="45706" rIns="91414" bIns="45706" rtlCol="0">
            <a:spAutoFit/>
          </a:bodyPr>
          <a:lstStyle/>
          <a:p>
            <a:pPr defTabSz="914192">
              <a:lnSpc>
                <a:spcPct val="90000"/>
              </a:lnSpc>
              <a:spcAft>
                <a:spcPts val="600"/>
              </a:spcAft>
              <a:defRPr/>
            </a:pPr>
            <a:r>
              <a:rPr lang="en-US" sz="1400">
                <a:gradFill>
                  <a:gsLst>
                    <a:gs pos="2917">
                      <a:prstClr val="black"/>
                    </a:gs>
                    <a:gs pos="30000">
                      <a:prstClr val="black"/>
                    </a:gs>
                  </a:gsLst>
                  <a:lin ang="5400000" scaled="0"/>
                </a:gradFill>
                <a:latin typeface="Segoe UI Semibold" panose="020B0702040204020203" pitchFamily="34" charset="0"/>
                <a:cs typeface="Segoe UI Semibold" panose="020B0702040204020203" pitchFamily="34" charset="0"/>
              </a:rPr>
              <a:t>Redundant nodes</a:t>
            </a:r>
          </a:p>
        </p:txBody>
      </p:sp>
      <p:sp>
        <p:nvSpPr>
          <p:cNvPr id="10" name="TextBox 9">
            <a:extLst>
              <a:ext uri="{FF2B5EF4-FFF2-40B4-BE49-F238E27FC236}">
                <a16:creationId xmlns:a16="http://schemas.microsoft.com/office/drawing/2014/main" id="{BD88A543-EF86-45E0-A19F-7D3E0BDC4C23}"/>
              </a:ext>
            </a:extLst>
          </p:cNvPr>
          <p:cNvSpPr txBox="1"/>
          <p:nvPr/>
        </p:nvSpPr>
        <p:spPr>
          <a:xfrm>
            <a:off x="9304704" y="5693364"/>
            <a:ext cx="1814658" cy="480103"/>
          </a:xfrm>
          <a:prstGeom prst="rect">
            <a:avLst/>
          </a:prstGeom>
          <a:noFill/>
        </p:spPr>
        <p:txBody>
          <a:bodyPr wrap="square" lIns="91414" tIns="45706" rIns="91414" bIns="45706" rtlCol="0">
            <a:spAutoFit/>
          </a:bodyPr>
          <a:lstStyle/>
          <a:p>
            <a:pPr defTabSz="914192">
              <a:lnSpc>
                <a:spcPct val="90000"/>
              </a:lnSpc>
              <a:spcAft>
                <a:spcPts val="600"/>
              </a:spcAft>
              <a:defRPr/>
            </a:pPr>
            <a:r>
              <a:rPr lang="en-US" sz="1400">
                <a:gradFill>
                  <a:gsLst>
                    <a:gs pos="2917">
                      <a:prstClr val="black"/>
                    </a:gs>
                    <a:gs pos="30000">
                      <a:prstClr val="black"/>
                    </a:gs>
                  </a:gsLst>
                  <a:lin ang="5400000" scaled="0"/>
                </a:gradFill>
                <a:latin typeface="Segoe UI Semibold" panose="020B0702040204020203" pitchFamily="34" charset="0"/>
                <a:cs typeface="Segoe UI Semibold" panose="020B0702040204020203" pitchFamily="34" charset="0"/>
              </a:rPr>
              <a:t>Active compute nodes</a:t>
            </a:r>
          </a:p>
        </p:txBody>
      </p:sp>
      <p:sp>
        <p:nvSpPr>
          <p:cNvPr id="11" name="TextBox 10">
            <a:extLst>
              <a:ext uri="{FF2B5EF4-FFF2-40B4-BE49-F238E27FC236}">
                <a16:creationId xmlns:a16="http://schemas.microsoft.com/office/drawing/2014/main" id="{B10B7D3A-2376-4B70-9511-B5D9CD7E88C0}"/>
              </a:ext>
            </a:extLst>
          </p:cNvPr>
          <p:cNvSpPr txBox="1"/>
          <p:nvPr/>
        </p:nvSpPr>
        <p:spPr>
          <a:xfrm>
            <a:off x="6913874" y="5693362"/>
            <a:ext cx="1891543" cy="480103"/>
          </a:xfrm>
          <a:prstGeom prst="rect">
            <a:avLst/>
          </a:prstGeom>
          <a:noFill/>
        </p:spPr>
        <p:txBody>
          <a:bodyPr wrap="square" lIns="91414" tIns="45706" rIns="91414" bIns="45706" rtlCol="0">
            <a:spAutoFit/>
          </a:bodyPr>
          <a:lstStyle/>
          <a:p>
            <a:pPr defTabSz="914192">
              <a:lnSpc>
                <a:spcPct val="90000"/>
              </a:lnSpc>
              <a:spcAft>
                <a:spcPts val="600"/>
              </a:spcAft>
              <a:defRPr/>
            </a:pPr>
            <a:r>
              <a:rPr lang="en-US" sz="1400">
                <a:gradFill>
                  <a:gsLst>
                    <a:gs pos="2917">
                      <a:prstClr val="black"/>
                    </a:gs>
                    <a:gs pos="30000">
                      <a:prstClr val="black"/>
                    </a:gs>
                  </a:gsLst>
                  <a:lin ang="5400000" scaled="0"/>
                </a:gradFill>
                <a:latin typeface="Segoe UI Semibold" panose="020B0702040204020203" pitchFamily="34" charset="0"/>
                <a:cs typeface="Segoe UI Semibold" panose="020B0702040204020203" pitchFamily="34" charset="0"/>
              </a:rPr>
              <a:t>Azure storage accounts</a:t>
            </a:r>
          </a:p>
        </p:txBody>
      </p:sp>
      <p:sp>
        <p:nvSpPr>
          <p:cNvPr id="12" name="Rectangle 11">
            <a:extLst>
              <a:ext uri="{FF2B5EF4-FFF2-40B4-BE49-F238E27FC236}">
                <a16:creationId xmlns:a16="http://schemas.microsoft.com/office/drawing/2014/main" id="{1149C700-2C28-4910-A655-478444CE8E38}"/>
              </a:ext>
            </a:extLst>
          </p:cNvPr>
          <p:cNvSpPr/>
          <p:nvPr/>
        </p:nvSpPr>
        <p:spPr bwMode="auto">
          <a:xfrm>
            <a:off x="6679478" y="1578451"/>
            <a:ext cx="4800600" cy="4627564"/>
          </a:xfrm>
          <a:prstGeom prst="rect">
            <a:avLst/>
          </a:prstGeom>
          <a:noFill/>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a:endParaRPr>
          </a:p>
        </p:txBody>
      </p:sp>
      <p:cxnSp>
        <p:nvCxnSpPr>
          <p:cNvPr id="13" name="Straight Arrow Connector 12">
            <a:extLst>
              <a:ext uri="{FF2B5EF4-FFF2-40B4-BE49-F238E27FC236}">
                <a16:creationId xmlns:a16="http://schemas.microsoft.com/office/drawing/2014/main" id="{970E9C0A-C918-41C1-BD26-C69D0BA2539B}"/>
              </a:ext>
            </a:extLst>
          </p:cNvPr>
          <p:cNvCxnSpPr/>
          <p:nvPr/>
        </p:nvCxnSpPr>
        <p:spPr>
          <a:xfrm flipH="1">
            <a:off x="9004389" y="5198116"/>
            <a:ext cx="124516"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2A0A2F44-E5F0-49F8-887E-E0414D5FB015}"/>
              </a:ext>
            </a:extLst>
          </p:cNvPr>
          <p:cNvGrpSpPr/>
          <p:nvPr/>
        </p:nvGrpSpPr>
        <p:grpSpPr>
          <a:xfrm>
            <a:off x="7124431" y="4904672"/>
            <a:ext cx="642733" cy="607964"/>
            <a:chOff x="2424279" y="1320237"/>
            <a:chExt cx="4696411" cy="4187931"/>
          </a:xfrm>
        </p:grpSpPr>
        <p:sp>
          <p:nvSpPr>
            <p:cNvPr id="15" name="Hexagon 14">
              <a:extLst>
                <a:ext uri="{FF2B5EF4-FFF2-40B4-BE49-F238E27FC236}">
                  <a16:creationId xmlns:a16="http://schemas.microsoft.com/office/drawing/2014/main" id="{7D5D73BF-9890-4D8E-95F6-16062FF25AE4}"/>
                </a:ext>
              </a:extLst>
            </p:cNvPr>
            <p:cNvSpPr/>
            <p:nvPr/>
          </p:nvSpPr>
          <p:spPr bwMode="auto">
            <a:xfrm>
              <a:off x="2424279"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0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Snip Single Corner Rectangle 26">
              <a:extLst>
                <a:ext uri="{FF2B5EF4-FFF2-40B4-BE49-F238E27FC236}">
                  <a16:creationId xmlns:a16="http://schemas.microsoft.com/office/drawing/2014/main" id="{584FF0A4-2EF1-4B76-8389-D6D7C5C40AE6}"/>
                </a:ext>
              </a:extLst>
            </p:cNvPr>
            <p:cNvSpPr/>
            <p:nvPr/>
          </p:nvSpPr>
          <p:spPr bwMode="auto">
            <a:xfrm>
              <a:off x="3677769" y="2145066"/>
              <a:ext cx="2316908" cy="244923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14" rIns="0" bIns="91414" numCol="1" spcCol="0" rtlCol="0" fromWordArt="0" anchor="ctr" anchorCtr="1" forceAA="0" compatLnSpc="1">
              <a:prstTxWarp prst="textNoShape">
                <a:avLst/>
              </a:prstTxWarp>
              <a:noAutofit/>
            </a:bodyPr>
            <a:lstStyle/>
            <a:p>
              <a:pPr algn="ctr" defTabSz="932114" fontAlgn="base">
                <a:lnSpc>
                  <a:spcPct val="90000"/>
                </a:lnSpc>
                <a:spcBef>
                  <a:spcPct val="0"/>
                </a:spcBef>
                <a:spcAft>
                  <a:spcPct val="0"/>
                </a:spcAft>
                <a:defRPr/>
              </a:pPr>
              <a:endParaRPr lang="en-US" sz="600">
                <a:solidFill>
                  <a:srgbClr val="505050"/>
                </a:solidFill>
                <a:latin typeface="Segoe UI Semilight"/>
                <a:ea typeface="Segoe UI" pitchFamily="34" charset="0"/>
                <a:cs typeface="Segoe UI" pitchFamily="34" charset="0"/>
              </a:endParaRPr>
            </a:p>
          </p:txBody>
        </p:sp>
        <p:grpSp>
          <p:nvGrpSpPr>
            <p:cNvPr id="17" name="Group 16">
              <a:extLst>
                <a:ext uri="{FF2B5EF4-FFF2-40B4-BE49-F238E27FC236}">
                  <a16:creationId xmlns:a16="http://schemas.microsoft.com/office/drawing/2014/main" id="{62D730E4-91C3-477F-91C8-6FB928E3ECF6}"/>
                </a:ext>
              </a:extLst>
            </p:cNvPr>
            <p:cNvGrpSpPr/>
            <p:nvPr/>
          </p:nvGrpSpPr>
          <p:grpSpPr>
            <a:xfrm>
              <a:off x="4271147" y="2716509"/>
              <a:ext cx="790232" cy="1472559"/>
              <a:chOff x="4917030" y="1019829"/>
              <a:chExt cx="123056" cy="229308"/>
            </a:xfrm>
          </p:grpSpPr>
          <p:sp>
            <p:nvSpPr>
              <p:cNvPr id="19" name="Freeform: Shape 18">
                <a:extLst>
                  <a:ext uri="{FF2B5EF4-FFF2-40B4-BE49-F238E27FC236}">
                    <a16:creationId xmlns:a16="http://schemas.microsoft.com/office/drawing/2014/main" id="{F457D6D8-3E2E-413D-91C0-A2777B331BF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Freeform: Shape 19">
                <a:extLst>
                  <a:ext uri="{FF2B5EF4-FFF2-40B4-BE49-F238E27FC236}">
                    <a16:creationId xmlns:a16="http://schemas.microsoft.com/office/drawing/2014/main" id="{9480807C-3F7E-41CF-ABD9-43CF15C9CE37}"/>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BB1CF40-9C7B-4E22-9133-9E0575CDB41A}"/>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Freeform: Shape 21">
                <a:extLst>
                  <a:ext uri="{FF2B5EF4-FFF2-40B4-BE49-F238E27FC236}">
                    <a16:creationId xmlns:a16="http://schemas.microsoft.com/office/drawing/2014/main" id="{4429ABE6-DBC0-4DAF-AFC7-9274869CDD75}"/>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8" name="Right Triangle 17">
              <a:extLst>
                <a:ext uri="{FF2B5EF4-FFF2-40B4-BE49-F238E27FC236}">
                  <a16:creationId xmlns:a16="http://schemas.microsoft.com/office/drawing/2014/main" id="{8C110440-15A6-49E5-B2CB-341F97286325}"/>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050">
                <a:gradFill>
                  <a:gsLst>
                    <a:gs pos="0">
                      <a:srgbClr val="FFFFFF"/>
                    </a:gs>
                    <a:gs pos="100000">
                      <a:srgbClr val="FFFFFF"/>
                    </a:gs>
                  </a:gsLst>
                  <a:lin ang="5400000" scaled="0"/>
                </a:gradFill>
                <a:latin typeface="Segoe UI Semilight"/>
                <a:cs typeface="Segoe UI" pitchFamily="34" charset="0"/>
              </a:endParaRPr>
            </a:p>
          </p:txBody>
        </p:sp>
      </p:grpSp>
      <p:grpSp>
        <p:nvGrpSpPr>
          <p:cNvPr id="23" name="Group 22">
            <a:extLst>
              <a:ext uri="{FF2B5EF4-FFF2-40B4-BE49-F238E27FC236}">
                <a16:creationId xmlns:a16="http://schemas.microsoft.com/office/drawing/2014/main" id="{B09404A2-B9CA-4578-9553-E1D14A31078D}"/>
              </a:ext>
            </a:extLst>
          </p:cNvPr>
          <p:cNvGrpSpPr/>
          <p:nvPr/>
        </p:nvGrpSpPr>
        <p:grpSpPr>
          <a:xfrm>
            <a:off x="7112714" y="3955376"/>
            <a:ext cx="1795359" cy="607963"/>
            <a:chOff x="6971090" y="3651702"/>
            <a:chExt cx="2056914" cy="626758"/>
          </a:xfrm>
        </p:grpSpPr>
        <p:cxnSp>
          <p:nvCxnSpPr>
            <p:cNvPr id="24" name="Straight Arrow Connector 23">
              <a:extLst>
                <a:ext uri="{FF2B5EF4-FFF2-40B4-BE49-F238E27FC236}">
                  <a16:creationId xmlns:a16="http://schemas.microsoft.com/office/drawing/2014/main" id="{BAE5136A-FB00-4A2C-AD11-8FBD11C0A333}"/>
                </a:ext>
              </a:extLst>
            </p:cNvPr>
            <p:cNvCxnSpPr/>
            <p:nvPr/>
          </p:nvCxnSpPr>
          <p:spPr>
            <a:xfrm flipH="1">
              <a:off x="7868228" y="3945627"/>
              <a:ext cx="1159776"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3B71799D-5764-4E8A-81D0-73AF804EB3DC}"/>
                </a:ext>
              </a:extLst>
            </p:cNvPr>
            <p:cNvGrpSpPr/>
            <p:nvPr/>
          </p:nvGrpSpPr>
          <p:grpSpPr>
            <a:xfrm>
              <a:off x="6971090" y="3651702"/>
              <a:ext cx="736368" cy="626758"/>
              <a:chOff x="2424279" y="1320237"/>
              <a:chExt cx="4696411" cy="4187931"/>
            </a:xfrm>
          </p:grpSpPr>
          <p:sp>
            <p:nvSpPr>
              <p:cNvPr id="26" name="Hexagon 25">
                <a:extLst>
                  <a:ext uri="{FF2B5EF4-FFF2-40B4-BE49-F238E27FC236}">
                    <a16:creationId xmlns:a16="http://schemas.microsoft.com/office/drawing/2014/main" id="{1B0F2946-ABCF-45C4-A3D6-C8BB9F8623BD}"/>
                  </a:ext>
                </a:extLst>
              </p:cNvPr>
              <p:cNvSpPr/>
              <p:nvPr/>
            </p:nvSpPr>
            <p:spPr bwMode="auto">
              <a:xfrm>
                <a:off x="2424279"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0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Snip Single Corner Rectangle 26">
                <a:extLst>
                  <a:ext uri="{FF2B5EF4-FFF2-40B4-BE49-F238E27FC236}">
                    <a16:creationId xmlns:a16="http://schemas.microsoft.com/office/drawing/2014/main" id="{9A96EB8F-2C21-4F10-B8AE-60A476AE6FD7}"/>
                  </a:ext>
                </a:extLst>
              </p:cNvPr>
              <p:cNvSpPr/>
              <p:nvPr/>
            </p:nvSpPr>
            <p:spPr bwMode="auto">
              <a:xfrm>
                <a:off x="3677769" y="2145066"/>
                <a:ext cx="2316908" cy="244923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14" rIns="0" bIns="91414" numCol="1" spcCol="0" rtlCol="0" fromWordArt="0" anchor="ctr" anchorCtr="1" forceAA="0" compatLnSpc="1">
                <a:prstTxWarp prst="textNoShape">
                  <a:avLst/>
                </a:prstTxWarp>
                <a:noAutofit/>
              </a:bodyPr>
              <a:lstStyle/>
              <a:p>
                <a:pPr algn="ctr" defTabSz="932114" fontAlgn="base">
                  <a:lnSpc>
                    <a:spcPct val="90000"/>
                  </a:lnSpc>
                  <a:spcBef>
                    <a:spcPct val="0"/>
                  </a:spcBef>
                  <a:spcAft>
                    <a:spcPct val="0"/>
                  </a:spcAft>
                  <a:defRPr/>
                </a:pPr>
                <a:endParaRPr lang="en-US" sz="600">
                  <a:solidFill>
                    <a:srgbClr val="505050"/>
                  </a:solidFill>
                  <a:latin typeface="Segoe UI Semilight"/>
                  <a:ea typeface="Segoe UI" pitchFamily="34" charset="0"/>
                  <a:cs typeface="Segoe UI" pitchFamily="34" charset="0"/>
                </a:endParaRPr>
              </a:p>
            </p:txBody>
          </p:sp>
          <p:grpSp>
            <p:nvGrpSpPr>
              <p:cNvPr id="28" name="Group 27">
                <a:extLst>
                  <a:ext uri="{FF2B5EF4-FFF2-40B4-BE49-F238E27FC236}">
                    <a16:creationId xmlns:a16="http://schemas.microsoft.com/office/drawing/2014/main" id="{069BC6EF-8B60-4EF1-89CD-21AFD9EF4B7A}"/>
                  </a:ext>
                </a:extLst>
              </p:cNvPr>
              <p:cNvGrpSpPr/>
              <p:nvPr/>
            </p:nvGrpSpPr>
            <p:grpSpPr>
              <a:xfrm>
                <a:off x="4271147" y="2716509"/>
                <a:ext cx="790232" cy="1472559"/>
                <a:chOff x="4917030" y="1019829"/>
                <a:chExt cx="123056" cy="229308"/>
              </a:xfrm>
            </p:grpSpPr>
            <p:sp>
              <p:nvSpPr>
                <p:cNvPr id="30" name="Freeform: Shape 29">
                  <a:extLst>
                    <a:ext uri="{FF2B5EF4-FFF2-40B4-BE49-F238E27FC236}">
                      <a16:creationId xmlns:a16="http://schemas.microsoft.com/office/drawing/2014/main" id="{A2396C65-9024-4AEA-B920-1568B5297FCB}"/>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9E0BF529-070B-4DCF-974A-8705281B2242}"/>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D4E38AF3-5A59-4001-B7DD-D6E7EC3FC80D}"/>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5CDD0B8F-FFA3-4ABB-91E1-9608D5043DA3}"/>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29" name="Right Triangle 28">
                <a:extLst>
                  <a:ext uri="{FF2B5EF4-FFF2-40B4-BE49-F238E27FC236}">
                    <a16:creationId xmlns:a16="http://schemas.microsoft.com/office/drawing/2014/main" id="{454D05B0-0CB0-4057-A4F8-B8FE611BC89B}"/>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050">
                  <a:gradFill>
                    <a:gsLst>
                      <a:gs pos="0">
                        <a:srgbClr val="FFFFFF"/>
                      </a:gs>
                      <a:gs pos="100000">
                        <a:srgbClr val="FFFFFF"/>
                      </a:gs>
                    </a:gsLst>
                    <a:lin ang="5400000" scaled="0"/>
                  </a:gradFill>
                  <a:latin typeface="Segoe UI Semilight"/>
                  <a:cs typeface="Segoe UI" pitchFamily="34" charset="0"/>
                </a:endParaRPr>
              </a:p>
            </p:txBody>
          </p:sp>
        </p:grpSp>
      </p:grpSp>
      <p:grpSp>
        <p:nvGrpSpPr>
          <p:cNvPr id="34" name="Group 33">
            <a:extLst>
              <a:ext uri="{FF2B5EF4-FFF2-40B4-BE49-F238E27FC236}">
                <a16:creationId xmlns:a16="http://schemas.microsoft.com/office/drawing/2014/main" id="{CF63F245-BE1D-475E-B79B-6BAFEEAADAAB}"/>
              </a:ext>
            </a:extLst>
          </p:cNvPr>
          <p:cNvGrpSpPr/>
          <p:nvPr/>
        </p:nvGrpSpPr>
        <p:grpSpPr>
          <a:xfrm>
            <a:off x="7136154" y="2021634"/>
            <a:ext cx="1774485" cy="607963"/>
            <a:chOff x="6995004" y="1678904"/>
            <a:chExt cx="2032998" cy="626758"/>
          </a:xfrm>
        </p:grpSpPr>
        <p:cxnSp>
          <p:nvCxnSpPr>
            <p:cNvPr id="35" name="Straight Arrow Connector 34">
              <a:extLst>
                <a:ext uri="{FF2B5EF4-FFF2-40B4-BE49-F238E27FC236}">
                  <a16:creationId xmlns:a16="http://schemas.microsoft.com/office/drawing/2014/main" id="{48AE38F6-EAEF-4049-B3B3-E502085B20D7}"/>
                </a:ext>
              </a:extLst>
            </p:cNvPr>
            <p:cNvCxnSpPr/>
            <p:nvPr/>
          </p:nvCxnSpPr>
          <p:spPr>
            <a:xfrm flipH="1">
              <a:off x="7868227" y="1984771"/>
              <a:ext cx="1159775"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785038FC-0930-4BE1-98D8-8983FED96699}"/>
                </a:ext>
              </a:extLst>
            </p:cNvPr>
            <p:cNvGrpSpPr/>
            <p:nvPr/>
          </p:nvGrpSpPr>
          <p:grpSpPr>
            <a:xfrm>
              <a:off x="6995004" y="1678904"/>
              <a:ext cx="736368" cy="626758"/>
              <a:chOff x="2424279" y="1320237"/>
              <a:chExt cx="4696411" cy="4187931"/>
            </a:xfrm>
          </p:grpSpPr>
          <p:sp>
            <p:nvSpPr>
              <p:cNvPr id="37" name="Snip Single Corner Rectangle 26">
                <a:extLst>
                  <a:ext uri="{FF2B5EF4-FFF2-40B4-BE49-F238E27FC236}">
                    <a16:creationId xmlns:a16="http://schemas.microsoft.com/office/drawing/2014/main" id="{23C0432C-70DE-4746-BBC3-5567802DEE64}"/>
                  </a:ext>
                </a:extLst>
              </p:cNvPr>
              <p:cNvSpPr/>
              <p:nvPr/>
            </p:nvSpPr>
            <p:spPr bwMode="auto">
              <a:xfrm>
                <a:off x="3677769" y="2145066"/>
                <a:ext cx="2316908" cy="244923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14" rIns="0" bIns="91414" numCol="1" spcCol="0" rtlCol="0" fromWordArt="0" anchor="ctr" anchorCtr="1" forceAA="0" compatLnSpc="1">
                <a:prstTxWarp prst="textNoShape">
                  <a:avLst/>
                </a:prstTxWarp>
                <a:noAutofit/>
              </a:bodyPr>
              <a:lstStyle/>
              <a:p>
                <a:pPr algn="ctr" defTabSz="932114" fontAlgn="base">
                  <a:lnSpc>
                    <a:spcPct val="90000"/>
                  </a:lnSpc>
                  <a:spcBef>
                    <a:spcPct val="0"/>
                  </a:spcBef>
                  <a:spcAft>
                    <a:spcPct val="0"/>
                  </a:spcAft>
                  <a:defRPr/>
                </a:pPr>
                <a:endParaRPr lang="en-US" sz="600">
                  <a:solidFill>
                    <a:srgbClr val="505050"/>
                  </a:solidFill>
                  <a:latin typeface="Segoe UI Semilight"/>
                  <a:ea typeface="Segoe UI" pitchFamily="34" charset="0"/>
                  <a:cs typeface="Segoe UI" pitchFamily="34" charset="0"/>
                </a:endParaRPr>
              </a:p>
            </p:txBody>
          </p:sp>
          <p:grpSp>
            <p:nvGrpSpPr>
              <p:cNvPr id="38" name="Group 37">
                <a:extLst>
                  <a:ext uri="{FF2B5EF4-FFF2-40B4-BE49-F238E27FC236}">
                    <a16:creationId xmlns:a16="http://schemas.microsoft.com/office/drawing/2014/main" id="{E05E2207-0E6C-4F47-AED0-FE0D5FF27DDF}"/>
                  </a:ext>
                </a:extLst>
              </p:cNvPr>
              <p:cNvGrpSpPr/>
              <p:nvPr/>
            </p:nvGrpSpPr>
            <p:grpSpPr>
              <a:xfrm>
                <a:off x="4271147" y="2716509"/>
                <a:ext cx="790232" cy="1472559"/>
                <a:chOff x="4917030" y="1019829"/>
                <a:chExt cx="123056" cy="229308"/>
              </a:xfrm>
            </p:grpSpPr>
            <p:sp>
              <p:nvSpPr>
                <p:cNvPr id="41" name="Freeform: Shape 40">
                  <a:extLst>
                    <a:ext uri="{FF2B5EF4-FFF2-40B4-BE49-F238E27FC236}">
                      <a16:creationId xmlns:a16="http://schemas.microsoft.com/office/drawing/2014/main" id="{AA3F5A7D-9C27-4C6C-8BDD-71E2E4677487}"/>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Freeform: Shape 41">
                  <a:extLst>
                    <a:ext uri="{FF2B5EF4-FFF2-40B4-BE49-F238E27FC236}">
                      <a16:creationId xmlns:a16="http://schemas.microsoft.com/office/drawing/2014/main" id="{DFCFC065-D8CB-4124-B28D-1651BE036551}"/>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97E4378B-D508-4D40-BD1F-C43B69E44A4D}"/>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Freeform: Shape 43">
                  <a:extLst>
                    <a:ext uri="{FF2B5EF4-FFF2-40B4-BE49-F238E27FC236}">
                      <a16:creationId xmlns:a16="http://schemas.microsoft.com/office/drawing/2014/main" id="{F1DBAB17-6240-47EB-8289-0C90299B55B7}"/>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9" name="Right Triangle 38">
                <a:extLst>
                  <a:ext uri="{FF2B5EF4-FFF2-40B4-BE49-F238E27FC236}">
                    <a16:creationId xmlns:a16="http://schemas.microsoft.com/office/drawing/2014/main" id="{04B79178-12EC-41B3-99C4-0249CECB6313}"/>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050">
                  <a:gradFill>
                    <a:gsLst>
                      <a:gs pos="0">
                        <a:srgbClr val="FFFFFF"/>
                      </a:gs>
                      <a:gs pos="100000">
                        <a:srgbClr val="FFFFFF"/>
                      </a:gs>
                    </a:gsLst>
                    <a:lin ang="5400000" scaled="0"/>
                  </a:gradFill>
                  <a:latin typeface="Segoe UI Semilight"/>
                  <a:cs typeface="Segoe UI" pitchFamily="34" charset="0"/>
                </a:endParaRPr>
              </a:p>
            </p:txBody>
          </p:sp>
          <p:sp>
            <p:nvSpPr>
              <p:cNvPr id="40" name="Hexagon 39">
                <a:extLst>
                  <a:ext uri="{FF2B5EF4-FFF2-40B4-BE49-F238E27FC236}">
                    <a16:creationId xmlns:a16="http://schemas.microsoft.com/office/drawing/2014/main" id="{6D46F070-D048-4A2A-9E9E-AD3CA60F867F}"/>
                  </a:ext>
                </a:extLst>
              </p:cNvPr>
              <p:cNvSpPr/>
              <p:nvPr/>
            </p:nvSpPr>
            <p:spPr bwMode="auto">
              <a:xfrm>
                <a:off x="2424279"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0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45" name="Group 44">
            <a:extLst>
              <a:ext uri="{FF2B5EF4-FFF2-40B4-BE49-F238E27FC236}">
                <a16:creationId xmlns:a16="http://schemas.microsoft.com/office/drawing/2014/main" id="{E279C33B-EE75-4B5B-99C1-39B6C1451AEC}"/>
              </a:ext>
            </a:extLst>
          </p:cNvPr>
          <p:cNvGrpSpPr/>
          <p:nvPr/>
        </p:nvGrpSpPr>
        <p:grpSpPr>
          <a:xfrm>
            <a:off x="7124433" y="2982646"/>
            <a:ext cx="1784921" cy="607963"/>
            <a:chOff x="6983046" y="2659326"/>
            <a:chExt cx="2044956" cy="626758"/>
          </a:xfrm>
        </p:grpSpPr>
        <p:cxnSp>
          <p:nvCxnSpPr>
            <p:cNvPr id="46" name="Straight Arrow Connector 45">
              <a:extLst>
                <a:ext uri="{FF2B5EF4-FFF2-40B4-BE49-F238E27FC236}">
                  <a16:creationId xmlns:a16="http://schemas.microsoft.com/office/drawing/2014/main" id="{18894B28-6A24-44E3-8404-746280F95B03}"/>
                </a:ext>
              </a:extLst>
            </p:cNvPr>
            <p:cNvCxnSpPr/>
            <p:nvPr/>
          </p:nvCxnSpPr>
          <p:spPr>
            <a:xfrm flipH="1">
              <a:off x="7868227" y="2965201"/>
              <a:ext cx="1159775"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AF30F162-D4EE-43AF-9074-3301A0CF12FB}"/>
                </a:ext>
              </a:extLst>
            </p:cNvPr>
            <p:cNvGrpSpPr/>
            <p:nvPr/>
          </p:nvGrpSpPr>
          <p:grpSpPr>
            <a:xfrm>
              <a:off x="6983046" y="2659326"/>
              <a:ext cx="736368" cy="626758"/>
              <a:chOff x="2424279" y="1320237"/>
              <a:chExt cx="4696411" cy="4187931"/>
            </a:xfrm>
          </p:grpSpPr>
          <p:sp>
            <p:nvSpPr>
              <p:cNvPr id="48" name="Hexagon 47">
                <a:extLst>
                  <a:ext uri="{FF2B5EF4-FFF2-40B4-BE49-F238E27FC236}">
                    <a16:creationId xmlns:a16="http://schemas.microsoft.com/office/drawing/2014/main" id="{1F77A27A-C6C6-40B7-8B98-C524503F8DCB}"/>
                  </a:ext>
                </a:extLst>
              </p:cNvPr>
              <p:cNvSpPr/>
              <p:nvPr/>
            </p:nvSpPr>
            <p:spPr bwMode="auto">
              <a:xfrm>
                <a:off x="2424279"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0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Snip Single Corner Rectangle 26">
                <a:extLst>
                  <a:ext uri="{FF2B5EF4-FFF2-40B4-BE49-F238E27FC236}">
                    <a16:creationId xmlns:a16="http://schemas.microsoft.com/office/drawing/2014/main" id="{1C9B9F4B-0D5C-429B-96F6-B12DFC3948C4}"/>
                  </a:ext>
                </a:extLst>
              </p:cNvPr>
              <p:cNvSpPr/>
              <p:nvPr/>
            </p:nvSpPr>
            <p:spPr bwMode="auto">
              <a:xfrm>
                <a:off x="3677769" y="2145066"/>
                <a:ext cx="2316908" cy="244923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14" rIns="0" bIns="91414" numCol="1" spcCol="0" rtlCol="0" fromWordArt="0" anchor="ctr" anchorCtr="1" forceAA="0" compatLnSpc="1">
                <a:prstTxWarp prst="textNoShape">
                  <a:avLst/>
                </a:prstTxWarp>
                <a:noAutofit/>
              </a:bodyPr>
              <a:lstStyle/>
              <a:p>
                <a:pPr algn="ctr" defTabSz="932114" fontAlgn="base">
                  <a:lnSpc>
                    <a:spcPct val="90000"/>
                  </a:lnSpc>
                  <a:spcBef>
                    <a:spcPct val="0"/>
                  </a:spcBef>
                  <a:spcAft>
                    <a:spcPct val="0"/>
                  </a:spcAft>
                  <a:defRPr/>
                </a:pPr>
                <a:endParaRPr lang="en-US" sz="600">
                  <a:solidFill>
                    <a:srgbClr val="505050"/>
                  </a:solidFill>
                  <a:latin typeface="Segoe UI Semilight"/>
                  <a:ea typeface="Segoe UI" pitchFamily="34" charset="0"/>
                  <a:cs typeface="Segoe UI" pitchFamily="34" charset="0"/>
                </a:endParaRPr>
              </a:p>
            </p:txBody>
          </p:sp>
          <p:grpSp>
            <p:nvGrpSpPr>
              <p:cNvPr id="50" name="Group 49">
                <a:extLst>
                  <a:ext uri="{FF2B5EF4-FFF2-40B4-BE49-F238E27FC236}">
                    <a16:creationId xmlns:a16="http://schemas.microsoft.com/office/drawing/2014/main" id="{BB1E0184-D492-4983-980C-662853F5E6EE}"/>
                  </a:ext>
                </a:extLst>
              </p:cNvPr>
              <p:cNvGrpSpPr/>
              <p:nvPr/>
            </p:nvGrpSpPr>
            <p:grpSpPr>
              <a:xfrm>
                <a:off x="4271147" y="2716509"/>
                <a:ext cx="790232" cy="1472559"/>
                <a:chOff x="4917030" y="1019829"/>
                <a:chExt cx="123056" cy="229308"/>
              </a:xfrm>
            </p:grpSpPr>
            <p:sp>
              <p:nvSpPr>
                <p:cNvPr id="52" name="Freeform: Shape 51">
                  <a:extLst>
                    <a:ext uri="{FF2B5EF4-FFF2-40B4-BE49-F238E27FC236}">
                      <a16:creationId xmlns:a16="http://schemas.microsoft.com/office/drawing/2014/main" id="{18C97EBD-9AAB-48DB-B4A0-9D205BDA60FE}"/>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Freeform: Shape 52">
                  <a:extLst>
                    <a:ext uri="{FF2B5EF4-FFF2-40B4-BE49-F238E27FC236}">
                      <a16:creationId xmlns:a16="http://schemas.microsoft.com/office/drawing/2014/main" id="{7657299D-C412-4A4C-A134-0247116A9455}"/>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Freeform: Shape 53">
                  <a:extLst>
                    <a:ext uri="{FF2B5EF4-FFF2-40B4-BE49-F238E27FC236}">
                      <a16:creationId xmlns:a16="http://schemas.microsoft.com/office/drawing/2014/main" id="{904B6490-0F24-4F48-AF4C-7529EA28E5BD}"/>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Freeform: Shape 54">
                  <a:extLst>
                    <a:ext uri="{FF2B5EF4-FFF2-40B4-BE49-F238E27FC236}">
                      <a16:creationId xmlns:a16="http://schemas.microsoft.com/office/drawing/2014/main" id="{6F095051-E10A-4EB6-B64B-708016E6852D}"/>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51" name="Right Triangle 50">
                <a:extLst>
                  <a:ext uri="{FF2B5EF4-FFF2-40B4-BE49-F238E27FC236}">
                    <a16:creationId xmlns:a16="http://schemas.microsoft.com/office/drawing/2014/main" id="{128BFD8D-38B0-4446-8981-AF1FCF49A978}"/>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050">
                  <a:gradFill>
                    <a:gsLst>
                      <a:gs pos="0">
                        <a:srgbClr val="FFFFFF"/>
                      </a:gs>
                      <a:gs pos="100000">
                        <a:srgbClr val="FFFFFF"/>
                      </a:gs>
                    </a:gsLst>
                    <a:lin ang="5400000" scaled="0"/>
                  </a:gradFill>
                  <a:latin typeface="Segoe UI Semilight"/>
                  <a:cs typeface="Segoe UI" pitchFamily="34" charset="0"/>
                </a:endParaRPr>
              </a:p>
            </p:txBody>
          </p:sp>
        </p:grpSp>
      </p:grpSp>
      <p:sp>
        <p:nvSpPr>
          <p:cNvPr id="56" name="chip 4">
            <a:extLst>
              <a:ext uri="{FF2B5EF4-FFF2-40B4-BE49-F238E27FC236}">
                <a16:creationId xmlns:a16="http://schemas.microsoft.com/office/drawing/2014/main" id="{34367C17-DE3F-4CB5-B681-3F9B64DDE177}"/>
              </a:ext>
            </a:extLst>
          </p:cNvPr>
          <p:cNvSpPr>
            <a:spLocks noChangeAspect="1" noEditPoints="1"/>
          </p:cNvSpPr>
          <p:nvPr/>
        </p:nvSpPr>
        <p:spPr bwMode="auto">
          <a:xfrm>
            <a:off x="9368804" y="2054975"/>
            <a:ext cx="505354" cy="515794"/>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9050" cap="flat">
            <a:solidFill>
              <a:srgbClr val="52525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a:gradFill>
                <a:gsLst>
                  <a:gs pos="0">
                    <a:srgbClr val="505050"/>
                  </a:gs>
                  <a:gs pos="100000">
                    <a:srgbClr val="505050"/>
                  </a:gs>
                </a:gsLst>
              </a:gradFill>
              <a:latin typeface="Segoe UI"/>
            </a:endParaRPr>
          </a:p>
        </p:txBody>
      </p:sp>
      <p:sp>
        <p:nvSpPr>
          <p:cNvPr id="57" name="chip r1">
            <a:extLst>
              <a:ext uri="{FF2B5EF4-FFF2-40B4-BE49-F238E27FC236}">
                <a16:creationId xmlns:a16="http://schemas.microsoft.com/office/drawing/2014/main" id="{2E8FFD25-13BC-4D82-A6C4-8196F4ACE546}"/>
              </a:ext>
            </a:extLst>
          </p:cNvPr>
          <p:cNvSpPr>
            <a:spLocks noChangeAspect="1" noEditPoints="1"/>
          </p:cNvSpPr>
          <p:nvPr/>
        </p:nvSpPr>
        <p:spPr bwMode="auto">
          <a:xfrm>
            <a:off x="10556253" y="2054975"/>
            <a:ext cx="505354" cy="515794"/>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9050"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a:gradFill>
                <a:gsLst>
                  <a:gs pos="0">
                    <a:srgbClr val="505050"/>
                  </a:gs>
                  <a:gs pos="100000">
                    <a:srgbClr val="505050"/>
                  </a:gs>
                </a:gsLst>
              </a:gradFill>
              <a:latin typeface="Segoe UI"/>
            </a:endParaRPr>
          </a:p>
        </p:txBody>
      </p:sp>
      <p:sp>
        <p:nvSpPr>
          <p:cNvPr id="58" name="chip 3">
            <a:extLst>
              <a:ext uri="{FF2B5EF4-FFF2-40B4-BE49-F238E27FC236}">
                <a16:creationId xmlns:a16="http://schemas.microsoft.com/office/drawing/2014/main" id="{6831C6AE-C7B0-405D-8EDF-ABAA6A752053}"/>
              </a:ext>
            </a:extLst>
          </p:cNvPr>
          <p:cNvSpPr>
            <a:spLocks noChangeAspect="1" noEditPoints="1"/>
          </p:cNvSpPr>
          <p:nvPr/>
        </p:nvSpPr>
        <p:spPr bwMode="auto">
          <a:xfrm>
            <a:off x="9368804" y="3040749"/>
            <a:ext cx="505354" cy="515794"/>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9050" cap="flat">
            <a:solidFill>
              <a:srgbClr val="52525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a:gradFill>
                <a:gsLst>
                  <a:gs pos="0">
                    <a:srgbClr val="505050"/>
                  </a:gs>
                  <a:gs pos="100000">
                    <a:srgbClr val="505050"/>
                  </a:gs>
                </a:gsLst>
              </a:gradFill>
              <a:latin typeface="Segoe UI"/>
            </a:endParaRPr>
          </a:p>
        </p:txBody>
      </p:sp>
      <p:sp>
        <p:nvSpPr>
          <p:cNvPr id="59" name="chip r2">
            <a:extLst>
              <a:ext uri="{FF2B5EF4-FFF2-40B4-BE49-F238E27FC236}">
                <a16:creationId xmlns:a16="http://schemas.microsoft.com/office/drawing/2014/main" id="{1C581CDA-1BC1-4410-9C70-95EA9B6A9672}"/>
              </a:ext>
            </a:extLst>
          </p:cNvPr>
          <p:cNvSpPr>
            <a:spLocks noChangeAspect="1" noEditPoints="1"/>
          </p:cNvSpPr>
          <p:nvPr/>
        </p:nvSpPr>
        <p:spPr bwMode="auto">
          <a:xfrm>
            <a:off x="10556253" y="3050284"/>
            <a:ext cx="505354" cy="515794"/>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9050"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a:gradFill>
                <a:gsLst>
                  <a:gs pos="0">
                    <a:srgbClr val="505050"/>
                  </a:gs>
                  <a:gs pos="100000">
                    <a:srgbClr val="505050"/>
                  </a:gs>
                </a:gsLst>
              </a:gradFill>
              <a:latin typeface="Segoe UI"/>
            </a:endParaRPr>
          </a:p>
        </p:txBody>
      </p:sp>
      <p:sp>
        <p:nvSpPr>
          <p:cNvPr id="60" name="chip 2">
            <a:extLst>
              <a:ext uri="{FF2B5EF4-FFF2-40B4-BE49-F238E27FC236}">
                <a16:creationId xmlns:a16="http://schemas.microsoft.com/office/drawing/2014/main" id="{92AB39A4-0A40-4772-9E3A-A976C48065C1}"/>
              </a:ext>
            </a:extLst>
          </p:cNvPr>
          <p:cNvSpPr>
            <a:spLocks noChangeAspect="1" noEditPoints="1"/>
          </p:cNvSpPr>
          <p:nvPr/>
        </p:nvSpPr>
        <p:spPr bwMode="auto">
          <a:xfrm>
            <a:off x="9368804" y="3959776"/>
            <a:ext cx="505354" cy="515794"/>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9050" cap="flat">
            <a:solidFill>
              <a:srgbClr val="52525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a:gradFill>
                <a:gsLst>
                  <a:gs pos="0">
                    <a:srgbClr val="505050"/>
                  </a:gs>
                  <a:gs pos="100000">
                    <a:srgbClr val="505050"/>
                  </a:gs>
                </a:gsLst>
              </a:gradFill>
              <a:latin typeface="Segoe UI"/>
            </a:endParaRPr>
          </a:p>
        </p:txBody>
      </p:sp>
      <p:sp>
        <p:nvSpPr>
          <p:cNvPr id="61" name="chip 1">
            <a:extLst>
              <a:ext uri="{FF2B5EF4-FFF2-40B4-BE49-F238E27FC236}">
                <a16:creationId xmlns:a16="http://schemas.microsoft.com/office/drawing/2014/main" id="{B97D80F0-A270-4E24-B1AA-3EE4AB0B132B}"/>
              </a:ext>
            </a:extLst>
          </p:cNvPr>
          <p:cNvSpPr>
            <a:spLocks noChangeAspect="1" noEditPoints="1"/>
          </p:cNvSpPr>
          <p:nvPr/>
        </p:nvSpPr>
        <p:spPr bwMode="auto">
          <a:xfrm>
            <a:off x="9368804" y="4936015"/>
            <a:ext cx="505354" cy="515794"/>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9050" cap="flat">
            <a:solidFill>
              <a:srgbClr val="52525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a:gradFill>
                <a:gsLst>
                  <a:gs pos="0">
                    <a:srgbClr val="505050"/>
                  </a:gs>
                  <a:gs pos="100000">
                    <a:srgbClr val="505050"/>
                  </a:gs>
                </a:gsLst>
              </a:gradFill>
              <a:latin typeface="Segoe UI"/>
            </a:endParaRPr>
          </a:p>
        </p:txBody>
      </p:sp>
      <p:graphicFrame>
        <p:nvGraphicFramePr>
          <p:cNvPr id="64" name="Rows alternating">
            <a:extLst>
              <a:ext uri="{FF2B5EF4-FFF2-40B4-BE49-F238E27FC236}">
                <a16:creationId xmlns:a16="http://schemas.microsoft.com/office/drawing/2014/main" id="{A1E59AB5-AC94-403A-92B6-79FC9CAFBA7A}"/>
              </a:ext>
            </a:extLst>
          </p:cNvPr>
          <p:cNvGraphicFramePr>
            <a:graphicFrameLocks noGrp="1"/>
          </p:cNvGraphicFramePr>
          <p:nvPr>
            <p:ph sz="quarter" idx="13"/>
            <p:custDataLst>
              <p:tags r:id="rId1"/>
            </p:custDataLst>
            <p:extLst>
              <p:ext uri="{D42A27DB-BD31-4B8C-83A1-F6EECF244321}">
                <p14:modId xmlns:p14="http://schemas.microsoft.com/office/powerpoint/2010/main" val="1141144810"/>
              </p:ext>
            </p:extLst>
          </p:nvPr>
        </p:nvGraphicFramePr>
        <p:xfrm>
          <a:off x="655638" y="1408113"/>
          <a:ext cx="5668964" cy="4968240"/>
        </p:xfrm>
        <a:graphic>
          <a:graphicData uri="http://schemas.openxmlformats.org/drawingml/2006/table">
            <a:tbl>
              <a:tblPr firstRow="1" bandRow="1">
                <a:tableStyleId>{93296810-A885-4BE3-A3E7-6D5BEEA58F35}</a:tableStyleId>
              </a:tblPr>
              <a:tblGrid>
                <a:gridCol w="2731853">
                  <a:extLst>
                    <a:ext uri="{9D8B030D-6E8A-4147-A177-3AD203B41FA5}">
                      <a16:colId xmlns:a16="http://schemas.microsoft.com/office/drawing/2014/main" val="20000"/>
                    </a:ext>
                  </a:extLst>
                </a:gridCol>
                <a:gridCol w="2937111">
                  <a:extLst>
                    <a:ext uri="{9D8B030D-6E8A-4147-A177-3AD203B41FA5}">
                      <a16:colId xmlns:a16="http://schemas.microsoft.com/office/drawing/2014/main" val="20003"/>
                    </a:ext>
                  </a:extLst>
                </a:gridCol>
              </a:tblGrid>
              <a:tr h="139065">
                <a:tc>
                  <a:txBody>
                    <a:bodyPr/>
                    <a:lstStyle/>
                    <a:p>
                      <a:r>
                        <a:rPr lang="en-US" sz="1000">
                          <a:latin typeface="Swis721 Mio" pitchFamily="34" charset="0"/>
                        </a:rPr>
                        <a:t>Feature</a:t>
                      </a:r>
                    </a:p>
                  </a:txBody>
                  <a:tcPr>
                    <a:solidFill>
                      <a:schemeClr val="dk2"/>
                    </a:solidFill>
                  </a:tcPr>
                </a:tc>
                <a:tc>
                  <a:txBody>
                    <a:bodyPr/>
                    <a:lstStyle/>
                    <a:p>
                      <a:r>
                        <a:rPr lang="en-US" sz="1000">
                          <a:latin typeface="Swis721 Mio" pitchFamily="34" charset="0"/>
                        </a:rPr>
                        <a:t>Description</a:t>
                      </a:r>
                    </a:p>
                  </a:txBody>
                  <a:tcPr>
                    <a:solidFill>
                      <a:schemeClr val="dk2"/>
                    </a:solidFill>
                  </a:tcPr>
                </a:tc>
                <a:extLst>
                  <a:ext uri="{0D108BD9-81ED-4DB2-BD59-A6C34878D82A}">
                    <a16:rowId xmlns:a16="http://schemas.microsoft.com/office/drawing/2014/main" val="10000"/>
                  </a:ext>
                </a:extLst>
              </a:tr>
              <a:tr h="139065">
                <a:tc>
                  <a:txBody>
                    <a:bodyPr/>
                    <a:lstStyle/>
                    <a:p>
                      <a:r>
                        <a:rPr lang="en-US" sz="1000">
                          <a:latin typeface="Swis721 Mio" pitchFamily="34" charset="0"/>
                        </a:rPr>
                        <a:t>Number of vCores</a:t>
                      </a:r>
                    </a:p>
                  </a:txBody>
                  <a:tcPr>
                    <a:solidFill>
                      <a:srgbClr val="D2D2D2"/>
                    </a:solidFill>
                  </a:tcPr>
                </a:tc>
                <a:tc>
                  <a:txBody>
                    <a:bodyPr/>
                    <a:lstStyle/>
                    <a:p>
                      <a:r>
                        <a:rPr lang="en-US" sz="1000">
                          <a:latin typeface="Swis721 Mio" pitchFamily="34" charset="0"/>
                        </a:rPr>
                        <a:t>8, 16, 24 (Gen 4)</a:t>
                      </a:r>
                      <a:br>
                        <a:rPr lang="en-US" sz="1000">
                          <a:latin typeface="Swis721 Mio" pitchFamily="34" charset="0"/>
                        </a:rPr>
                      </a:br>
                      <a:r>
                        <a:rPr lang="en-US" sz="1000">
                          <a:latin typeface="Swis721 Mio" pitchFamily="34" charset="0"/>
                        </a:rPr>
                        <a:t>8, 16, 24, 32, 40, 64, 80 (Gen 5)</a:t>
                      </a:r>
                    </a:p>
                    <a:p>
                      <a:r>
                        <a:rPr lang="en-US" sz="1000">
                          <a:latin typeface="Swis721 Mio" pitchFamily="34" charset="0"/>
                        </a:rPr>
                        <a:t>72 (Fsv2-series)</a:t>
                      </a:r>
                    </a:p>
                  </a:txBody>
                  <a:tcPr>
                    <a:solidFill>
                      <a:srgbClr val="D2D2D2"/>
                    </a:solidFill>
                  </a:tcPr>
                </a:tc>
                <a:extLst>
                  <a:ext uri="{0D108BD9-81ED-4DB2-BD59-A6C34878D82A}">
                    <a16:rowId xmlns:a16="http://schemas.microsoft.com/office/drawing/2014/main" val="10001"/>
                  </a:ext>
                </a:extLst>
              </a:tr>
              <a:tr h="139065">
                <a:tc>
                  <a:txBody>
                    <a:bodyPr/>
                    <a:lstStyle/>
                    <a:p>
                      <a:r>
                        <a:rPr lang="en-US" sz="1000">
                          <a:latin typeface="Swis721 Mio" pitchFamily="34" charset="0"/>
                        </a:rPr>
                        <a:t>SQL Server version / build</a:t>
                      </a:r>
                    </a:p>
                  </a:txBody>
                  <a:tcPr>
                    <a:solidFill>
                      <a:schemeClr val="lt2"/>
                    </a:solidFill>
                  </a:tcPr>
                </a:tc>
                <a:tc>
                  <a:txBody>
                    <a:bodyPr/>
                    <a:lstStyle/>
                    <a:p>
                      <a:r>
                        <a:rPr lang="en-US" sz="1000">
                          <a:latin typeface="Swis721 Mio" pitchFamily="34" charset="0"/>
                        </a:rPr>
                        <a:t>SQL Server (latest available)</a:t>
                      </a:r>
                    </a:p>
                  </a:txBody>
                  <a:tcPr>
                    <a:solidFill>
                      <a:schemeClr val="lt2"/>
                    </a:solidFill>
                  </a:tcPr>
                </a:tc>
                <a:extLst>
                  <a:ext uri="{0D108BD9-81ED-4DB2-BD59-A6C34878D82A}">
                    <a16:rowId xmlns:a16="http://schemas.microsoft.com/office/drawing/2014/main" val="10004"/>
                  </a:ext>
                </a:extLst>
              </a:tr>
              <a:tr h="139065">
                <a:tc>
                  <a:txBody>
                    <a:bodyPr/>
                    <a:lstStyle/>
                    <a:p>
                      <a:r>
                        <a:rPr lang="en-US" sz="1000">
                          <a:latin typeface="Swis721 Mio" pitchFamily="34" charset="0"/>
                        </a:rPr>
                        <a:t>Min storage size</a:t>
                      </a:r>
                    </a:p>
                  </a:txBody>
                  <a:tcPr>
                    <a:solidFill>
                      <a:schemeClr val="lt2"/>
                    </a:solidFill>
                  </a:tcPr>
                </a:tc>
                <a:tc>
                  <a:txBody>
                    <a:bodyPr/>
                    <a:lstStyle/>
                    <a:p>
                      <a:r>
                        <a:rPr lang="en-US" sz="1000">
                          <a:latin typeface="Swis721 Mio" pitchFamily="34" charset="0"/>
                        </a:rPr>
                        <a:t>32 GB</a:t>
                      </a:r>
                    </a:p>
                  </a:txBody>
                  <a:tcPr>
                    <a:solidFill>
                      <a:schemeClr val="lt2"/>
                    </a:solidFill>
                  </a:tcPr>
                </a:tc>
                <a:extLst>
                  <a:ext uri="{0D108BD9-81ED-4DB2-BD59-A6C34878D82A}">
                    <a16:rowId xmlns:a16="http://schemas.microsoft.com/office/drawing/2014/main" val="10005"/>
                  </a:ext>
                </a:extLst>
              </a:tr>
              <a:tr h="139065">
                <a:tc>
                  <a:txBody>
                    <a:bodyPr/>
                    <a:lstStyle/>
                    <a:p>
                      <a:r>
                        <a:rPr lang="en-US" sz="1000">
                          <a:latin typeface="Swis721 Mio" pitchFamily="34" charset="0"/>
                        </a:rPr>
                        <a:t>Max storage size</a:t>
                      </a:r>
                    </a:p>
                  </a:txBody>
                  <a:tcPr>
                    <a:solidFill>
                      <a:schemeClr val="lt2"/>
                    </a:solidFill>
                  </a:tcPr>
                </a:tc>
                <a:tc>
                  <a:txBody>
                    <a:bodyPr/>
                    <a:lstStyle/>
                    <a:p>
                      <a:r>
                        <a:rPr lang="en-US" sz="1000">
                          <a:latin typeface="Swis721 Mio" pitchFamily="34" charset="0"/>
                        </a:rPr>
                        <a:t>8 TB</a:t>
                      </a:r>
                    </a:p>
                  </a:txBody>
                  <a:tcPr>
                    <a:solidFill>
                      <a:schemeClr val="lt2"/>
                    </a:solidFill>
                  </a:tcPr>
                </a:tc>
                <a:extLst>
                  <a:ext uri="{0D108BD9-81ED-4DB2-BD59-A6C34878D82A}">
                    <a16:rowId xmlns:a16="http://schemas.microsoft.com/office/drawing/2014/main" val="10006"/>
                  </a:ext>
                </a:extLst>
              </a:tr>
              <a:tr h="139065">
                <a:tc>
                  <a:txBody>
                    <a:bodyPr/>
                    <a:lstStyle/>
                    <a:p>
                      <a:r>
                        <a:rPr lang="en-US" sz="1000">
                          <a:latin typeface="Swis721 Mio" pitchFamily="34" charset="0"/>
                        </a:rPr>
                        <a:t>Max storage per database</a:t>
                      </a:r>
                    </a:p>
                  </a:txBody>
                  <a:tcPr>
                    <a:solidFill>
                      <a:schemeClr val="lt2"/>
                    </a:solidFill>
                  </a:tcPr>
                </a:tc>
                <a:tc>
                  <a:txBody>
                    <a:bodyPr/>
                    <a:lstStyle/>
                    <a:p>
                      <a:r>
                        <a:rPr lang="en-US" sz="1000">
                          <a:latin typeface="Swis721 Mio" pitchFamily="34" charset="0"/>
                        </a:rPr>
                        <a:t>Determined by the max storage </a:t>
                      </a:r>
                      <a:br>
                        <a:rPr lang="en-US" sz="1000">
                          <a:latin typeface="Swis721 Mio" pitchFamily="34" charset="0"/>
                        </a:rPr>
                      </a:br>
                      <a:r>
                        <a:rPr lang="en-US" sz="1000">
                          <a:latin typeface="Swis721 Mio" pitchFamily="34" charset="0"/>
                        </a:rPr>
                        <a:t>size per instance</a:t>
                      </a:r>
                    </a:p>
                  </a:txBody>
                  <a:tcPr>
                    <a:solidFill>
                      <a:schemeClr val="lt2"/>
                    </a:solidFill>
                  </a:tcPr>
                </a:tc>
                <a:extLst>
                  <a:ext uri="{0D108BD9-81ED-4DB2-BD59-A6C34878D82A}">
                    <a16:rowId xmlns:a16="http://schemas.microsoft.com/office/drawing/2014/main" val="10007"/>
                  </a:ext>
                </a:extLst>
              </a:tr>
              <a:tr h="139065">
                <a:tc>
                  <a:txBody>
                    <a:bodyPr/>
                    <a:lstStyle/>
                    <a:p>
                      <a:r>
                        <a:rPr lang="en-US" sz="1000">
                          <a:latin typeface="Swis721 Mio" pitchFamily="34" charset="0"/>
                        </a:rPr>
                        <a:t>Expected storage IOPS</a:t>
                      </a:r>
                    </a:p>
                  </a:txBody>
                  <a:tcPr>
                    <a:solidFill>
                      <a:schemeClr val="lt2"/>
                    </a:solidFill>
                  </a:tcPr>
                </a:tc>
                <a:tc>
                  <a:txBody>
                    <a:bodyPr/>
                    <a:lstStyle/>
                    <a:p>
                      <a:r>
                        <a:rPr lang="en-US" sz="1000">
                          <a:latin typeface="Swis721 Mio" pitchFamily="34" charset="0"/>
                        </a:rPr>
                        <a:t>500-7500 IOPS per data file (depends on data file). </a:t>
                      </a:r>
                      <a:br>
                        <a:rPr lang="en-US" sz="1000">
                          <a:latin typeface="Swis721 Mio" pitchFamily="34" charset="0"/>
                        </a:rPr>
                      </a:br>
                      <a:r>
                        <a:rPr lang="en-US" sz="1000">
                          <a:latin typeface="Swis721 Mio" pitchFamily="34" charset="0"/>
                        </a:rPr>
                        <a:t>See Premium Storage</a:t>
                      </a:r>
                    </a:p>
                  </a:txBody>
                  <a:tcPr>
                    <a:solidFill>
                      <a:schemeClr val="lt2"/>
                    </a:solidFill>
                  </a:tcPr>
                </a:tc>
                <a:extLst>
                  <a:ext uri="{0D108BD9-81ED-4DB2-BD59-A6C34878D82A}">
                    <a16:rowId xmlns:a16="http://schemas.microsoft.com/office/drawing/2014/main" val="10008"/>
                  </a:ext>
                </a:extLst>
              </a:tr>
              <a:tr h="139065">
                <a:tc>
                  <a:txBody>
                    <a:bodyPr/>
                    <a:lstStyle/>
                    <a:p>
                      <a:r>
                        <a:rPr lang="en-US" sz="1000">
                          <a:latin typeface="Swis721 Mio" pitchFamily="34" charset="0"/>
                        </a:rPr>
                        <a:t>Number of data files (ROWS) per the database</a:t>
                      </a:r>
                    </a:p>
                  </a:txBody>
                  <a:tcPr>
                    <a:solidFill>
                      <a:schemeClr val="lt2"/>
                    </a:solidFill>
                  </a:tcPr>
                </a:tc>
                <a:tc>
                  <a:txBody>
                    <a:bodyPr/>
                    <a:lstStyle/>
                    <a:p>
                      <a:r>
                        <a:rPr lang="en-US" sz="1000">
                          <a:latin typeface="Swis721 Mio" pitchFamily="34" charset="0"/>
                        </a:rPr>
                        <a:t>Multiple</a:t>
                      </a:r>
                    </a:p>
                  </a:txBody>
                  <a:tcPr>
                    <a:solidFill>
                      <a:schemeClr val="lt2"/>
                    </a:solidFill>
                  </a:tcPr>
                </a:tc>
                <a:extLst>
                  <a:ext uri="{0D108BD9-81ED-4DB2-BD59-A6C34878D82A}">
                    <a16:rowId xmlns:a16="http://schemas.microsoft.com/office/drawing/2014/main" val="10009"/>
                  </a:ext>
                </a:extLst>
              </a:tr>
              <a:tr h="139065">
                <a:tc>
                  <a:txBody>
                    <a:bodyPr/>
                    <a:lstStyle/>
                    <a:p>
                      <a:r>
                        <a:rPr lang="en-US" sz="1000">
                          <a:latin typeface="Swis721 Mio" pitchFamily="34" charset="0"/>
                        </a:rPr>
                        <a:t>Number of log files (LOG) </a:t>
                      </a:r>
                      <a:br>
                        <a:rPr lang="en-US" sz="1000">
                          <a:latin typeface="Swis721 Mio" pitchFamily="34" charset="0"/>
                        </a:rPr>
                      </a:br>
                      <a:r>
                        <a:rPr lang="en-US" sz="1000">
                          <a:latin typeface="Swis721 Mio" pitchFamily="34" charset="0"/>
                        </a:rPr>
                        <a:t>per database</a:t>
                      </a:r>
                    </a:p>
                  </a:txBody>
                  <a:tcPr>
                    <a:solidFill>
                      <a:schemeClr val="lt2"/>
                    </a:solidFill>
                  </a:tcPr>
                </a:tc>
                <a:tc>
                  <a:txBody>
                    <a:bodyPr/>
                    <a:lstStyle/>
                    <a:p>
                      <a:r>
                        <a:rPr lang="en-US" sz="1000">
                          <a:latin typeface="Swis721 Mio" pitchFamily="34" charset="0"/>
                        </a:rPr>
                        <a:t>1</a:t>
                      </a:r>
                    </a:p>
                  </a:txBody>
                  <a:tcPr>
                    <a:solidFill>
                      <a:schemeClr val="lt2"/>
                    </a:solidFill>
                  </a:tcPr>
                </a:tc>
                <a:extLst>
                  <a:ext uri="{0D108BD9-81ED-4DB2-BD59-A6C34878D82A}">
                    <a16:rowId xmlns:a16="http://schemas.microsoft.com/office/drawing/2014/main" val="10010"/>
                  </a:ext>
                </a:extLst>
              </a:tr>
              <a:tr h="139065">
                <a:tc>
                  <a:txBody>
                    <a:bodyPr/>
                    <a:lstStyle/>
                    <a:p>
                      <a:r>
                        <a:rPr lang="en-US" sz="1000">
                          <a:latin typeface="Swis721 Mio" pitchFamily="34" charset="0"/>
                        </a:rPr>
                        <a:t>Managed automated backups</a:t>
                      </a:r>
                    </a:p>
                  </a:txBody>
                  <a:tcPr>
                    <a:solidFill>
                      <a:schemeClr val="lt2"/>
                    </a:solidFill>
                  </a:tcPr>
                </a:tc>
                <a:tc>
                  <a:txBody>
                    <a:bodyPr/>
                    <a:lstStyle/>
                    <a:p>
                      <a:r>
                        <a:rPr lang="en-US" sz="1000">
                          <a:latin typeface="Swis721 Mio" pitchFamily="34" charset="0"/>
                        </a:rPr>
                        <a:t>Yes</a:t>
                      </a:r>
                    </a:p>
                  </a:txBody>
                  <a:tcPr>
                    <a:solidFill>
                      <a:schemeClr val="lt2"/>
                    </a:solidFill>
                  </a:tcPr>
                </a:tc>
                <a:extLst>
                  <a:ext uri="{0D108BD9-81ED-4DB2-BD59-A6C34878D82A}">
                    <a16:rowId xmlns:a16="http://schemas.microsoft.com/office/drawing/2014/main" val="10011"/>
                  </a:ext>
                </a:extLst>
              </a:tr>
              <a:tr h="139065">
                <a:tc>
                  <a:txBody>
                    <a:bodyPr/>
                    <a:lstStyle/>
                    <a:p>
                      <a:r>
                        <a:rPr lang="en-US" sz="1000">
                          <a:latin typeface="Swis721 Mio" pitchFamily="34" charset="0"/>
                        </a:rPr>
                        <a:t>HA</a:t>
                      </a:r>
                    </a:p>
                  </a:txBody>
                  <a:tcPr>
                    <a:solidFill>
                      <a:schemeClr val="lt2"/>
                    </a:solidFill>
                  </a:tcPr>
                </a:tc>
                <a:tc>
                  <a:txBody>
                    <a:bodyPr/>
                    <a:lstStyle/>
                    <a:p>
                      <a:r>
                        <a:rPr lang="en-US" sz="1000">
                          <a:latin typeface="Swis721 Mio" pitchFamily="34" charset="0"/>
                        </a:rPr>
                        <a:t>Based on remote storage and </a:t>
                      </a:r>
                      <a:br>
                        <a:rPr lang="en-US" sz="1000">
                          <a:latin typeface="Swis721 Mio" pitchFamily="34" charset="0"/>
                        </a:rPr>
                      </a:br>
                      <a:r>
                        <a:rPr lang="en-US" sz="1000">
                          <a:latin typeface="Swis721 Mio" pitchFamily="34" charset="0"/>
                        </a:rPr>
                        <a:t>Azure Service Fabric</a:t>
                      </a:r>
                    </a:p>
                  </a:txBody>
                  <a:tcPr>
                    <a:solidFill>
                      <a:schemeClr val="lt2"/>
                    </a:solidFill>
                  </a:tcPr>
                </a:tc>
                <a:extLst>
                  <a:ext uri="{0D108BD9-81ED-4DB2-BD59-A6C34878D82A}">
                    <a16:rowId xmlns:a16="http://schemas.microsoft.com/office/drawing/2014/main" val="10012"/>
                  </a:ext>
                </a:extLst>
              </a:tr>
              <a:tr h="139065">
                <a:tc>
                  <a:txBody>
                    <a:bodyPr/>
                    <a:lstStyle/>
                    <a:p>
                      <a:r>
                        <a:rPr lang="en-US" sz="1000">
                          <a:latin typeface="Swis721 Mio" pitchFamily="34" charset="0"/>
                        </a:rPr>
                        <a:t>Built-in instance and database monitoring and metrics</a:t>
                      </a:r>
                    </a:p>
                  </a:txBody>
                  <a:tcPr>
                    <a:solidFill>
                      <a:schemeClr val="lt2"/>
                    </a:solidFill>
                  </a:tcPr>
                </a:tc>
                <a:tc>
                  <a:txBody>
                    <a:bodyPr/>
                    <a:lstStyle/>
                    <a:p>
                      <a:r>
                        <a:rPr lang="en-US" sz="1000">
                          <a:latin typeface="Swis721 Mio" pitchFamily="34" charset="0"/>
                        </a:rPr>
                        <a:t>Yes</a:t>
                      </a:r>
                    </a:p>
                  </a:txBody>
                  <a:tcPr>
                    <a:solidFill>
                      <a:schemeClr val="lt2"/>
                    </a:solidFill>
                  </a:tcPr>
                </a:tc>
                <a:extLst>
                  <a:ext uri="{0D108BD9-81ED-4DB2-BD59-A6C34878D82A}">
                    <a16:rowId xmlns:a16="http://schemas.microsoft.com/office/drawing/2014/main" val="10013"/>
                  </a:ext>
                </a:extLst>
              </a:tr>
              <a:tr h="139065">
                <a:tc>
                  <a:txBody>
                    <a:bodyPr/>
                    <a:lstStyle/>
                    <a:p>
                      <a:r>
                        <a:rPr lang="en-US" sz="1000">
                          <a:latin typeface="Swis721 Mio" pitchFamily="34" charset="0"/>
                        </a:rPr>
                        <a:t>Automatic software patching</a:t>
                      </a:r>
                    </a:p>
                  </a:txBody>
                  <a:tcPr>
                    <a:solidFill>
                      <a:schemeClr val="lt2"/>
                    </a:solidFill>
                  </a:tcPr>
                </a:tc>
                <a:tc>
                  <a:txBody>
                    <a:bodyPr/>
                    <a:lstStyle/>
                    <a:p>
                      <a:r>
                        <a:rPr lang="en-US" sz="1000">
                          <a:latin typeface="Swis721 Mio" pitchFamily="34" charset="0"/>
                        </a:rPr>
                        <a:t>Yes</a:t>
                      </a:r>
                    </a:p>
                  </a:txBody>
                  <a:tcPr>
                    <a:solidFill>
                      <a:schemeClr val="lt2"/>
                    </a:solidFill>
                  </a:tcPr>
                </a:tc>
                <a:extLst>
                  <a:ext uri="{0D108BD9-81ED-4DB2-BD59-A6C34878D82A}">
                    <a16:rowId xmlns:a16="http://schemas.microsoft.com/office/drawing/2014/main" val="10014"/>
                  </a:ext>
                </a:extLst>
              </a:tr>
              <a:tr h="139065">
                <a:tc>
                  <a:txBody>
                    <a:bodyPr/>
                    <a:lstStyle/>
                    <a:p>
                      <a:r>
                        <a:rPr lang="en-US" sz="1000">
                          <a:latin typeface="Swis721 Mio" pitchFamily="34" charset="0"/>
                        </a:rPr>
                        <a:t>VNet - Azure Resource Manager deployment</a:t>
                      </a:r>
                    </a:p>
                  </a:txBody>
                  <a:tcPr>
                    <a:solidFill>
                      <a:schemeClr val="lt2"/>
                    </a:solidFill>
                  </a:tcPr>
                </a:tc>
                <a:tc>
                  <a:txBody>
                    <a:bodyPr/>
                    <a:lstStyle/>
                    <a:p>
                      <a:r>
                        <a:rPr lang="en-US" sz="1000">
                          <a:latin typeface="Swis721 Mio" pitchFamily="34" charset="0"/>
                        </a:rPr>
                        <a:t>Yes</a:t>
                      </a:r>
                    </a:p>
                  </a:txBody>
                  <a:tcPr>
                    <a:solidFill>
                      <a:schemeClr val="lt2"/>
                    </a:solidFill>
                  </a:tcPr>
                </a:tc>
                <a:extLst>
                  <a:ext uri="{0D108BD9-81ED-4DB2-BD59-A6C34878D82A}">
                    <a16:rowId xmlns:a16="http://schemas.microsoft.com/office/drawing/2014/main" val="10015"/>
                  </a:ext>
                </a:extLst>
              </a:tr>
              <a:tr h="139065">
                <a:tc>
                  <a:txBody>
                    <a:bodyPr/>
                    <a:lstStyle/>
                    <a:p>
                      <a:r>
                        <a:rPr lang="en-US" sz="1000">
                          <a:latin typeface="Swis721 Mio" pitchFamily="34" charset="0"/>
                        </a:rPr>
                        <a:t>VNet - Classic deployment model</a:t>
                      </a:r>
                    </a:p>
                  </a:txBody>
                  <a:tcPr>
                    <a:solidFill>
                      <a:schemeClr val="lt2"/>
                    </a:solidFill>
                  </a:tcPr>
                </a:tc>
                <a:tc>
                  <a:txBody>
                    <a:bodyPr/>
                    <a:lstStyle/>
                    <a:p>
                      <a:r>
                        <a:rPr lang="en-US" sz="1000">
                          <a:latin typeface="Swis721 Mio" pitchFamily="34" charset="0"/>
                        </a:rPr>
                        <a:t>No</a:t>
                      </a:r>
                    </a:p>
                  </a:txBody>
                  <a:tcPr>
                    <a:solidFill>
                      <a:schemeClr val="lt2"/>
                    </a:solidFill>
                  </a:tcPr>
                </a:tc>
                <a:extLst>
                  <a:ext uri="{0D108BD9-81ED-4DB2-BD59-A6C34878D82A}">
                    <a16:rowId xmlns:a16="http://schemas.microsoft.com/office/drawing/2014/main" val="10002"/>
                  </a:ext>
                </a:extLst>
              </a:tr>
              <a:tr h="139065">
                <a:tc>
                  <a:txBody>
                    <a:bodyPr/>
                    <a:lstStyle/>
                    <a:p>
                      <a:r>
                        <a:rPr lang="en-US" sz="1000">
                          <a:latin typeface="Swis721 Mio" pitchFamily="34" charset="0"/>
                        </a:rPr>
                        <a:t>Portal support</a:t>
                      </a:r>
                    </a:p>
                  </a:txBody>
                  <a:tcPr>
                    <a:solidFill>
                      <a:srgbClr val="D2D2D2"/>
                    </a:solidFill>
                  </a:tcPr>
                </a:tc>
                <a:tc>
                  <a:txBody>
                    <a:bodyPr/>
                    <a:lstStyle/>
                    <a:p>
                      <a:r>
                        <a:rPr lang="en-US" sz="1000">
                          <a:latin typeface="Swis721 Mio" pitchFamily="34" charset="0"/>
                        </a:rPr>
                        <a:t>Yes</a:t>
                      </a:r>
                    </a:p>
                  </a:txBody>
                  <a:tcPr>
                    <a:solidFill>
                      <a:srgbClr val="D2D2D2"/>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43083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000"/>
                                        <p:tgtEl>
                                          <p:spTgt spid="23"/>
                                        </p:tgtEl>
                                      </p:cBhvr>
                                    </p:animEffect>
                                    <p:anim calcmode="lin" valueType="num">
                                      <p:cBhvr>
                                        <p:cTn id="8" dur="1000" fill="hold"/>
                                        <p:tgtEl>
                                          <p:spTgt spid="23"/>
                                        </p:tgtEl>
                                        <p:attrNameLst>
                                          <p:attrName>ppt_x</p:attrName>
                                        </p:attrNameLst>
                                      </p:cBhvr>
                                      <p:tavLst>
                                        <p:tav tm="0">
                                          <p:val>
                                            <p:strVal val="#ppt_x"/>
                                          </p:val>
                                        </p:tav>
                                        <p:tav tm="100000">
                                          <p:val>
                                            <p:strVal val="#ppt_x"/>
                                          </p:val>
                                        </p:tav>
                                      </p:tavLst>
                                    </p:anim>
                                    <p:anim calcmode="lin" valueType="num">
                                      <p:cBhvr>
                                        <p:cTn id="9" dur="1000" fill="hold"/>
                                        <p:tgtEl>
                                          <p:spTgt spid="2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0"/>
                                        </p:tgtEl>
                                        <p:attrNameLst>
                                          <p:attrName>style.visibility</p:attrName>
                                        </p:attrNameLst>
                                      </p:cBhvr>
                                      <p:to>
                                        <p:strVal val="visible"/>
                                      </p:to>
                                    </p:set>
                                    <p:animEffect transition="in" filter="fade">
                                      <p:cBhvr>
                                        <p:cTn id="12" dur="1000"/>
                                        <p:tgtEl>
                                          <p:spTgt spid="60"/>
                                        </p:tgtEl>
                                      </p:cBhvr>
                                    </p:animEffect>
                                    <p:anim calcmode="lin" valueType="num">
                                      <p:cBhvr>
                                        <p:cTn id="13" dur="1000" fill="hold"/>
                                        <p:tgtEl>
                                          <p:spTgt spid="60"/>
                                        </p:tgtEl>
                                        <p:attrNameLst>
                                          <p:attrName>ppt_x</p:attrName>
                                        </p:attrNameLst>
                                      </p:cBhvr>
                                      <p:tavLst>
                                        <p:tav tm="0">
                                          <p:val>
                                            <p:strVal val="#ppt_x"/>
                                          </p:val>
                                        </p:tav>
                                        <p:tav tm="100000">
                                          <p:val>
                                            <p:strVal val="#ppt_x"/>
                                          </p:val>
                                        </p:tav>
                                      </p:tavLst>
                                    </p:anim>
                                    <p:anim calcmode="lin" valueType="num">
                                      <p:cBhvr>
                                        <p:cTn id="14" dur="1000" fill="hold"/>
                                        <p:tgtEl>
                                          <p:spTgt spid="6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nodeType="afterEffect">
                                  <p:stCondLst>
                                    <p:cond delay="0"/>
                                  </p:stCondLst>
                                  <p:childTnLst>
                                    <p:set>
                                      <p:cBhvr>
                                        <p:cTn id="17" dur="1" fill="hold">
                                          <p:stCondLst>
                                            <p:cond delay="0"/>
                                          </p:stCondLst>
                                        </p:cTn>
                                        <p:tgtEl>
                                          <p:spTgt spid="45"/>
                                        </p:tgtEl>
                                        <p:attrNameLst>
                                          <p:attrName>style.visibility</p:attrName>
                                        </p:attrNameLst>
                                      </p:cBhvr>
                                      <p:to>
                                        <p:strVal val="visible"/>
                                      </p:to>
                                    </p:set>
                                    <p:animEffect transition="in" filter="fade">
                                      <p:cBhvr>
                                        <p:cTn id="18" dur="1000"/>
                                        <p:tgtEl>
                                          <p:spTgt spid="45"/>
                                        </p:tgtEl>
                                      </p:cBhvr>
                                    </p:animEffect>
                                    <p:anim calcmode="lin" valueType="num">
                                      <p:cBhvr>
                                        <p:cTn id="19" dur="1000" fill="hold"/>
                                        <p:tgtEl>
                                          <p:spTgt spid="45"/>
                                        </p:tgtEl>
                                        <p:attrNameLst>
                                          <p:attrName>ppt_x</p:attrName>
                                        </p:attrNameLst>
                                      </p:cBhvr>
                                      <p:tavLst>
                                        <p:tav tm="0">
                                          <p:val>
                                            <p:strVal val="#ppt_x"/>
                                          </p:val>
                                        </p:tav>
                                        <p:tav tm="100000">
                                          <p:val>
                                            <p:strVal val="#ppt_x"/>
                                          </p:val>
                                        </p:tav>
                                      </p:tavLst>
                                    </p:anim>
                                    <p:anim calcmode="lin" valueType="num">
                                      <p:cBhvr>
                                        <p:cTn id="20" dur="1000" fill="hold"/>
                                        <p:tgtEl>
                                          <p:spTgt spid="45"/>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58"/>
                                        </p:tgtEl>
                                        <p:attrNameLst>
                                          <p:attrName>style.visibility</p:attrName>
                                        </p:attrNameLst>
                                      </p:cBhvr>
                                      <p:to>
                                        <p:strVal val="visible"/>
                                      </p:to>
                                    </p:set>
                                    <p:animEffect transition="in" filter="fade">
                                      <p:cBhvr>
                                        <p:cTn id="23" dur="1000"/>
                                        <p:tgtEl>
                                          <p:spTgt spid="58"/>
                                        </p:tgtEl>
                                      </p:cBhvr>
                                    </p:animEffect>
                                    <p:anim calcmode="lin" valueType="num">
                                      <p:cBhvr>
                                        <p:cTn id="24" dur="1000" fill="hold"/>
                                        <p:tgtEl>
                                          <p:spTgt spid="58"/>
                                        </p:tgtEl>
                                        <p:attrNameLst>
                                          <p:attrName>ppt_x</p:attrName>
                                        </p:attrNameLst>
                                      </p:cBhvr>
                                      <p:tavLst>
                                        <p:tav tm="0">
                                          <p:val>
                                            <p:strVal val="#ppt_x"/>
                                          </p:val>
                                        </p:tav>
                                        <p:tav tm="100000">
                                          <p:val>
                                            <p:strVal val="#ppt_x"/>
                                          </p:val>
                                        </p:tav>
                                      </p:tavLst>
                                    </p:anim>
                                    <p:anim calcmode="lin" valueType="num">
                                      <p:cBhvr>
                                        <p:cTn id="25" dur="1000" fill="hold"/>
                                        <p:tgtEl>
                                          <p:spTgt spid="58"/>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nodeType="afterEffect">
                                  <p:stCondLst>
                                    <p:cond delay="0"/>
                                  </p:stCondLst>
                                  <p:childTnLst>
                                    <p:set>
                                      <p:cBhvr>
                                        <p:cTn id="28" dur="1" fill="hold">
                                          <p:stCondLst>
                                            <p:cond delay="0"/>
                                          </p:stCondLst>
                                        </p:cTn>
                                        <p:tgtEl>
                                          <p:spTgt spid="34"/>
                                        </p:tgtEl>
                                        <p:attrNameLst>
                                          <p:attrName>style.visibility</p:attrName>
                                        </p:attrNameLst>
                                      </p:cBhvr>
                                      <p:to>
                                        <p:strVal val="visible"/>
                                      </p:to>
                                    </p:set>
                                    <p:animEffect transition="in" filter="fade">
                                      <p:cBhvr>
                                        <p:cTn id="29" dur="1000"/>
                                        <p:tgtEl>
                                          <p:spTgt spid="34"/>
                                        </p:tgtEl>
                                      </p:cBhvr>
                                    </p:animEffect>
                                    <p:anim calcmode="lin" valueType="num">
                                      <p:cBhvr>
                                        <p:cTn id="30" dur="1000" fill="hold"/>
                                        <p:tgtEl>
                                          <p:spTgt spid="34"/>
                                        </p:tgtEl>
                                        <p:attrNameLst>
                                          <p:attrName>ppt_x</p:attrName>
                                        </p:attrNameLst>
                                      </p:cBhvr>
                                      <p:tavLst>
                                        <p:tav tm="0">
                                          <p:val>
                                            <p:strVal val="#ppt_x"/>
                                          </p:val>
                                        </p:tav>
                                        <p:tav tm="100000">
                                          <p:val>
                                            <p:strVal val="#ppt_x"/>
                                          </p:val>
                                        </p:tav>
                                      </p:tavLst>
                                    </p:anim>
                                    <p:anim calcmode="lin" valueType="num">
                                      <p:cBhvr>
                                        <p:cTn id="31" dur="1000" fill="hold"/>
                                        <p:tgtEl>
                                          <p:spTgt spid="34"/>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56"/>
                                        </p:tgtEl>
                                        <p:attrNameLst>
                                          <p:attrName>style.visibility</p:attrName>
                                        </p:attrNameLst>
                                      </p:cBhvr>
                                      <p:to>
                                        <p:strVal val="visible"/>
                                      </p:to>
                                    </p:set>
                                    <p:animEffect transition="in" filter="fade">
                                      <p:cBhvr>
                                        <p:cTn id="34" dur="1000"/>
                                        <p:tgtEl>
                                          <p:spTgt spid="56"/>
                                        </p:tgtEl>
                                      </p:cBhvr>
                                    </p:animEffect>
                                    <p:anim calcmode="lin" valueType="num">
                                      <p:cBhvr>
                                        <p:cTn id="35" dur="1000" fill="hold"/>
                                        <p:tgtEl>
                                          <p:spTgt spid="56"/>
                                        </p:tgtEl>
                                        <p:attrNameLst>
                                          <p:attrName>ppt_x</p:attrName>
                                        </p:attrNameLst>
                                      </p:cBhvr>
                                      <p:tavLst>
                                        <p:tav tm="0">
                                          <p:val>
                                            <p:strVal val="#ppt_x"/>
                                          </p:val>
                                        </p:tav>
                                        <p:tav tm="100000">
                                          <p:val>
                                            <p:strVal val="#ppt_x"/>
                                          </p:val>
                                        </p:tav>
                                      </p:tavLst>
                                    </p:anim>
                                    <p:anim calcmode="lin" valueType="num">
                                      <p:cBhvr>
                                        <p:cTn id="36" dur="1000" fill="hold"/>
                                        <p:tgtEl>
                                          <p:spTgt spid="56"/>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57"/>
                                        </p:tgtEl>
                                        <p:attrNameLst>
                                          <p:attrName>style.visibility</p:attrName>
                                        </p:attrNameLst>
                                      </p:cBhvr>
                                      <p:to>
                                        <p:strVal val="visible"/>
                                      </p:to>
                                    </p:set>
                                    <p:animEffect transition="in" filter="fade">
                                      <p:cBhvr>
                                        <p:cTn id="39" dur="1000"/>
                                        <p:tgtEl>
                                          <p:spTgt spid="57"/>
                                        </p:tgtEl>
                                      </p:cBhvr>
                                    </p:animEffect>
                                    <p:anim calcmode="lin" valueType="num">
                                      <p:cBhvr>
                                        <p:cTn id="40" dur="1000" fill="hold"/>
                                        <p:tgtEl>
                                          <p:spTgt spid="57"/>
                                        </p:tgtEl>
                                        <p:attrNameLst>
                                          <p:attrName>ppt_x</p:attrName>
                                        </p:attrNameLst>
                                      </p:cBhvr>
                                      <p:tavLst>
                                        <p:tav tm="0">
                                          <p:val>
                                            <p:strVal val="#ppt_x"/>
                                          </p:val>
                                        </p:tav>
                                        <p:tav tm="100000">
                                          <p:val>
                                            <p:strVal val="#ppt_x"/>
                                          </p:val>
                                        </p:tav>
                                      </p:tavLst>
                                    </p:anim>
                                    <p:anim calcmode="lin" valueType="num">
                                      <p:cBhvr>
                                        <p:cTn id="41" dur="1000" fill="hold"/>
                                        <p:tgtEl>
                                          <p:spTgt spid="57"/>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59"/>
                                        </p:tgtEl>
                                        <p:attrNameLst>
                                          <p:attrName>style.visibility</p:attrName>
                                        </p:attrNameLst>
                                      </p:cBhvr>
                                      <p:to>
                                        <p:strVal val="visible"/>
                                      </p:to>
                                    </p:set>
                                    <p:animEffect transition="in" filter="fade">
                                      <p:cBhvr>
                                        <p:cTn id="44" dur="1000"/>
                                        <p:tgtEl>
                                          <p:spTgt spid="59"/>
                                        </p:tgtEl>
                                      </p:cBhvr>
                                    </p:animEffect>
                                    <p:anim calcmode="lin" valueType="num">
                                      <p:cBhvr>
                                        <p:cTn id="45" dur="1000" fill="hold"/>
                                        <p:tgtEl>
                                          <p:spTgt spid="59"/>
                                        </p:tgtEl>
                                        <p:attrNameLst>
                                          <p:attrName>ppt_x</p:attrName>
                                        </p:attrNameLst>
                                      </p:cBhvr>
                                      <p:tavLst>
                                        <p:tav tm="0">
                                          <p:val>
                                            <p:strVal val="#ppt_x"/>
                                          </p:val>
                                        </p:tav>
                                        <p:tav tm="100000">
                                          <p:val>
                                            <p:strVal val="#ppt_x"/>
                                          </p:val>
                                        </p:tav>
                                      </p:tavLst>
                                    </p:anim>
                                    <p:anim calcmode="lin" valueType="num">
                                      <p:cBhvr>
                                        <p:cTn id="46" dur="1000" fill="hold"/>
                                        <p:tgtEl>
                                          <p:spTgt spid="5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P spid="58" grpId="0" animBg="1"/>
      <p:bldP spid="59" grpId="0" animBg="1"/>
      <p:bldP spid="60"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      Business Critical</a:t>
            </a:r>
          </a:p>
        </p:txBody>
      </p:sp>
      <p:grpSp>
        <p:nvGrpSpPr>
          <p:cNvPr id="5" name="Group 4">
            <a:extLst>
              <a:ext uri="{FF2B5EF4-FFF2-40B4-BE49-F238E27FC236}">
                <a16:creationId xmlns:a16="http://schemas.microsoft.com/office/drawing/2014/main" id="{9FE57B5C-127F-4256-9B0A-27DF2022ECC8}"/>
              </a:ext>
            </a:extLst>
          </p:cNvPr>
          <p:cNvGrpSpPr/>
          <p:nvPr/>
        </p:nvGrpSpPr>
        <p:grpSpPr>
          <a:xfrm>
            <a:off x="655637" y="365235"/>
            <a:ext cx="515116" cy="371273"/>
            <a:chOff x="0" y="0"/>
            <a:chExt cx="854772" cy="827284"/>
          </a:xfrm>
        </p:grpSpPr>
        <p:sp>
          <p:nvSpPr>
            <p:cNvPr id="6" name="Freeform 182">
              <a:extLst>
                <a:ext uri="{FF2B5EF4-FFF2-40B4-BE49-F238E27FC236}">
                  <a16:creationId xmlns:a16="http://schemas.microsoft.com/office/drawing/2014/main" id="{A743E250-2B8A-4463-9E17-6F0B3D4AA923}"/>
                </a:ext>
              </a:extLst>
            </p:cNvPr>
            <p:cNvSpPr/>
            <p:nvPr/>
          </p:nvSpPr>
          <p:spPr bwMode="auto">
            <a:xfrm>
              <a:off x="0" y="0"/>
              <a:ext cx="645030" cy="82728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137141" tIns="109712" rIns="137141" bIns="109712"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99220" fontAlgn="base">
                <a:lnSpc>
                  <a:spcPct val="90000"/>
                </a:lnSpc>
                <a:spcBef>
                  <a:spcPct val="0"/>
                </a:spcBef>
                <a:spcAft>
                  <a:spcPct val="0"/>
                </a:spcAft>
                <a:defRPr/>
              </a:pPr>
              <a:endParaRPr lang="en-US" sz="18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Freeform 121">
              <a:extLst>
                <a:ext uri="{FF2B5EF4-FFF2-40B4-BE49-F238E27FC236}">
                  <a16:creationId xmlns:a16="http://schemas.microsoft.com/office/drawing/2014/main" id="{D75D6B9C-A61E-4865-8488-EA9E954F6E55}"/>
                </a:ext>
              </a:extLst>
            </p:cNvPr>
            <p:cNvSpPr>
              <a:spLocks noChangeAspect="1"/>
            </p:cNvSpPr>
            <p:nvPr/>
          </p:nvSpPr>
          <p:spPr bwMode="black">
            <a:xfrm rot="5400000" flipH="1">
              <a:off x="367841" y="256150"/>
              <a:ext cx="554377" cy="419485"/>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 name="connsiteX0" fmla="*/ 4839 w 10000"/>
                <a:gd name="connsiteY0" fmla="*/ 10000 h 10000"/>
                <a:gd name="connsiteX1" fmla="*/ 1452 w 10000"/>
                <a:gd name="connsiteY1" fmla="*/ 6747 h 10000"/>
                <a:gd name="connsiteX2" fmla="*/ 5645 w 10000"/>
                <a:gd name="connsiteY2" fmla="*/ 3735 h 10000"/>
                <a:gd name="connsiteX3" fmla="*/ 5645 w 10000"/>
                <a:gd name="connsiteY3" fmla="*/ 5663 h 10000"/>
                <a:gd name="connsiteX4" fmla="*/ 10000 w 10000"/>
                <a:gd name="connsiteY4" fmla="*/ 2771 h 10000"/>
                <a:gd name="connsiteX5" fmla="*/ 5645 w 10000"/>
                <a:gd name="connsiteY5" fmla="*/ 0 h 10000"/>
                <a:gd name="connsiteX6" fmla="*/ 5645 w 10000"/>
                <a:gd name="connsiteY6" fmla="*/ 1807 h 10000"/>
                <a:gd name="connsiteX7" fmla="*/ 5484 w 10000"/>
                <a:gd name="connsiteY7" fmla="*/ 1807 h 10000"/>
                <a:gd name="connsiteX8" fmla="*/ 0 w 10000"/>
                <a:gd name="connsiteY8" fmla="*/ 6024 h 10000"/>
                <a:gd name="connsiteX9" fmla="*/ 4839 w 10000"/>
                <a:gd name="connsiteY9" fmla="*/ 10000 h 10000"/>
                <a:gd name="connsiteX0" fmla="*/ 197 w 10197"/>
                <a:gd name="connsiteY0" fmla="*/ 6024 h 6914"/>
                <a:gd name="connsiteX1" fmla="*/ 1649 w 10197"/>
                <a:gd name="connsiteY1" fmla="*/ 6747 h 6914"/>
                <a:gd name="connsiteX2" fmla="*/ 5842 w 10197"/>
                <a:gd name="connsiteY2" fmla="*/ 3735 h 6914"/>
                <a:gd name="connsiteX3" fmla="*/ 5842 w 10197"/>
                <a:gd name="connsiteY3" fmla="*/ 5663 h 6914"/>
                <a:gd name="connsiteX4" fmla="*/ 10197 w 10197"/>
                <a:gd name="connsiteY4" fmla="*/ 2771 h 6914"/>
                <a:gd name="connsiteX5" fmla="*/ 5842 w 10197"/>
                <a:gd name="connsiteY5" fmla="*/ 0 h 6914"/>
                <a:gd name="connsiteX6" fmla="*/ 5842 w 10197"/>
                <a:gd name="connsiteY6" fmla="*/ 1807 h 6914"/>
                <a:gd name="connsiteX7" fmla="*/ 5681 w 10197"/>
                <a:gd name="connsiteY7" fmla="*/ 1807 h 6914"/>
                <a:gd name="connsiteX8" fmla="*/ 197 w 10197"/>
                <a:gd name="connsiteY8" fmla="*/ 6024 h 6914"/>
                <a:gd name="connsiteX0" fmla="*/ 89 w 12307"/>
                <a:gd name="connsiteY0" fmla="*/ 8581 h 9965"/>
                <a:gd name="connsiteX1" fmla="*/ 3924 w 12307"/>
                <a:gd name="connsiteY1" fmla="*/ 9758 h 9965"/>
                <a:gd name="connsiteX2" fmla="*/ 8036 w 12307"/>
                <a:gd name="connsiteY2" fmla="*/ 5402 h 9965"/>
                <a:gd name="connsiteX3" fmla="*/ 8036 w 12307"/>
                <a:gd name="connsiteY3" fmla="*/ 8191 h 9965"/>
                <a:gd name="connsiteX4" fmla="*/ 12307 w 12307"/>
                <a:gd name="connsiteY4" fmla="*/ 4008 h 9965"/>
                <a:gd name="connsiteX5" fmla="*/ 8036 w 12307"/>
                <a:gd name="connsiteY5" fmla="*/ 0 h 9965"/>
                <a:gd name="connsiteX6" fmla="*/ 8036 w 12307"/>
                <a:gd name="connsiteY6" fmla="*/ 2614 h 9965"/>
                <a:gd name="connsiteX7" fmla="*/ 7878 w 12307"/>
                <a:gd name="connsiteY7" fmla="*/ 2614 h 9965"/>
                <a:gd name="connsiteX8" fmla="*/ 89 w 12307"/>
                <a:gd name="connsiteY8" fmla="*/ 8581 h 9965"/>
                <a:gd name="connsiteX0" fmla="*/ 77 w 10005"/>
                <a:gd name="connsiteY0" fmla="*/ 8611 h 10000"/>
                <a:gd name="connsiteX1" fmla="*/ 3193 w 10005"/>
                <a:gd name="connsiteY1" fmla="*/ 9792 h 10000"/>
                <a:gd name="connsiteX2" fmla="*/ 6535 w 10005"/>
                <a:gd name="connsiteY2" fmla="*/ 5421 h 10000"/>
                <a:gd name="connsiteX3" fmla="*/ 6535 w 10005"/>
                <a:gd name="connsiteY3" fmla="*/ 8220 h 10000"/>
                <a:gd name="connsiteX4" fmla="*/ 10005 w 10005"/>
                <a:gd name="connsiteY4" fmla="*/ 4022 h 10000"/>
                <a:gd name="connsiteX5" fmla="*/ 6535 w 10005"/>
                <a:gd name="connsiteY5" fmla="*/ 0 h 10000"/>
                <a:gd name="connsiteX6" fmla="*/ 6535 w 10005"/>
                <a:gd name="connsiteY6" fmla="*/ 2623 h 10000"/>
                <a:gd name="connsiteX7" fmla="*/ 77 w 10005"/>
                <a:gd name="connsiteY7" fmla="*/ 8611 h 10000"/>
                <a:gd name="connsiteX0" fmla="*/ 0 w 9928"/>
                <a:gd name="connsiteY0" fmla="*/ 8611 h 8652"/>
                <a:gd name="connsiteX1" fmla="*/ 6458 w 9928"/>
                <a:gd name="connsiteY1" fmla="*/ 5421 h 8652"/>
                <a:gd name="connsiteX2" fmla="*/ 6458 w 9928"/>
                <a:gd name="connsiteY2" fmla="*/ 8220 h 8652"/>
                <a:gd name="connsiteX3" fmla="*/ 9928 w 9928"/>
                <a:gd name="connsiteY3" fmla="*/ 4022 h 8652"/>
                <a:gd name="connsiteX4" fmla="*/ 6458 w 9928"/>
                <a:gd name="connsiteY4" fmla="*/ 0 h 8652"/>
                <a:gd name="connsiteX5" fmla="*/ 6458 w 9928"/>
                <a:gd name="connsiteY5" fmla="*/ 2623 h 8652"/>
                <a:gd name="connsiteX6" fmla="*/ 0 w 9928"/>
                <a:gd name="connsiteY6" fmla="*/ 8611 h 8652"/>
                <a:gd name="connsiteX0" fmla="*/ 0 w 10025"/>
                <a:gd name="connsiteY0" fmla="*/ 9224 h 9501"/>
                <a:gd name="connsiteX1" fmla="*/ 6530 w 10025"/>
                <a:gd name="connsiteY1" fmla="*/ 6266 h 9501"/>
                <a:gd name="connsiteX2" fmla="*/ 6530 w 10025"/>
                <a:gd name="connsiteY2" fmla="*/ 9501 h 9501"/>
                <a:gd name="connsiteX3" fmla="*/ 10025 w 10025"/>
                <a:gd name="connsiteY3" fmla="*/ 4649 h 9501"/>
                <a:gd name="connsiteX4" fmla="*/ 6530 w 10025"/>
                <a:gd name="connsiteY4" fmla="*/ 0 h 9501"/>
                <a:gd name="connsiteX5" fmla="*/ 6530 w 10025"/>
                <a:gd name="connsiteY5" fmla="*/ 3032 h 9501"/>
                <a:gd name="connsiteX6" fmla="*/ 0 w 10025"/>
                <a:gd name="connsiteY6" fmla="*/ 9224 h 9501"/>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9951"/>
                <a:gd name="connsiteY0" fmla="*/ 10354 h 10354"/>
                <a:gd name="connsiteX1" fmla="*/ 6465 w 9951"/>
                <a:gd name="connsiteY1" fmla="*/ 6595 h 10354"/>
                <a:gd name="connsiteX2" fmla="*/ 6465 w 9951"/>
                <a:gd name="connsiteY2" fmla="*/ 10000 h 10354"/>
                <a:gd name="connsiteX3" fmla="*/ 9951 w 9951"/>
                <a:gd name="connsiteY3" fmla="*/ 4893 h 10354"/>
                <a:gd name="connsiteX4" fmla="*/ 6465 w 9951"/>
                <a:gd name="connsiteY4" fmla="*/ 0 h 10354"/>
                <a:gd name="connsiteX5" fmla="*/ 6465 w 9951"/>
                <a:gd name="connsiteY5" fmla="*/ 3191 h 10354"/>
                <a:gd name="connsiteX6" fmla="*/ 0 w 9951"/>
                <a:gd name="connsiteY6" fmla="*/ 10354 h 10354"/>
                <a:gd name="connsiteX0" fmla="*/ 0 w 10000"/>
                <a:gd name="connsiteY0" fmla="*/ 10000 h 10000"/>
                <a:gd name="connsiteX1" fmla="*/ 6497 w 10000"/>
                <a:gd name="connsiteY1" fmla="*/ 6370 h 10000"/>
                <a:gd name="connsiteX2" fmla="*/ 6497 w 10000"/>
                <a:gd name="connsiteY2" fmla="*/ 9658 h 10000"/>
                <a:gd name="connsiteX3" fmla="*/ 10000 w 10000"/>
                <a:gd name="connsiteY3" fmla="*/ 4726 h 10000"/>
                <a:gd name="connsiteX4" fmla="*/ 6497 w 10000"/>
                <a:gd name="connsiteY4" fmla="*/ 0 h 10000"/>
                <a:gd name="connsiteX5" fmla="*/ 6497 w 10000"/>
                <a:gd name="connsiteY5" fmla="*/ 3082 h 10000"/>
                <a:gd name="connsiteX6" fmla="*/ 0 w 10000"/>
                <a:gd name="connsiteY6" fmla="*/ 10000 h 10000"/>
                <a:gd name="connsiteX0" fmla="*/ 0 w 10074"/>
                <a:gd name="connsiteY0" fmla="*/ 12029 h 12029"/>
                <a:gd name="connsiteX1" fmla="*/ 6571 w 10074"/>
                <a:gd name="connsiteY1" fmla="*/ 6370 h 12029"/>
                <a:gd name="connsiteX2" fmla="*/ 6571 w 10074"/>
                <a:gd name="connsiteY2" fmla="*/ 9658 h 12029"/>
                <a:gd name="connsiteX3" fmla="*/ 10074 w 10074"/>
                <a:gd name="connsiteY3" fmla="*/ 4726 h 12029"/>
                <a:gd name="connsiteX4" fmla="*/ 6571 w 10074"/>
                <a:gd name="connsiteY4" fmla="*/ 0 h 12029"/>
                <a:gd name="connsiteX5" fmla="*/ 6571 w 10074"/>
                <a:gd name="connsiteY5" fmla="*/ 3082 h 12029"/>
                <a:gd name="connsiteX6" fmla="*/ 0 w 10074"/>
                <a:gd name="connsiteY6" fmla="*/ 12029 h 12029"/>
                <a:gd name="connsiteX0" fmla="*/ 0 w 10074"/>
                <a:gd name="connsiteY0" fmla="*/ 12029 h 12029"/>
                <a:gd name="connsiteX1" fmla="*/ 6571 w 10074"/>
                <a:gd name="connsiteY1" fmla="*/ 6370 h 12029"/>
                <a:gd name="connsiteX2" fmla="*/ 6571 w 10074"/>
                <a:gd name="connsiteY2" fmla="*/ 9658 h 12029"/>
                <a:gd name="connsiteX3" fmla="*/ 10074 w 10074"/>
                <a:gd name="connsiteY3" fmla="*/ 4726 h 12029"/>
                <a:gd name="connsiteX4" fmla="*/ 6571 w 10074"/>
                <a:gd name="connsiteY4" fmla="*/ 0 h 12029"/>
                <a:gd name="connsiteX5" fmla="*/ 6571 w 10074"/>
                <a:gd name="connsiteY5" fmla="*/ 3082 h 12029"/>
                <a:gd name="connsiteX6" fmla="*/ 0 w 10074"/>
                <a:gd name="connsiteY6" fmla="*/ 12029 h 12029"/>
                <a:gd name="connsiteX0" fmla="*/ 0 w 10074"/>
                <a:gd name="connsiteY0" fmla="*/ 12029 h 12029"/>
                <a:gd name="connsiteX1" fmla="*/ 6571 w 10074"/>
                <a:gd name="connsiteY1" fmla="*/ 6370 h 12029"/>
                <a:gd name="connsiteX2" fmla="*/ 6571 w 10074"/>
                <a:gd name="connsiteY2" fmla="*/ 9658 h 12029"/>
                <a:gd name="connsiteX3" fmla="*/ 10074 w 10074"/>
                <a:gd name="connsiteY3" fmla="*/ 4726 h 12029"/>
                <a:gd name="connsiteX4" fmla="*/ 6571 w 10074"/>
                <a:gd name="connsiteY4" fmla="*/ 0 h 12029"/>
                <a:gd name="connsiteX5" fmla="*/ 6571 w 10074"/>
                <a:gd name="connsiteY5" fmla="*/ 3082 h 12029"/>
                <a:gd name="connsiteX6" fmla="*/ 0 w 10074"/>
                <a:gd name="connsiteY6" fmla="*/ 12029 h 12029"/>
                <a:gd name="connsiteX0" fmla="*/ 0 w 10074"/>
                <a:gd name="connsiteY0" fmla="*/ 12029 h 12029"/>
                <a:gd name="connsiteX1" fmla="*/ 6571 w 10074"/>
                <a:gd name="connsiteY1" fmla="*/ 6370 h 12029"/>
                <a:gd name="connsiteX2" fmla="*/ 6571 w 10074"/>
                <a:gd name="connsiteY2" fmla="*/ 9658 h 12029"/>
                <a:gd name="connsiteX3" fmla="*/ 10074 w 10074"/>
                <a:gd name="connsiteY3" fmla="*/ 4726 h 12029"/>
                <a:gd name="connsiteX4" fmla="*/ 6571 w 10074"/>
                <a:gd name="connsiteY4" fmla="*/ 0 h 12029"/>
                <a:gd name="connsiteX5" fmla="*/ 6571 w 10074"/>
                <a:gd name="connsiteY5" fmla="*/ 3082 h 12029"/>
                <a:gd name="connsiteX6" fmla="*/ 0 w 10074"/>
                <a:gd name="connsiteY6" fmla="*/ 12029 h 12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74" h="12029">
                  <a:moveTo>
                    <a:pt x="0" y="12029"/>
                  </a:moveTo>
                  <a:cubicBezTo>
                    <a:pt x="1929" y="7777"/>
                    <a:pt x="5476" y="6765"/>
                    <a:pt x="6571" y="6370"/>
                  </a:cubicBezTo>
                  <a:lnTo>
                    <a:pt x="6571" y="9658"/>
                  </a:lnTo>
                  <a:lnTo>
                    <a:pt x="10074" y="4726"/>
                  </a:lnTo>
                  <a:lnTo>
                    <a:pt x="6571" y="0"/>
                  </a:lnTo>
                  <a:lnTo>
                    <a:pt x="6571" y="3082"/>
                  </a:lnTo>
                  <a:cubicBezTo>
                    <a:pt x="3841" y="3185"/>
                    <a:pt x="1048" y="5994"/>
                    <a:pt x="0" y="12029"/>
                  </a:cubicBezTo>
                  <a:close/>
                </a:path>
              </a:pathLst>
            </a:custGeom>
            <a:solidFill>
              <a:srgbClr val="50E6FF"/>
            </a:solidFill>
            <a:ln>
              <a:noFill/>
            </a:ln>
          </p:spPr>
          <p:txBody>
            <a:bodyPr vert="horz" wrap="square" lIns="68573" tIns="34287" rIns="68573" bIns="3428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85643">
                <a:defRPr/>
              </a:pPr>
              <a:endParaRPr lang="en-US" sz="1323" kern="0">
                <a:solidFill>
                  <a:srgbClr val="000000"/>
                </a:solidFill>
                <a:latin typeface="Segoe UI"/>
              </a:endParaRPr>
            </a:p>
          </p:txBody>
        </p:sp>
      </p:grpSp>
      <p:sp>
        <p:nvSpPr>
          <p:cNvPr id="10" name="Circle: Hollow 9">
            <a:extLst>
              <a:ext uri="{FF2B5EF4-FFF2-40B4-BE49-F238E27FC236}">
                <a16:creationId xmlns:a16="http://schemas.microsoft.com/office/drawing/2014/main" id="{0380E9C7-5CE5-4819-92D1-4AC17221379C}"/>
              </a:ext>
            </a:extLst>
          </p:cNvPr>
          <p:cNvSpPr/>
          <p:nvPr/>
        </p:nvSpPr>
        <p:spPr bwMode="auto">
          <a:xfrm>
            <a:off x="7118871" y="2184236"/>
            <a:ext cx="3656562" cy="3656562"/>
          </a:xfrm>
          <a:prstGeom prst="donut">
            <a:avLst>
              <a:gd name="adj" fmla="val 6910"/>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a:endParaRPr>
          </a:p>
        </p:txBody>
      </p:sp>
      <p:sp>
        <p:nvSpPr>
          <p:cNvPr id="11" name="TextBox 10">
            <a:extLst>
              <a:ext uri="{FF2B5EF4-FFF2-40B4-BE49-F238E27FC236}">
                <a16:creationId xmlns:a16="http://schemas.microsoft.com/office/drawing/2014/main" id="{DC8A9DD2-E5FA-4467-8DD2-6474AAD1F77C}"/>
              </a:ext>
            </a:extLst>
          </p:cNvPr>
          <p:cNvSpPr txBox="1"/>
          <p:nvPr/>
        </p:nvSpPr>
        <p:spPr>
          <a:xfrm>
            <a:off x="6662443" y="6339403"/>
            <a:ext cx="5224757" cy="289997"/>
          </a:xfrm>
          <a:prstGeom prst="rect">
            <a:avLst/>
          </a:prstGeom>
          <a:noFill/>
        </p:spPr>
        <p:txBody>
          <a:bodyPr wrap="none" lIns="91414" tIns="45706" rIns="91414" bIns="45706" rtlCol="0">
            <a:spAutoFit/>
          </a:bodyPr>
          <a:lstStyle/>
          <a:p>
            <a:pPr defTabSz="914192">
              <a:lnSpc>
                <a:spcPct val="90000"/>
              </a:lnSpc>
              <a:spcAft>
                <a:spcPts val="600"/>
              </a:spcAft>
              <a:defRPr/>
            </a:pPr>
            <a:r>
              <a:rPr lang="en-US" sz="1400">
                <a:solidFill>
                  <a:srgbClr val="000000"/>
                </a:solidFill>
                <a:latin typeface="Segoe UI Semibold" panose="020B0702040204020203" pitchFamily="34" charset="0"/>
                <a:cs typeface="Segoe UI Semibold" panose="020B0702040204020203" pitchFamily="34" charset="0"/>
              </a:rPr>
              <a:t>Business Critical service tier: collocated compute and storage</a:t>
            </a:r>
          </a:p>
        </p:txBody>
      </p:sp>
      <p:sp>
        <p:nvSpPr>
          <p:cNvPr id="12" name="TextBox 11">
            <a:extLst>
              <a:ext uri="{FF2B5EF4-FFF2-40B4-BE49-F238E27FC236}">
                <a16:creationId xmlns:a16="http://schemas.microsoft.com/office/drawing/2014/main" id="{B3206252-431B-453D-9991-4631A172520A}"/>
              </a:ext>
            </a:extLst>
          </p:cNvPr>
          <p:cNvSpPr txBox="1"/>
          <p:nvPr/>
        </p:nvSpPr>
        <p:spPr>
          <a:xfrm>
            <a:off x="6661797" y="1457610"/>
            <a:ext cx="1429665" cy="508200"/>
          </a:xfrm>
          <a:prstGeom prst="rect">
            <a:avLst/>
          </a:prstGeom>
          <a:noFill/>
        </p:spPr>
        <p:txBody>
          <a:bodyPr wrap="none" lIns="91414" tIns="45706" rIns="91414" bIns="45706" rtlCol="0">
            <a:spAutoFit/>
          </a:bodyPr>
          <a:lstStyle/>
          <a:p>
            <a:pPr defTabSz="914192">
              <a:lnSpc>
                <a:spcPct val="90000"/>
              </a:lnSpc>
              <a:spcAft>
                <a:spcPts val="600"/>
              </a:spcAft>
              <a:defRPr/>
            </a:pPr>
            <a:r>
              <a:rPr lang="en-US" sz="1200">
                <a:gradFill>
                  <a:gsLst>
                    <a:gs pos="2917">
                      <a:prstClr val="black"/>
                    </a:gs>
                    <a:gs pos="30000">
                      <a:prstClr val="black"/>
                    </a:gs>
                  </a:gsLst>
                  <a:lin ang="5400000" scaled="0"/>
                </a:gradFill>
                <a:latin typeface="Segoe UI Semibold" panose="020B0702040204020203" pitchFamily="34" charset="0"/>
                <a:cs typeface="Segoe UI Semibold" panose="020B0702040204020203" pitchFamily="34" charset="0"/>
              </a:rPr>
              <a:t>Primary endpoint</a:t>
            </a:r>
          </a:p>
          <a:p>
            <a:pPr defTabSz="914192">
              <a:lnSpc>
                <a:spcPct val="90000"/>
              </a:lnSpc>
              <a:spcAft>
                <a:spcPts val="600"/>
              </a:spcAft>
              <a:defRPr/>
            </a:pPr>
            <a:r>
              <a:rPr lang="en-US" sz="1200">
                <a:gradFill>
                  <a:gsLst>
                    <a:gs pos="2917">
                      <a:prstClr val="black"/>
                    </a:gs>
                    <a:gs pos="30000">
                      <a:prstClr val="black"/>
                    </a:gs>
                  </a:gsLst>
                  <a:lin ang="5400000" scaled="0"/>
                </a:gradFill>
                <a:latin typeface="Segoe UI Semibold" panose="020B0702040204020203" pitchFamily="34" charset="0"/>
                <a:cs typeface="Segoe UI Semibold" panose="020B0702040204020203" pitchFamily="34" charset="0"/>
              </a:rPr>
              <a:t>(read-write)</a:t>
            </a:r>
          </a:p>
        </p:txBody>
      </p:sp>
      <p:sp>
        <p:nvSpPr>
          <p:cNvPr id="13" name="TextBox 12">
            <a:extLst>
              <a:ext uri="{FF2B5EF4-FFF2-40B4-BE49-F238E27FC236}">
                <a16:creationId xmlns:a16="http://schemas.microsoft.com/office/drawing/2014/main" id="{FAEA30B0-BC74-43E8-9540-FD3C6FBAEE6B}"/>
              </a:ext>
            </a:extLst>
          </p:cNvPr>
          <p:cNvSpPr txBox="1"/>
          <p:nvPr/>
        </p:nvSpPr>
        <p:spPr>
          <a:xfrm>
            <a:off x="9568294" y="1457610"/>
            <a:ext cx="1595497" cy="508200"/>
          </a:xfrm>
          <a:prstGeom prst="rect">
            <a:avLst/>
          </a:prstGeom>
          <a:noFill/>
        </p:spPr>
        <p:txBody>
          <a:bodyPr wrap="none" lIns="91414" tIns="45706" rIns="91414" bIns="45706" rtlCol="0">
            <a:spAutoFit/>
          </a:bodyPr>
          <a:lstStyle/>
          <a:p>
            <a:pPr defTabSz="914192">
              <a:lnSpc>
                <a:spcPct val="90000"/>
              </a:lnSpc>
              <a:spcAft>
                <a:spcPts val="600"/>
              </a:spcAft>
              <a:defRPr/>
            </a:pPr>
            <a:r>
              <a:rPr lang="en-US" sz="1200">
                <a:gradFill>
                  <a:gsLst>
                    <a:gs pos="2917">
                      <a:prstClr val="black"/>
                    </a:gs>
                    <a:gs pos="30000">
                      <a:prstClr val="black"/>
                    </a:gs>
                  </a:gsLst>
                  <a:lin ang="5400000" scaled="0"/>
                </a:gradFill>
                <a:latin typeface="Segoe UI Semibold" panose="020B0702040204020203" pitchFamily="34" charset="0"/>
                <a:cs typeface="Segoe UI Semibold" panose="020B0702040204020203" pitchFamily="34" charset="0"/>
              </a:rPr>
              <a:t>Read-only endpoint</a:t>
            </a:r>
          </a:p>
          <a:p>
            <a:pPr defTabSz="914192">
              <a:lnSpc>
                <a:spcPct val="90000"/>
              </a:lnSpc>
              <a:spcAft>
                <a:spcPts val="600"/>
              </a:spcAft>
              <a:defRPr/>
            </a:pPr>
            <a:endParaRPr lang="en-US" sz="1200">
              <a:gradFill>
                <a:gsLst>
                  <a:gs pos="2917">
                    <a:prstClr val="black"/>
                  </a:gs>
                  <a:gs pos="30000">
                    <a:prstClr val="black"/>
                  </a:gs>
                </a:gsLst>
                <a:lin ang="5400000" scaled="0"/>
              </a:gradFill>
              <a:latin typeface="Segoe UI Semibold" panose="020B0702040204020203" pitchFamily="34" charset="0"/>
              <a:cs typeface="Segoe UI Semibold" panose="020B0702040204020203" pitchFamily="34" charset="0"/>
            </a:endParaRPr>
          </a:p>
        </p:txBody>
      </p:sp>
      <p:cxnSp>
        <p:nvCxnSpPr>
          <p:cNvPr id="14" name="Straight Arrow Connector 13">
            <a:extLst>
              <a:ext uri="{FF2B5EF4-FFF2-40B4-BE49-F238E27FC236}">
                <a16:creationId xmlns:a16="http://schemas.microsoft.com/office/drawing/2014/main" id="{4F8E2269-EAD6-4134-88F0-E9850E22354B}"/>
              </a:ext>
            </a:extLst>
          </p:cNvPr>
          <p:cNvCxnSpPr>
            <a:cxnSpLocks/>
          </p:cNvCxnSpPr>
          <p:nvPr/>
        </p:nvCxnSpPr>
        <p:spPr>
          <a:xfrm flipV="1">
            <a:off x="6896194" y="1985001"/>
            <a:ext cx="0" cy="867261"/>
          </a:xfrm>
          <a:prstGeom prst="straightConnector1">
            <a:avLst/>
          </a:prstGeom>
          <a:ln>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1BD164A7-0A3C-4724-AACD-E360B53BA7D0}"/>
              </a:ext>
            </a:extLst>
          </p:cNvPr>
          <p:cNvCxnSpPr/>
          <p:nvPr/>
        </p:nvCxnSpPr>
        <p:spPr>
          <a:xfrm flipV="1">
            <a:off x="10834031" y="1785763"/>
            <a:ext cx="0" cy="1101656"/>
          </a:xfrm>
          <a:prstGeom prst="straightConnector1">
            <a:avLst/>
          </a:prstGeom>
          <a:ln>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1947A04-C1F6-43AC-9273-2090A9A2624C}"/>
              </a:ext>
            </a:extLst>
          </p:cNvPr>
          <p:cNvSpPr txBox="1"/>
          <p:nvPr/>
        </p:nvSpPr>
        <p:spPr>
          <a:xfrm>
            <a:off x="8372884" y="2207675"/>
            <a:ext cx="1160116" cy="261793"/>
          </a:xfrm>
          <a:prstGeom prst="rect">
            <a:avLst/>
          </a:prstGeom>
          <a:noFill/>
        </p:spPr>
        <p:txBody>
          <a:bodyPr wrap="none" lIns="91414" tIns="45706" rIns="91414" bIns="45706" rtlCol="0">
            <a:spAutoFit/>
          </a:bodyPr>
          <a:lstStyle/>
          <a:p>
            <a:pPr defTabSz="914192">
              <a:lnSpc>
                <a:spcPct val="90000"/>
              </a:lnSpc>
              <a:spcAft>
                <a:spcPts val="600"/>
              </a:spcAft>
              <a:defRPr/>
            </a:pPr>
            <a:r>
              <a:rPr lang="en-US" sz="1200">
                <a:solidFill>
                  <a:prstClr val="white"/>
                </a:solidFill>
                <a:latin typeface="Segoe UI"/>
              </a:rPr>
              <a:t>Always On AG</a:t>
            </a:r>
          </a:p>
        </p:txBody>
      </p:sp>
      <p:grpSp>
        <p:nvGrpSpPr>
          <p:cNvPr id="17" name="Group 16">
            <a:extLst>
              <a:ext uri="{FF2B5EF4-FFF2-40B4-BE49-F238E27FC236}">
                <a16:creationId xmlns:a16="http://schemas.microsoft.com/office/drawing/2014/main" id="{9B3C532A-27A1-47BC-97A3-2F42EA094F8C}"/>
              </a:ext>
            </a:extLst>
          </p:cNvPr>
          <p:cNvGrpSpPr/>
          <p:nvPr/>
        </p:nvGrpSpPr>
        <p:grpSpPr>
          <a:xfrm>
            <a:off x="6755556" y="2934300"/>
            <a:ext cx="1605607" cy="796943"/>
            <a:chOff x="6107723" y="1934307"/>
            <a:chExt cx="1606062" cy="797169"/>
          </a:xfrm>
        </p:grpSpPr>
        <p:sp>
          <p:nvSpPr>
            <p:cNvPr id="18" name="Rectangle 17">
              <a:extLst>
                <a:ext uri="{FF2B5EF4-FFF2-40B4-BE49-F238E27FC236}">
                  <a16:creationId xmlns:a16="http://schemas.microsoft.com/office/drawing/2014/main" id="{8E77AA9F-7847-4F8E-98DD-DFD632A06643}"/>
                </a:ext>
              </a:extLst>
            </p:cNvPr>
            <p:cNvSpPr/>
            <p:nvPr/>
          </p:nvSpPr>
          <p:spPr bwMode="auto">
            <a:xfrm>
              <a:off x="6107723" y="1934307"/>
              <a:ext cx="1606062" cy="797169"/>
            </a:xfrm>
            <a:prstGeom prst="rect">
              <a:avLst/>
            </a:prstGeom>
            <a:solidFill>
              <a:srgbClr val="FFFFFF"/>
            </a:solidFill>
            <a:ln w="10795" cap="flat" cmpd="sng" algn="ctr">
              <a:solidFill>
                <a:srgbClr val="3C3C41"/>
              </a:solidFill>
              <a:prstDash val="dash"/>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grpSp>
          <p:nvGrpSpPr>
            <p:cNvPr id="19" name="Group 18">
              <a:extLst>
                <a:ext uri="{FF2B5EF4-FFF2-40B4-BE49-F238E27FC236}">
                  <a16:creationId xmlns:a16="http://schemas.microsoft.com/office/drawing/2014/main" id="{6489D17C-32EF-4EB5-A0B4-B574F6798D3D}"/>
                </a:ext>
              </a:extLst>
            </p:cNvPr>
            <p:cNvGrpSpPr/>
            <p:nvPr/>
          </p:nvGrpSpPr>
          <p:grpSpPr>
            <a:xfrm>
              <a:off x="6227461" y="2137770"/>
              <a:ext cx="1364983" cy="477836"/>
              <a:chOff x="7141861" y="2360511"/>
              <a:chExt cx="1364983" cy="477836"/>
            </a:xfrm>
          </p:grpSpPr>
          <p:grpSp>
            <p:nvGrpSpPr>
              <p:cNvPr id="20" name="Group 19">
                <a:extLst>
                  <a:ext uri="{FF2B5EF4-FFF2-40B4-BE49-F238E27FC236}">
                    <a16:creationId xmlns:a16="http://schemas.microsoft.com/office/drawing/2014/main" id="{E182AC07-A84C-4E31-8A29-096803EEFCB7}"/>
                  </a:ext>
                </a:extLst>
              </p:cNvPr>
              <p:cNvGrpSpPr/>
              <p:nvPr/>
            </p:nvGrpSpPr>
            <p:grpSpPr>
              <a:xfrm>
                <a:off x="7141861" y="2360511"/>
                <a:ext cx="464775" cy="477836"/>
                <a:chOff x="2776302" y="4657642"/>
                <a:chExt cx="1550488" cy="1594059"/>
              </a:xfrm>
            </p:grpSpPr>
            <p:sp>
              <p:nvSpPr>
                <p:cNvPr id="31" name="Cylinder 812">
                  <a:extLst>
                    <a:ext uri="{FF2B5EF4-FFF2-40B4-BE49-F238E27FC236}">
                      <a16:creationId xmlns:a16="http://schemas.microsoft.com/office/drawing/2014/main" id="{0F8CEF87-55A6-469A-BA8E-BB2506F030D8}"/>
                    </a:ext>
                  </a:extLst>
                </p:cNvPr>
                <p:cNvSpPr/>
                <p:nvPr/>
              </p:nvSpPr>
              <p:spPr bwMode="auto">
                <a:xfrm>
                  <a:off x="2776302" y="4657642"/>
                  <a:ext cx="1043832" cy="1371349"/>
                </a:xfrm>
                <a:prstGeom prst="can">
                  <a:avLst>
                    <a:gd name="adj" fmla="val 39530"/>
                  </a:avLst>
                </a:prstGeom>
                <a:solidFill>
                  <a:srgbClr val="FFFFFF"/>
                </a:solidFill>
                <a:ln w="12700" cap="flat" cmpd="sng" algn="ctr">
                  <a:solidFill>
                    <a:srgbClr val="3C3C41"/>
                  </a:solidFill>
                  <a:prstDash val="solid"/>
                  <a:headEnd type="none" w="med" len="med"/>
                  <a:tailEnd type="none" w="med" len="med"/>
                </a:ln>
                <a:effectLst/>
              </p:spPr>
              <p:txBody>
                <a:bodyPr rot="0" spcFirstLastPara="0" vertOverflow="overflow" horzOverflow="overflow" vert="horz" wrap="square" lIns="0" tIns="146263" rIns="0"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900" kern="0">
                      <a:solidFill>
                        <a:srgbClr val="3C3C41"/>
                      </a:solidFill>
                      <a:latin typeface="Segoe UI Semibold"/>
                      <a:ea typeface="Segoe UI" pitchFamily="34" charset="0"/>
                      <a:cs typeface="Segoe UI Semilight" panose="020B0402040204020203" pitchFamily="34" charset="0"/>
                    </a:rPr>
                    <a:t>SQL</a:t>
                  </a:r>
                </a:p>
              </p:txBody>
            </p:sp>
            <p:sp>
              <p:nvSpPr>
                <p:cNvPr id="32" name="Freeform 146">
                  <a:extLst>
                    <a:ext uri="{FF2B5EF4-FFF2-40B4-BE49-F238E27FC236}">
                      <a16:creationId xmlns:a16="http://schemas.microsoft.com/office/drawing/2014/main" id="{4E21F3F4-16AF-4118-A407-584DB1D427F1}"/>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0070C0"/>
                </a:solidFill>
                <a:ln w="12700" cap="flat" cmpd="sng" algn="ctr">
                  <a:noFill/>
                  <a:prstDash val="solid"/>
                  <a:miter lim="800000"/>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IN" b="1" kern="0">
                    <a:solidFill>
                      <a:srgbClr val="0078D7"/>
                    </a:solidFill>
                    <a:latin typeface="Segoe UI Semilight" panose="020B0402040204020203" pitchFamily="34" charset="0"/>
                    <a:ea typeface="Segoe UI" pitchFamily="34" charset="0"/>
                    <a:cs typeface="Segoe UI Semilight" panose="020B0402040204020203" pitchFamily="34" charset="0"/>
                  </a:endParaRPr>
                </a:p>
              </p:txBody>
            </p:sp>
          </p:grpSp>
          <p:sp>
            <p:nvSpPr>
              <p:cNvPr id="21" name="Rectangle: Rounded Corners 20">
                <a:extLst>
                  <a:ext uri="{FF2B5EF4-FFF2-40B4-BE49-F238E27FC236}">
                    <a16:creationId xmlns:a16="http://schemas.microsoft.com/office/drawing/2014/main" id="{6FC3473F-9F5E-4843-81CD-B0040392BEB0}"/>
                  </a:ext>
                </a:extLst>
              </p:cNvPr>
              <p:cNvSpPr/>
              <p:nvPr/>
            </p:nvSpPr>
            <p:spPr bwMode="auto">
              <a:xfrm rot="16200000">
                <a:off x="8131705" y="2371201"/>
                <a:ext cx="281355" cy="468923"/>
              </a:xfrm>
              <a:prstGeom prst="roundRect">
                <a:avLst/>
              </a:prstGeom>
              <a:no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2" name="Rectangle: Rounded Corners 21">
                <a:extLst>
                  <a:ext uri="{FF2B5EF4-FFF2-40B4-BE49-F238E27FC236}">
                    <a16:creationId xmlns:a16="http://schemas.microsoft.com/office/drawing/2014/main" id="{108B6C7A-3D74-42B2-8BFF-4FA72FCE4FC2}"/>
                  </a:ext>
                </a:extLst>
              </p:cNvPr>
              <p:cNvSpPr/>
              <p:nvPr/>
            </p:nvSpPr>
            <p:spPr bwMode="auto">
              <a:xfrm rot="16200000">
                <a:off x="8103472" y="2347227"/>
                <a:ext cx="281355" cy="468923"/>
              </a:xfrm>
              <a:prstGeom prst="roundRect">
                <a:avLst/>
              </a:prstGeom>
              <a:solidFill>
                <a:srgbClr val="FFFFFF"/>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cxnSp>
            <p:nvCxnSpPr>
              <p:cNvPr id="23" name="Straight Arrow Connector 22">
                <a:extLst>
                  <a:ext uri="{FF2B5EF4-FFF2-40B4-BE49-F238E27FC236}">
                    <a16:creationId xmlns:a16="http://schemas.microsoft.com/office/drawing/2014/main" id="{8CC32822-6EF4-41A3-823B-DD534EBE702C}"/>
                  </a:ext>
                </a:extLst>
              </p:cNvPr>
              <p:cNvCxnSpPr>
                <a:cxnSpLocks/>
              </p:cNvCxnSpPr>
              <p:nvPr/>
            </p:nvCxnSpPr>
            <p:spPr>
              <a:xfrm>
                <a:off x="7497457" y="2574628"/>
                <a:ext cx="480889" cy="0"/>
              </a:xfrm>
              <a:prstGeom prst="straightConnector1">
                <a:avLst/>
              </a:prstGeom>
              <a:noFill/>
              <a:ln w="9525" cap="flat" cmpd="sng" algn="ctr">
                <a:solidFill>
                  <a:srgbClr val="3C3C41"/>
                </a:solidFill>
                <a:prstDash val="solid"/>
                <a:headEnd type="triangle"/>
                <a:tailEnd type="triangle"/>
              </a:ln>
              <a:effectLst/>
            </p:spPr>
          </p:cxnSp>
          <p:sp>
            <p:nvSpPr>
              <p:cNvPr id="24" name="Rectangle 23">
                <a:extLst>
                  <a:ext uri="{FF2B5EF4-FFF2-40B4-BE49-F238E27FC236}">
                    <a16:creationId xmlns:a16="http://schemas.microsoft.com/office/drawing/2014/main" id="{2A0303E0-B8FD-48FF-878A-F20035621DBE}"/>
                  </a:ext>
                </a:extLst>
              </p:cNvPr>
              <p:cNvSpPr/>
              <p:nvPr/>
            </p:nvSpPr>
            <p:spPr bwMode="auto">
              <a:xfrm>
                <a:off x="8354552" y="2541954"/>
                <a:ext cx="73152" cy="73152"/>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5" name="Rectangle 24">
                <a:extLst>
                  <a:ext uri="{FF2B5EF4-FFF2-40B4-BE49-F238E27FC236}">
                    <a16:creationId xmlns:a16="http://schemas.microsoft.com/office/drawing/2014/main" id="{728E6914-135A-484C-9F03-B65553859029}"/>
                  </a:ext>
                </a:extLst>
              </p:cNvPr>
              <p:cNvSpPr/>
              <p:nvPr/>
            </p:nvSpPr>
            <p:spPr bwMode="auto">
              <a:xfrm>
                <a:off x="8280517" y="2551098"/>
                <a:ext cx="54864" cy="54864"/>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6" name="Rectangle 25">
                <a:extLst>
                  <a:ext uri="{FF2B5EF4-FFF2-40B4-BE49-F238E27FC236}">
                    <a16:creationId xmlns:a16="http://schemas.microsoft.com/office/drawing/2014/main" id="{BFFE8807-A697-4556-A75C-3845EB2EA026}"/>
                  </a:ext>
                </a:extLst>
              </p:cNvPr>
              <p:cNvSpPr/>
              <p:nvPr/>
            </p:nvSpPr>
            <p:spPr bwMode="auto">
              <a:xfrm>
                <a:off x="8159877" y="2560242"/>
                <a:ext cx="36576" cy="36576"/>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7" name="Rectangle 26">
                <a:extLst>
                  <a:ext uri="{FF2B5EF4-FFF2-40B4-BE49-F238E27FC236}">
                    <a16:creationId xmlns:a16="http://schemas.microsoft.com/office/drawing/2014/main" id="{F6D3BF36-8298-45AA-AD0D-7E08B01AFBFC}"/>
                  </a:ext>
                </a:extLst>
              </p:cNvPr>
              <p:cNvSpPr/>
              <p:nvPr/>
            </p:nvSpPr>
            <p:spPr bwMode="auto">
              <a:xfrm>
                <a:off x="8215625" y="2555670"/>
                <a:ext cx="45720" cy="45720"/>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8" name="Rectangle 27">
                <a:extLst>
                  <a:ext uri="{FF2B5EF4-FFF2-40B4-BE49-F238E27FC236}">
                    <a16:creationId xmlns:a16="http://schemas.microsoft.com/office/drawing/2014/main" id="{55E1D86D-6958-443F-860E-8B790B8C1D9C}"/>
                  </a:ext>
                </a:extLst>
              </p:cNvPr>
              <p:cNvSpPr/>
              <p:nvPr/>
            </p:nvSpPr>
            <p:spPr bwMode="auto">
              <a:xfrm>
                <a:off x="8113273" y="2564814"/>
                <a:ext cx="27432" cy="27432"/>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29" name="Rectangle 28">
                <a:extLst>
                  <a:ext uri="{FF2B5EF4-FFF2-40B4-BE49-F238E27FC236}">
                    <a16:creationId xmlns:a16="http://schemas.microsoft.com/office/drawing/2014/main" id="{518F7907-51C6-44CB-8481-6FB405409BE8}"/>
                  </a:ext>
                </a:extLst>
              </p:cNvPr>
              <p:cNvSpPr/>
              <p:nvPr/>
            </p:nvSpPr>
            <p:spPr bwMode="auto">
              <a:xfrm>
                <a:off x="8075813" y="2569386"/>
                <a:ext cx="18288" cy="18288"/>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30" name="Rectangle 29">
                <a:extLst>
                  <a:ext uri="{FF2B5EF4-FFF2-40B4-BE49-F238E27FC236}">
                    <a16:creationId xmlns:a16="http://schemas.microsoft.com/office/drawing/2014/main" id="{6E9FE8E0-420A-4240-86E0-0D2DF3597096}"/>
                  </a:ext>
                </a:extLst>
              </p:cNvPr>
              <p:cNvSpPr/>
              <p:nvPr/>
            </p:nvSpPr>
            <p:spPr bwMode="auto">
              <a:xfrm>
                <a:off x="8047497" y="2573958"/>
                <a:ext cx="9144" cy="9144"/>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grpSp>
      </p:grpSp>
      <p:grpSp>
        <p:nvGrpSpPr>
          <p:cNvPr id="33" name="Group 32">
            <a:extLst>
              <a:ext uri="{FF2B5EF4-FFF2-40B4-BE49-F238E27FC236}">
                <a16:creationId xmlns:a16="http://schemas.microsoft.com/office/drawing/2014/main" id="{71F58C6E-B40C-423B-82A2-6833DFD6F55E}"/>
              </a:ext>
            </a:extLst>
          </p:cNvPr>
          <p:cNvGrpSpPr/>
          <p:nvPr/>
        </p:nvGrpSpPr>
        <p:grpSpPr>
          <a:xfrm>
            <a:off x="6769146" y="4481307"/>
            <a:ext cx="1605607" cy="796943"/>
            <a:chOff x="6107723" y="1934307"/>
            <a:chExt cx="1606062" cy="797169"/>
          </a:xfrm>
        </p:grpSpPr>
        <p:sp>
          <p:nvSpPr>
            <p:cNvPr id="34" name="Rectangle 33">
              <a:extLst>
                <a:ext uri="{FF2B5EF4-FFF2-40B4-BE49-F238E27FC236}">
                  <a16:creationId xmlns:a16="http://schemas.microsoft.com/office/drawing/2014/main" id="{0ED9FCB0-592B-4FEF-B3BE-C2886EED7922}"/>
                </a:ext>
              </a:extLst>
            </p:cNvPr>
            <p:cNvSpPr/>
            <p:nvPr/>
          </p:nvSpPr>
          <p:spPr bwMode="auto">
            <a:xfrm>
              <a:off x="6107723" y="1934307"/>
              <a:ext cx="1606062" cy="797169"/>
            </a:xfrm>
            <a:prstGeom prst="rect">
              <a:avLst/>
            </a:prstGeom>
            <a:solidFill>
              <a:srgbClr val="FFFFFF"/>
            </a:solidFill>
            <a:ln w="10795" cap="flat" cmpd="sng" algn="ctr">
              <a:solidFill>
                <a:srgbClr val="3C3C41"/>
              </a:solidFill>
              <a:prstDash val="dash"/>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grpSp>
          <p:nvGrpSpPr>
            <p:cNvPr id="35" name="Group 34">
              <a:extLst>
                <a:ext uri="{FF2B5EF4-FFF2-40B4-BE49-F238E27FC236}">
                  <a16:creationId xmlns:a16="http://schemas.microsoft.com/office/drawing/2014/main" id="{7D84149B-EECC-4233-ABEF-6DDD41183FDA}"/>
                </a:ext>
              </a:extLst>
            </p:cNvPr>
            <p:cNvGrpSpPr/>
            <p:nvPr/>
          </p:nvGrpSpPr>
          <p:grpSpPr>
            <a:xfrm>
              <a:off x="6227461" y="2137770"/>
              <a:ext cx="1364983" cy="477836"/>
              <a:chOff x="7141861" y="2360511"/>
              <a:chExt cx="1364983" cy="477836"/>
            </a:xfrm>
          </p:grpSpPr>
          <p:grpSp>
            <p:nvGrpSpPr>
              <p:cNvPr id="36" name="Group 35">
                <a:extLst>
                  <a:ext uri="{FF2B5EF4-FFF2-40B4-BE49-F238E27FC236}">
                    <a16:creationId xmlns:a16="http://schemas.microsoft.com/office/drawing/2014/main" id="{BBD45001-3757-445C-92F8-4984E8CAA58C}"/>
                  </a:ext>
                </a:extLst>
              </p:cNvPr>
              <p:cNvGrpSpPr/>
              <p:nvPr/>
            </p:nvGrpSpPr>
            <p:grpSpPr>
              <a:xfrm>
                <a:off x="7141861" y="2360511"/>
                <a:ext cx="464775" cy="477836"/>
                <a:chOff x="2776302" y="4657642"/>
                <a:chExt cx="1550488" cy="1594059"/>
              </a:xfrm>
            </p:grpSpPr>
            <p:sp>
              <p:nvSpPr>
                <p:cNvPr id="47" name="Cylinder 812">
                  <a:extLst>
                    <a:ext uri="{FF2B5EF4-FFF2-40B4-BE49-F238E27FC236}">
                      <a16:creationId xmlns:a16="http://schemas.microsoft.com/office/drawing/2014/main" id="{C3180CE8-6122-420B-872A-8B6B54703153}"/>
                    </a:ext>
                  </a:extLst>
                </p:cNvPr>
                <p:cNvSpPr/>
                <p:nvPr/>
              </p:nvSpPr>
              <p:spPr bwMode="auto">
                <a:xfrm>
                  <a:off x="2776302" y="4657642"/>
                  <a:ext cx="1043832" cy="1371349"/>
                </a:xfrm>
                <a:prstGeom prst="can">
                  <a:avLst>
                    <a:gd name="adj" fmla="val 39530"/>
                  </a:avLst>
                </a:prstGeom>
                <a:solidFill>
                  <a:srgbClr val="FFFFFF"/>
                </a:solidFill>
                <a:ln w="12700" cap="flat" cmpd="sng" algn="ctr">
                  <a:solidFill>
                    <a:srgbClr val="3C3C41"/>
                  </a:solidFill>
                  <a:prstDash val="solid"/>
                  <a:headEnd type="none" w="med" len="med"/>
                  <a:tailEnd type="none" w="med" len="med"/>
                </a:ln>
                <a:effectLst/>
              </p:spPr>
              <p:txBody>
                <a:bodyPr rot="0" spcFirstLastPara="0" vertOverflow="overflow" horzOverflow="overflow" vert="horz" wrap="square" lIns="0" tIns="146263" rIns="0"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900" kern="0">
                      <a:solidFill>
                        <a:srgbClr val="3C3C41"/>
                      </a:solidFill>
                      <a:latin typeface="Segoe UI Semibold"/>
                      <a:cs typeface="Segoe UI Semilight" panose="020B0402040204020203" pitchFamily="34" charset="0"/>
                    </a:rPr>
                    <a:t>SQL</a:t>
                  </a:r>
                </a:p>
              </p:txBody>
            </p:sp>
            <p:sp>
              <p:nvSpPr>
                <p:cNvPr id="48" name="Freeform 146">
                  <a:extLst>
                    <a:ext uri="{FF2B5EF4-FFF2-40B4-BE49-F238E27FC236}">
                      <a16:creationId xmlns:a16="http://schemas.microsoft.com/office/drawing/2014/main" id="{9D8E8004-D116-4978-9A76-2C4551061A4E}"/>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0070C0"/>
                </a:solidFill>
                <a:ln w="12700" cap="flat" cmpd="sng" algn="ctr">
                  <a:noFill/>
                  <a:prstDash val="solid"/>
                  <a:miter lim="800000"/>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IN" b="1" kern="0">
                    <a:solidFill>
                      <a:srgbClr val="0078D7"/>
                    </a:solidFill>
                    <a:latin typeface="Segoe UI Semilight" panose="020B0402040204020203" pitchFamily="34" charset="0"/>
                    <a:ea typeface="Segoe UI" pitchFamily="34" charset="0"/>
                    <a:cs typeface="Segoe UI Semilight" panose="020B0402040204020203" pitchFamily="34" charset="0"/>
                  </a:endParaRPr>
                </a:p>
              </p:txBody>
            </p:sp>
          </p:grpSp>
          <p:sp>
            <p:nvSpPr>
              <p:cNvPr id="37" name="Rectangle: Rounded Corners 36">
                <a:extLst>
                  <a:ext uri="{FF2B5EF4-FFF2-40B4-BE49-F238E27FC236}">
                    <a16:creationId xmlns:a16="http://schemas.microsoft.com/office/drawing/2014/main" id="{F4583041-621D-4E9C-ACF2-79339787D48F}"/>
                  </a:ext>
                </a:extLst>
              </p:cNvPr>
              <p:cNvSpPr/>
              <p:nvPr/>
            </p:nvSpPr>
            <p:spPr bwMode="auto">
              <a:xfrm rot="16200000">
                <a:off x="8131705" y="2371201"/>
                <a:ext cx="281355" cy="468923"/>
              </a:xfrm>
              <a:prstGeom prst="roundRect">
                <a:avLst/>
              </a:prstGeom>
              <a:no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38" name="Rectangle: Rounded Corners 37">
                <a:extLst>
                  <a:ext uri="{FF2B5EF4-FFF2-40B4-BE49-F238E27FC236}">
                    <a16:creationId xmlns:a16="http://schemas.microsoft.com/office/drawing/2014/main" id="{65FDA036-F842-44E9-AAB0-E694ABF63A70}"/>
                  </a:ext>
                </a:extLst>
              </p:cNvPr>
              <p:cNvSpPr/>
              <p:nvPr/>
            </p:nvSpPr>
            <p:spPr bwMode="auto">
              <a:xfrm rot="16200000">
                <a:off x="8103472" y="2347227"/>
                <a:ext cx="281355" cy="468923"/>
              </a:xfrm>
              <a:prstGeom prst="roundRect">
                <a:avLst/>
              </a:prstGeom>
              <a:solidFill>
                <a:srgbClr val="FFFFFF"/>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cxnSp>
            <p:nvCxnSpPr>
              <p:cNvPr id="39" name="Straight Arrow Connector 38">
                <a:extLst>
                  <a:ext uri="{FF2B5EF4-FFF2-40B4-BE49-F238E27FC236}">
                    <a16:creationId xmlns:a16="http://schemas.microsoft.com/office/drawing/2014/main" id="{AAEBF0DD-5FDA-4B20-BEE7-981D74FDA1C5}"/>
                  </a:ext>
                </a:extLst>
              </p:cNvPr>
              <p:cNvCxnSpPr>
                <a:cxnSpLocks/>
              </p:cNvCxnSpPr>
              <p:nvPr/>
            </p:nvCxnSpPr>
            <p:spPr>
              <a:xfrm>
                <a:off x="7497457" y="2574628"/>
                <a:ext cx="480889" cy="0"/>
              </a:xfrm>
              <a:prstGeom prst="straightConnector1">
                <a:avLst/>
              </a:prstGeom>
              <a:noFill/>
              <a:ln w="9525" cap="flat" cmpd="sng" algn="ctr">
                <a:solidFill>
                  <a:srgbClr val="3C3C41"/>
                </a:solidFill>
                <a:prstDash val="solid"/>
                <a:headEnd type="triangle"/>
                <a:tailEnd type="triangle"/>
              </a:ln>
              <a:effectLst/>
            </p:spPr>
          </p:cxnSp>
          <p:sp>
            <p:nvSpPr>
              <p:cNvPr id="40" name="Rectangle 39">
                <a:extLst>
                  <a:ext uri="{FF2B5EF4-FFF2-40B4-BE49-F238E27FC236}">
                    <a16:creationId xmlns:a16="http://schemas.microsoft.com/office/drawing/2014/main" id="{0F0211E6-BA09-4DA0-B266-CFEB6AD1AFEE}"/>
                  </a:ext>
                </a:extLst>
              </p:cNvPr>
              <p:cNvSpPr/>
              <p:nvPr/>
            </p:nvSpPr>
            <p:spPr bwMode="auto">
              <a:xfrm>
                <a:off x="8354552" y="2541954"/>
                <a:ext cx="73152" cy="73152"/>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41" name="Rectangle 40">
                <a:extLst>
                  <a:ext uri="{FF2B5EF4-FFF2-40B4-BE49-F238E27FC236}">
                    <a16:creationId xmlns:a16="http://schemas.microsoft.com/office/drawing/2014/main" id="{150189B8-8D59-484A-B18C-98E8CA2D18B4}"/>
                  </a:ext>
                </a:extLst>
              </p:cNvPr>
              <p:cNvSpPr/>
              <p:nvPr/>
            </p:nvSpPr>
            <p:spPr bwMode="auto">
              <a:xfrm>
                <a:off x="8280517" y="2551098"/>
                <a:ext cx="54864" cy="54864"/>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42" name="Rectangle 41">
                <a:extLst>
                  <a:ext uri="{FF2B5EF4-FFF2-40B4-BE49-F238E27FC236}">
                    <a16:creationId xmlns:a16="http://schemas.microsoft.com/office/drawing/2014/main" id="{0C021822-ED84-4DCF-89FE-4558E1BFE352}"/>
                  </a:ext>
                </a:extLst>
              </p:cNvPr>
              <p:cNvSpPr/>
              <p:nvPr/>
            </p:nvSpPr>
            <p:spPr bwMode="auto">
              <a:xfrm>
                <a:off x="8159877" y="2560242"/>
                <a:ext cx="36576" cy="36576"/>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43" name="Rectangle 42">
                <a:extLst>
                  <a:ext uri="{FF2B5EF4-FFF2-40B4-BE49-F238E27FC236}">
                    <a16:creationId xmlns:a16="http://schemas.microsoft.com/office/drawing/2014/main" id="{E7C46667-CACD-4191-8E6E-4E668294CB3E}"/>
                  </a:ext>
                </a:extLst>
              </p:cNvPr>
              <p:cNvSpPr/>
              <p:nvPr/>
            </p:nvSpPr>
            <p:spPr bwMode="auto">
              <a:xfrm>
                <a:off x="8215625" y="2555670"/>
                <a:ext cx="45720" cy="45720"/>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44" name="Rectangle 43">
                <a:extLst>
                  <a:ext uri="{FF2B5EF4-FFF2-40B4-BE49-F238E27FC236}">
                    <a16:creationId xmlns:a16="http://schemas.microsoft.com/office/drawing/2014/main" id="{B0A9A8C8-2E47-4755-ACBD-9590609FB1FE}"/>
                  </a:ext>
                </a:extLst>
              </p:cNvPr>
              <p:cNvSpPr/>
              <p:nvPr/>
            </p:nvSpPr>
            <p:spPr bwMode="auto">
              <a:xfrm>
                <a:off x="8113273" y="2564814"/>
                <a:ext cx="27432" cy="27432"/>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45" name="Rectangle 44">
                <a:extLst>
                  <a:ext uri="{FF2B5EF4-FFF2-40B4-BE49-F238E27FC236}">
                    <a16:creationId xmlns:a16="http://schemas.microsoft.com/office/drawing/2014/main" id="{C5301542-0FCF-4A6A-933D-D8BBA18D431A}"/>
                  </a:ext>
                </a:extLst>
              </p:cNvPr>
              <p:cNvSpPr/>
              <p:nvPr/>
            </p:nvSpPr>
            <p:spPr bwMode="auto">
              <a:xfrm>
                <a:off x="8075813" y="2569386"/>
                <a:ext cx="18288" cy="18288"/>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46" name="Rectangle 45">
                <a:extLst>
                  <a:ext uri="{FF2B5EF4-FFF2-40B4-BE49-F238E27FC236}">
                    <a16:creationId xmlns:a16="http://schemas.microsoft.com/office/drawing/2014/main" id="{D636BBC0-0FD5-4F09-A6E1-5C908283A74F}"/>
                  </a:ext>
                </a:extLst>
              </p:cNvPr>
              <p:cNvSpPr/>
              <p:nvPr/>
            </p:nvSpPr>
            <p:spPr bwMode="auto">
              <a:xfrm>
                <a:off x="8047497" y="2573958"/>
                <a:ext cx="9144" cy="9144"/>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grpSp>
      </p:grpSp>
      <p:grpSp>
        <p:nvGrpSpPr>
          <p:cNvPr id="49" name="Group 48">
            <a:extLst>
              <a:ext uri="{FF2B5EF4-FFF2-40B4-BE49-F238E27FC236}">
                <a16:creationId xmlns:a16="http://schemas.microsoft.com/office/drawing/2014/main" id="{29714D62-13B6-4299-865E-3DF4067B2FBC}"/>
              </a:ext>
            </a:extLst>
          </p:cNvPr>
          <p:cNvGrpSpPr/>
          <p:nvPr/>
        </p:nvGrpSpPr>
        <p:grpSpPr>
          <a:xfrm>
            <a:off x="9519177" y="2934301"/>
            <a:ext cx="1605607" cy="796943"/>
            <a:chOff x="6107723" y="1934307"/>
            <a:chExt cx="1606062" cy="797169"/>
          </a:xfrm>
        </p:grpSpPr>
        <p:sp>
          <p:nvSpPr>
            <p:cNvPr id="50" name="Rectangle 49">
              <a:extLst>
                <a:ext uri="{FF2B5EF4-FFF2-40B4-BE49-F238E27FC236}">
                  <a16:creationId xmlns:a16="http://schemas.microsoft.com/office/drawing/2014/main" id="{371EA5F4-A1CC-4C5A-BC81-61624D1428E4}"/>
                </a:ext>
              </a:extLst>
            </p:cNvPr>
            <p:cNvSpPr/>
            <p:nvPr/>
          </p:nvSpPr>
          <p:spPr bwMode="auto">
            <a:xfrm>
              <a:off x="6107723" y="1934307"/>
              <a:ext cx="1606062" cy="797169"/>
            </a:xfrm>
            <a:prstGeom prst="rect">
              <a:avLst/>
            </a:prstGeom>
            <a:solidFill>
              <a:srgbClr val="FFFFFF"/>
            </a:solidFill>
            <a:ln w="10795" cap="flat" cmpd="sng" algn="ctr">
              <a:solidFill>
                <a:srgbClr val="3C3C41"/>
              </a:solidFill>
              <a:prstDash val="dash"/>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grpSp>
          <p:nvGrpSpPr>
            <p:cNvPr id="51" name="Group 50">
              <a:extLst>
                <a:ext uri="{FF2B5EF4-FFF2-40B4-BE49-F238E27FC236}">
                  <a16:creationId xmlns:a16="http://schemas.microsoft.com/office/drawing/2014/main" id="{25AD58A1-DD9F-4EBF-9EEE-E20DE8CA290B}"/>
                </a:ext>
              </a:extLst>
            </p:cNvPr>
            <p:cNvGrpSpPr/>
            <p:nvPr/>
          </p:nvGrpSpPr>
          <p:grpSpPr>
            <a:xfrm>
              <a:off x="6227461" y="2137770"/>
              <a:ext cx="1364983" cy="477836"/>
              <a:chOff x="7141861" y="2360511"/>
              <a:chExt cx="1364983" cy="477836"/>
            </a:xfrm>
          </p:grpSpPr>
          <p:grpSp>
            <p:nvGrpSpPr>
              <p:cNvPr id="52" name="Group 51">
                <a:extLst>
                  <a:ext uri="{FF2B5EF4-FFF2-40B4-BE49-F238E27FC236}">
                    <a16:creationId xmlns:a16="http://schemas.microsoft.com/office/drawing/2014/main" id="{7DD221DE-50BD-4B33-9875-4078615CBF9E}"/>
                  </a:ext>
                </a:extLst>
              </p:cNvPr>
              <p:cNvGrpSpPr/>
              <p:nvPr/>
            </p:nvGrpSpPr>
            <p:grpSpPr>
              <a:xfrm>
                <a:off x="7141861" y="2360511"/>
                <a:ext cx="464775" cy="477836"/>
                <a:chOff x="2776302" y="4657642"/>
                <a:chExt cx="1550488" cy="1594059"/>
              </a:xfrm>
            </p:grpSpPr>
            <p:sp>
              <p:nvSpPr>
                <p:cNvPr id="63" name="Cylinder 812">
                  <a:extLst>
                    <a:ext uri="{FF2B5EF4-FFF2-40B4-BE49-F238E27FC236}">
                      <a16:creationId xmlns:a16="http://schemas.microsoft.com/office/drawing/2014/main" id="{E7DC2B40-E84E-4FBE-A315-F33739C4E6BE}"/>
                    </a:ext>
                  </a:extLst>
                </p:cNvPr>
                <p:cNvSpPr/>
                <p:nvPr/>
              </p:nvSpPr>
              <p:spPr bwMode="auto">
                <a:xfrm>
                  <a:off x="2776302" y="4657642"/>
                  <a:ext cx="1043832" cy="1371349"/>
                </a:xfrm>
                <a:prstGeom prst="can">
                  <a:avLst>
                    <a:gd name="adj" fmla="val 39530"/>
                  </a:avLst>
                </a:prstGeom>
                <a:solidFill>
                  <a:srgbClr val="FFFFFF"/>
                </a:solidFill>
                <a:ln w="12700" cap="flat" cmpd="sng" algn="ctr">
                  <a:solidFill>
                    <a:srgbClr val="3C3C41"/>
                  </a:solidFill>
                  <a:prstDash val="solid"/>
                  <a:headEnd type="none" w="med" len="med"/>
                  <a:tailEnd type="none" w="med" len="med"/>
                </a:ln>
                <a:effectLst/>
              </p:spPr>
              <p:txBody>
                <a:bodyPr rot="0" spcFirstLastPara="0" vertOverflow="overflow" horzOverflow="overflow" vert="horz" wrap="square" lIns="0" tIns="146263" rIns="0"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900" kern="0">
                      <a:solidFill>
                        <a:srgbClr val="3C3C41"/>
                      </a:solidFill>
                      <a:latin typeface="Segoe UI Semibold"/>
                      <a:cs typeface="Segoe UI Semilight" panose="020B0402040204020203" pitchFamily="34" charset="0"/>
                    </a:rPr>
                    <a:t>SQL</a:t>
                  </a:r>
                </a:p>
              </p:txBody>
            </p:sp>
            <p:sp>
              <p:nvSpPr>
                <p:cNvPr id="64" name="Freeform 146">
                  <a:extLst>
                    <a:ext uri="{FF2B5EF4-FFF2-40B4-BE49-F238E27FC236}">
                      <a16:creationId xmlns:a16="http://schemas.microsoft.com/office/drawing/2014/main" id="{00780015-0101-4DD0-9BC2-F1103AB110BA}"/>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0070C0"/>
                </a:solidFill>
                <a:ln w="12700" cap="flat" cmpd="sng" algn="ctr">
                  <a:noFill/>
                  <a:prstDash val="solid"/>
                  <a:miter lim="800000"/>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IN" b="1" kern="0">
                    <a:solidFill>
                      <a:srgbClr val="0078D7"/>
                    </a:solidFill>
                    <a:latin typeface="Segoe UI Semilight" panose="020B0402040204020203" pitchFamily="34" charset="0"/>
                    <a:ea typeface="Segoe UI" pitchFamily="34" charset="0"/>
                    <a:cs typeface="Segoe UI Semilight" panose="020B0402040204020203" pitchFamily="34" charset="0"/>
                  </a:endParaRPr>
                </a:p>
              </p:txBody>
            </p:sp>
          </p:grpSp>
          <p:sp>
            <p:nvSpPr>
              <p:cNvPr id="53" name="Rectangle: Rounded Corners 52">
                <a:extLst>
                  <a:ext uri="{FF2B5EF4-FFF2-40B4-BE49-F238E27FC236}">
                    <a16:creationId xmlns:a16="http://schemas.microsoft.com/office/drawing/2014/main" id="{3B5B56E7-738B-4FC8-84BF-C144D8860DFD}"/>
                  </a:ext>
                </a:extLst>
              </p:cNvPr>
              <p:cNvSpPr/>
              <p:nvPr/>
            </p:nvSpPr>
            <p:spPr bwMode="auto">
              <a:xfrm rot="16200000">
                <a:off x="8131705" y="2371201"/>
                <a:ext cx="281355" cy="468923"/>
              </a:xfrm>
              <a:prstGeom prst="roundRect">
                <a:avLst/>
              </a:prstGeom>
              <a:no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54" name="Rectangle: Rounded Corners 53">
                <a:extLst>
                  <a:ext uri="{FF2B5EF4-FFF2-40B4-BE49-F238E27FC236}">
                    <a16:creationId xmlns:a16="http://schemas.microsoft.com/office/drawing/2014/main" id="{12B0F613-2366-4C4A-85B2-C2728958F865}"/>
                  </a:ext>
                </a:extLst>
              </p:cNvPr>
              <p:cNvSpPr/>
              <p:nvPr/>
            </p:nvSpPr>
            <p:spPr bwMode="auto">
              <a:xfrm rot="16200000">
                <a:off x="8103472" y="2347227"/>
                <a:ext cx="281355" cy="468923"/>
              </a:xfrm>
              <a:prstGeom prst="roundRect">
                <a:avLst/>
              </a:prstGeom>
              <a:solidFill>
                <a:srgbClr val="FFFFFF"/>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cxnSp>
            <p:nvCxnSpPr>
              <p:cNvPr id="55" name="Straight Arrow Connector 54">
                <a:extLst>
                  <a:ext uri="{FF2B5EF4-FFF2-40B4-BE49-F238E27FC236}">
                    <a16:creationId xmlns:a16="http://schemas.microsoft.com/office/drawing/2014/main" id="{B2CB481C-A8AE-461F-8471-E658E58A6505}"/>
                  </a:ext>
                </a:extLst>
              </p:cNvPr>
              <p:cNvCxnSpPr>
                <a:cxnSpLocks/>
              </p:cNvCxnSpPr>
              <p:nvPr/>
            </p:nvCxnSpPr>
            <p:spPr>
              <a:xfrm>
                <a:off x="7497457" y="2574628"/>
                <a:ext cx="480889" cy="0"/>
              </a:xfrm>
              <a:prstGeom prst="straightConnector1">
                <a:avLst/>
              </a:prstGeom>
              <a:noFill/>
              <a:ln w="9525" cap="flat" cmpd="sng" algn="ctr">
                <a:solidFill>
                  <a:srgbClr val="3C3C41"/>
                </a:solidFill>
                <a:prstDash val="solid"/>
                <a:headEnd type="triangle"/>
                <a:tailEnd type="triangle"/>
              </a:ln>
              <a:effectLst/>
            </p:spPr>
          </p:cxnSp>
          <p:sp>
            <p:nvSpPr>
              <p:cNvPr id="56" name="Rectangle 55">
                <a:extLst>
                  <a:ext uri="{FF2B5EF4-FFF2-40B4-BE49-F238E27FC236}">
                    <a16:creationId xmlns:a16="http://schemas.microsoft.com/office/drawing/2014/main" id="{094443D6-E4D3-4BD3-97D3-AF22EF3E8721}"/>
                  </a:ext>
                </a:extLst>
              </p:cNvPr>
              <p:cNvSpPr/>
              <p:nvPr/>
            </p:nvSpPr>
            <p:spPr bwMode="auto">
              <a:xfrm>
                <a:off x="8354552" y="2541954"/>
                <a:ext cx="73152" cy="73152"/>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57" name="Rectangle 56">
                <a:extLst>
                  <a:ext uri="{FF2B5EF4-FFF2-40B4-BE49-F238E27FC236}">
                    <a16:creationId xmlns:a16="http://schemas.microsoft.com/office/drawing/2014/main" id="{F1B12580-3DDF-413C-AC44-85205F7E69CE}"/>
                  </a:ext>
                </a:extLst>
              </p:cNvPr>
              <p:cNvSpPr/>
              <p:nvPr/>
            </p:nvSpPr>
            <p:spPr bwMode="auto">
              <a:xfrm>
                <a:off x="8280517" y="2551098"/>
                <a:ext cx="54864" cy="54864"/>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58" name="Rectangle 57">
                <a:extLst>
                  <a:ext uri="{FF2B5EF4-FFF2-40B4-BE49-F238E27FC236}">
                    <a16:creationId xmlns:a16="http://schemas.microsoft.com/office/drawing/2014/main" id="{A1699DC2-CFE6-4D37-BD54-6923F388BA18}"/>
                  </a:ext>
                </a:extLst>
              </p:cNvPr>
              <p:cNvSpPr/>
              <p:nvPr/>
            </p:nvSpPr>
            <p:spPr bwMode="auto">
              <a:xfrm>
                <a:off x="8159877" y="2560242"/>
                <a:ext cx="36576" cy="36576"/>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59" name="Rectangle 58">
                <a:extLst>
                  <a:ext uri="{FF2B5EF4-FFF2-40B4-BE49-F238E27FC236}">
                    <a16:creationId xmlns:a16="http://schemas.microsoft.com/office/drawing/2014/main" id="{969692BA-40FC-4A84-9C1E-A495E3CAAB06}"/>
                  </a:ext>
                </a:extLst>
              </p:cNvPr>
              <p:cNvSpPr/>
              <p:nvPr/>
            </p:nvSpPr>
            <p:spPr bwMode="auto">
              <a:xfrm>
                <a:off x="8215625" y="2555670"/>
                <a:ext cx="45720" cy="45720"/>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60" name="Rectangle 59">
                <a:extLst>
                  <a:ext uri="{FF2B5EF4-FFF2-40B4-BE49-F238E27FC236}">
                    <a16:creationId xmlns:a16="http://schemas.microsoft.com/office/drawing/2014/main" id="{BE8B705C-5B6C-4264-B685-424099FAA6F0}"/>
                  </a:ext>
                </a:extLst>
              </p:cNvPr>
              <p:cNvSpPr/>
              <p:nvPr/>
            </p:nvSpPr>
            <p:spPr bwMode="auto">
              <a:xfrm>
                <a:off x="8113273" y="2564814"/>
                <a:ext cx="27432" cy="27432"/>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61" name="Rectangle 60">
                <a:extLst>
                  <a:ext uri="{FF2B5EF4-FFF2-40B4-BE49-F238E27FC236}">
                    <a16:creationId xmlns:a16="http://schemas.microsoft.com/office/drawing/2014/main" id="{4CE6115F-9975-481E-9BD9-A213A93CFE73}"/>
                  </a:ext>
                </a:extLst>
              </p:cNvPr>
              <p:cNvSpPr/>
              <p:nvPr/>
            </p:nvSpPr>
            <p:spPr bwMode="auto">
              <a:xfrm>
                <a:off x="8075813" y="2569386"/>
                <a:ext cx="18288" cy="18288"/>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62" name="Rectangle 61">
                <a:extLst>
                  <a:ext uri="{FF2B5EF4-FFF2-40B4-BE49-F238E27FC236}">
                    <a16:creationId xmlns:a16="http://schemas.microsoft.com/office/drawing/2014/main" id="{63D4AC53-29A4-4671-BBCF-261EF2BC06A6}"/>
                  </a:ext>
                </a:extLst>
              </p:cNvPr>
              <p:cNvSpPr/>
              <p:nvPr/>
            </p:nvSpPr>
            <p:spPr bwMode="auto">
              <a:xfrm>
                <a:off x="8047497" y="2573958"/>
                <a:ext cx="9144" cy="9144"/>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grpSp>
      </p:grpSp>
      <p:grpSp>
        <p:nvGrpSpPr>
          <p:cNvPr id="65" name="Group 64">
            <a:extLst>
              <a:ext uri="{FF2B5EF4-FFF2-40B4-BE49-F238E27FC236}">
                <a16:creationId xmlns:a16="http://schemas.microsoft.com/office/drawing/2014/main" id="{81D64A12-2FF9-4753-99C4-0697BC47A03B}"/>
              </a:ext>
            </a:extLst>
          </p:cNvPr>
          <p:cNvGrpSpPr/>
          <p:nvPr/>
        </p:nvGrpSpPr>
        <p:grpSpPr>
          <a:xfrm>
            <a:off x="9521420" y="4481308"/>
            <a:ext cx="1605607" cy="796943"/>
            <a:chOff x="6107723" y="1934307"/>
            <a:chExt cx="1606062" cy="797169"/>
          </a:xfrm>
        </p:grpSpPr>
        <p:sp>
          <p:nvSpPr>
            <p:cNvPr id="66" name="Rectangle 65">
              <a:extLst>
                <a:ext uri="{FF2B5EF4-FFF2-40B4-BE49-F238E27FC236}">
                  <a16:creationId xmlns:a16="http://schemas.microsoft.com/office/drawing/2014/main" id="{4C297B5E-E5A6-4C5B-BB90-392611562364}"/>
                </a:ext>
              </a:extLst>
            </p:cNvPr>
            <p:cNvSpPr/>
            <p:nvPr/>
          </p:nvSpPr>
          <p:spPr bwMode="auto">
            <a:xfrm>
              <a:off x="6107723" y="1934307"/>
              <a:ext cx="1606062" cy="797169"/>
            </a:xfrm>
            <a:prstGeom prst="rect">
              <a:avLst/>
            </a:prstGeom>
            <a:solidFill>
              <a:srgbClr val="FFFFFF"/>
            </a:solidFill>
            <a:ln w="10795" cap="flat" cmpd="sng" algn="ctr">
              <a:solidFill>
                <a:srgbClr val="3C3C41"/>
              </a:solidFill>
              <a:prstDash val="dash"/>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grpSp>
          <p:nvGrpSpPr>
            <p:cNvPr id="67" name="Group 66">
              <a:extLst>
                <a:ext uri="{FF2B5EF4-FFF2-40B4-BE49-F238E27FC236}">
                  <a16:creationId xmlns:a16="http://schemas.microsoft.com/office/drawing/2014/main" id="{FAF3966B-D281-4B50-BDE8-05C95FE2F9CB}"/>
                </a:ext>
              </a:extLst>
            </p:cNvPr>
            <p:cNvGrpSpPr/>
            <p:nvPr/>
          </p:nvGrpSpPr>
          <p:grpSpPr>
            <a:xfrm>
              <a:off x="6227461" y="2137770"/>
              <a:ext cx="1364983" cy="477836"/>
              <a:chOff x="7141861" y="2360511"/>
              <a:chExt cx="1364983" cy="477836"/>
            </a:xfrm>
          </p:grpSpPr>
          <p:grpSp>
            <p:nvGrpSpPr>
              <p:cNvPr id="68" name="Group 67">
                <a:extLst>
                  <a:ext uri="{FF2B5EF4-FFF2-40B4-BE49-F238E27FC236}">
                    <a16:creationId xmlns:a16="http://schemas.microsoft.com/office/drawing/2014/main" id="{5E8CD788-2047-4F7F-89CC-076E0C1A5194}"/>
                  </a:ext>
                </a:extLst>
              </p:cNvPr>
              <p:cNvGrpSpPr/>
              <p:nvPr/>
            </p:nvGrpSpPr>
            <p:grpSpPr>
              <a:xfrm>
                <a:off x="7141861" y="2360511"/>
                <a:ext cx="464775" cy="477836"/>
                <a:chOff x="2776302" y="4657642"/>
                <a:chExt cx="1550488" cy="1594059"/>
              </a:xfrm>
            </p:grpSpPr>
            <p:sp>
              <p:nvSpPr>
                <p:cNvPr id="79" name="Cylinder 812">
                  <a:extLst>
                    <a:ext uri="{FF2B5EF4-FFF2-40B4-BE49-F238E27FC236}">
                      <a16:creationId xmlns:a16="http://schemas.microsoft.com/office/drawing/2014/main" id="{3FABE5EF-FF3C-470E-B644-3749656B7452}"/>
                    </a:ext>
                  </a:extLst>
                </p:cNvPr>
                <p:cNvSpPr/>
                <p:nvPr/>
              </p:nvSpPr>
              <p:spPr bwMode="auto">
                <a:xfrm>
                  <a:off x="2776302" y="4657642"/>
                  <a:ext cx="1043832" cy="1371349"/>
                </a:xfrm>
                <a:prstGeom prst="can">
                  <a:avLst>
                    <a:gd name="adj" fmla="val 39530"/>
                  </a:avLst>
                </a:prstGeom>
                <a:solidFill>
                  <a:srgbClr val="FFFFFF"/>
                </a:solidFill>
                <a:ln w="12700" cap="flat" cmpd="sng" algn="ctr">
                  <a:solidFill>
                    <a:srgbClr val="3C3C41"/>
                  </a:solidFill>
                  <a:prstDash val="solid"/>
                  <a:headEnd type="none" w="med" len="med"/>
                  <a:tailEnd type="none" w="med" len="med"/>
                </a:ln>
                <a:effectLst/>
              </p:spPr>
              <p:txBody>
                <a:bodyPr rot="0" spcFirstLastPara="0" vertOverflow="overflow" horzOverflow="overflow" vert="horz" wrap="square" lIns="0" tIns="146263" rIns="0"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900" kern="0">
                      <a:solidFill>
                        <a:srgbClr val="3C3C41"/>
                      </a:solidFill>
                      <a:latin typeface="Segoe UI Semibold"/>
                      <a:cs typeface="Segoe UI Semilight" panose="020B0402040204020203" pitchFamily="34" charset="0"/>
                    </a:rPr>
                    <a:t>SQL</a:t>
                  </a:r>
                </a:p>
              </p:txBody>
            </p:sp>
            <p:sp>
              <p:nvSpPr>
                <p:cNvPr id="80" name="Freeform 146">
                  <a:extLst>
                    <a:ext uri="{FF2B5EF4-FFF2-40B4-BE49-F238E27FC236}">
                      <a16:creationId xmlns:a16="http://schemas.microsoft.com/office/drawing/2014/main" id="{C33B4222-E865-4DB1-83D2-2931449D9CAF}"/>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0070C0"/>
                </a:solidFill>
                <a:ln w="12700" cap="flat" cmpd="sng" algn="ctr">
                  <a:noFill/>
                  <a:prstDash val="solid"/>
                  <a:miter lim="800000"/>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IN" b="1" kern="0">
                    <a:solidFill>
                      <a:srgbClr val="0078D7"/>
                    </a:solidFill>
                    <a:latin typeface="Segoe UI Semilight" panose="020B0402040204020203" pitchFamily="34" charset="0"/>
                    <a:ea typeface="Segoe UI" pitchFamily="34" charset="0"/>
                    <a:cs typeface="Segoe UI Semilight" panose="020B0402040204020203" pitchFamily="34" charset="0"/>
                  </a:endParaRPr>
                </a:p>
              </p:txBody>
            </p:sp>
          </p:grpSp>
          <p:sp>
            <p:nvSpPr>
              <p:cNvPr id="69" name="Rectangle: Rounded Corners 68">
                <a:extLst>
                  <a:ext uri="{FF2B5EF4-FFF2-40B4-BE49-F238E27FC236}">
                    <a16:creationId xmlns:a16="http://schemas.microsoft.com/office/drawing/2014/main" id="{5E874110-395A-4075-9623-683E92401FE9}"/>
                  </a:ext>
                </a:extLst>
              </p:cNvPr>
              <p:cNvSpPr/>
              <p:nvPr/>
            </p:nvSpPr>
            <p:spPr bwMode="auto">
              <a:xfrm rot="16200000">
                <a:off x="8131705" y="2371201"/>
                <a:ext cx="281355" cy="468923"/>
              </a:xfrm>
              <a:prstGeom prst="roundRect">
                <a:avLst/>
              </a:prstGeom>
              <a:no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70" name="Rectangle: Rounded Corners 69">
                <a:extLst>
                  <a:ext uri="{FF2B5EF4-FFF2-40B4-BE49-F238E27FC236}">
                    <a16:creationId xmlns:a16="http://schemas.microsoft.com/office/drawing/2014/main" id="{73F14444-B6C9-4DA0-B393-2CC491174336}"/>
                  </a:ext>
                </a:extLst>
              </p:cNvPr>
              <p:cNvSpPr/>
              <p:nvPr/>
            </p:nvSpPr>
            <p:spPr bwMode="auto">
              <a:xfrm rot="16200000">
                <a:off x="8103472" y="2347227"/>
                <a:ext cx="281355" cy="468923"/>
              </a:xfrm>
              <a:prstGeom prst="roundRect">
                <a:avLst/>
              </a:prstGeom>
              <a:solidFill>
                <a:srgbClr val="FFFFFF"/>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cxnSp>
            <p:nvCxnSpPr>
              <p:cNvPr id="71" name="Straight Arrow Connector 70">
                <a:extLst>
                  <a:ext uri="{FF2B5EF4-FFF2-40B4-BE49-F238E27FC236}">
                    <a16:creationId xmlns:a16="http://schemas.microsoft.com/office/drawing/2014/main" id="{642ED70F-678B-4908-A13E-4C3A4CF986A4}"/>
                  </a:ext>
                </a:extLst>
              </p:cNvPr>
              <p:cNvCxnSpPr>
                <a:cxnSpLocks/>
              </p:cNvCxnSpPr>
              <p:nvPr/>
            </p:nvCxnSpPr>
            <p:spPr>
              <a:xfrm>
                <a:off x="7497457" y="2574628"/>
                <a:ext cx="480889" cy="0"/>
              </a:xfrm>
              <a:prstGeom prst="straightConnector1">
                <a:avLst/>
              </a:prstGeom>
              <a:noFill/>
              <a:ln w="9525" cap="flat" cmpd="sng" algn="ctr">
                <a:solidFill>
                  <a:srgbClr val="3C3C41"/>
                </a:solidFill>
                <a:prstDash val="solid"/>
                <a:headEnd type="triangle"/>
                <a:tailEnd type="triangle"/>
              </a:ln>
              <a:effectLst/>
            </p:spPr>
          </p:cxnSp>
          <p:sp>
            <p:nvSpPr>
              <p:cNvPr id="72" name="Rectangle 71">
                <a:extLst>
                  <a:ext uri="{FF2B5EF4-FFF2-40B4-BE49-F238E27FC236}">
                    <a16:creationId xmlns:a16="http://schemas.microsoft.com/office/drawing/2014/main" id="{4C67DCC9-BDBA-46A2-BB53-9265FE7B303A}"/>
                  </a:ext>
                </a:extLst>
              </p:cNvPr>
              <p:cNvSpPr/>
              <p:nvPr/>
            </p:nvSpPr>
            <p:spPr bwMode="auto">
              <a:xfrm>
                <a:off x="8354552" y="2541954"/>
                <a:ext cx="73152" cy="73152"/>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73" name="Rectangle 72">
                <a:extLst>
                  <a:ext uri="{FF2B5EF4-FFF2-40B4-BE49-F238E27FC236}">
                    <a16:creationId xmlns:a16="http://schemas.microsoft.com/office/drawing/2014/main" id="{1FDA97D9-10FC-460A-AA6B-352A12E873BA}"/>
                  </a:ext>
                </a:extLst>
              </p:cNvPr>
              <p:cNvSpPr/>
              <p:nvPr/>
            </p:nvSpPr>
            <p:spPr bwMode="auto">
              <a:xfrm>
                <a:off x="8280517" y="2551098"/>
                <a:ext cx="54864" cy="54864"/>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74" name="Rectangle 73">
                <a:extLst>
                  <a:ext uri="{FF2B5EF4-FFF2-40B4-BE49-F238E27FC236}">
                    <a16:creationId xmlns:a16="http://schemas.microsoft.com/office/drawing/2014/main" id="{6D4E483E-FA4B-452F-87EC-EB20FB6ED446}"/>
                  </a:ext>
                </a:extLst>
              </p:cNvPr>
              <p:cNvSpPr/>
              <p:nvPr/>
            </p:nvSpPr>
            <p:spPr bwMode="auto">
              <a:xfrm>
                <a:off x="8159877" y="2560242"/>
                <a:ext cx="36576" cy="36576"/>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75" name="Rectangle 74">
                <a:extLst>
                  <a:ext uri="{FF2B5EF4-FFF2-40B4-BE49-F238E27FC236}">
                    <a16:creationId xmlns:a16="http://schemas.microsoft.com/office/drawing/2014/main" id="{DC7BC11B-C2ED-4FF8-A534-3D2AF58BE6FC}"/>
                  </a:ext>
                </a:extLst>
              </p:cNvPr>
              <p:cNvSpPr/>
              <p:nvPr/>
            </p:nvSpPr>
            <p:spPr bwMode="auto">
              <a:xfrm>
                <a:off x="8215625" y="2555670"/>
                <a:ext cx="45720" cy="45720"/>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76" name="Rectangle 75">
                <a:extLst>
                  <a:ext uri="{FF2B5EF4-FFF2-40B4-BE49-F238E27FC236}">
                    <a16:creationId xmlns:a16="http://schemas.microsoft.com/office/drawing/2014/main" id="{B5E6956C-7D92-412C-8BE3-5E117EF3E5C2}"/>
                  </a:ext>
                </a:extLst>
              </p:cNvPr>
              <p:cNvSpPr/>
              <p:nvPr/>
            </p:nvSpPr>
            <p:spPr bwMode="auto">
              <a:xfrm>
                <a:off x="8113273" y="2564814"/>
                <a:ext cx="27432" cy="27432"/>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77" name="Rectangle 76">
                <a:extLst>
                  <a:ext uri="{FF2B5EF4-FFF2-40B4-BE49-F238E27FC236}">
                    <a16:creationId xmlns:a16="http://schemas.microsoft.com/office/drawing/2014/main" id="{8FB6EEDF-9F43-4FB1-8066-C21C1D7649EA}"/>
                  </a:ext>
                </a:extLst>
              </p:cNvPr>
              <p:cNvSpPr/>
              <p:nvPr/>
            </p:nvSpPr>
            <p:spPr bwMode="auto">
              <a:xfrm>
                <a:off x="8075813" y="2569386"/>
                <a:ext cx="18288" cy="18288"/>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78" name="Rectangle 77">
                <a:extLst>
                  <a:ext uri="{FF2B5EF4-FFF2-40B4-BE49-F238E27FC236}">
                    <a16:creationId xmlns:a16="http://schemas.microsoft.com/office/drawing/2014/main" id="{CBEE56CF-3E76-400E-8FFF-C61EF2BC8700}"/>
                  </a:ext>
                </a:extLst>
              </p:cNvPr>
              <p:cNvSpPr/>
              <p:nvPr/>
            </p:nvSpPr>
            <p:spPr bwMode="auto">
              <a:xfrm>
                <a:off x="8047497" y="2573958"/>
                <a:ext cx="9144" cy="9144"/>
              </a:xfrm>
              <a:prstGeom prst="rect">
                <a:avLst/>
              </a:prstGeom>
              <a:solidFill>
                <a:srgbClr val="EBEBEB"/>
              </a:solidFill>
              <a:ln w="1079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grpSp>
      </p:grpSp>
      <p:sp>
        <p:nvSpPr>
          <p:cNvPr id="81" name="TextBox 80">
            <a:extLst>
              <a:ext uri="{FF2B5EF4-FFF2-40B4-BE49-F238E27FC236}">
                <a16:creationId xmlns:a16="http://schemas.microsoft.com/office/drawing/2014/main" id="{6B1B062D-6075-4C53-9FAF-443E1BAD5E6E}"/>
              </a:ext>
            </a:extLst>
          </p:cNvPr>
          <p:cNvSpPr txBox="1"/>
          <p:nvPr/>
        </p:nvSpPr>
        <p:spPr>
          <a:xfrm>
            <a:off x="7458742" y="3004618"/>
            <a:ext cx="896144" cy="205255"/>
          </a:xfrm>
          <a:prstGeom prst="rect">
            <a:avLst/>
          </a:prstGeom>
          <a:noFill/>
        </p:spPr>
        <p:txBody>
          <a:bodyPr wrap="none" lIns="91414" tIns="45706" rIns="91414" bIns="45706" rtlCol="0">
            <a:spAutoFit/>
          </a:bodyPr>
          <a:lstStyle/>
          <a:p>
            <a:pPr defTabSz="914192">
              <a:lnSpc>
                <a:spcPct val="90000"/>
              </a:lnSpc>
              <a:spcAft>
                <a:spcPts val="600"/>
              </a:spcAft>
              <a:defRPr/>
            </a:pPr>
            <a:r>
              <a:rPr lang="en-US" sz="800">
                <a:solidFill>
                  <a:srgbClr val="3C3C41"/>
                </a:solidFill>
                <a:latin typeface="Segoe UI Semibold" panose="020B0702040204020203" pitchFamily="34" charset="0"/>
                <a:cs typeface="Segoe UI Semibold" panose="020B0702040204020203" pitchFamily="34" charset="0"/>
              </a:rPr>
              <a:t>Super-fast SSD</a:t>
            </a:r>
          </a:p>
        </p:txBody>
      </p:sp>
      <p:sp>
        <p:nvSpPr>
          <p:cNvPr id="82" name="TextBox 81">
            <a:extLst>
              <a:ext uri="{FF2B5EF4-FFF2-40B4-BE49-F238E27FC236}">
                <a16:creationId xmlns:a16="http://schemas.microsoft.com/office/drawing/2014/main" id="{FD0EB85E-A118-46A0-AD1B-48B898A96C8D}"/>
              </a:ext>
            </a:extLst>
          </p:cNvPr>
          <p:cNvSpPr txBox="1"/>
          <p:nvPr/>
        </p:nvSpPr>
        <p:spPr>
          <a:xfrm>
            <a:off x="7353255" y="3731245"/>
            <a:ext cx="1040374" cy="233524"/>
          </a:xfrm>
          <a:prstGeom prst="rect">
            <a:avLst/>
          </a:prstGeom>
          <a:noFill/>
        </p:spPr>
        <p:txBody>
          <a:bodyPr wrap="none" lIns="91414" tIns="45706" rIns="91414" bIns="45706" rtlCol="0">
            <a:spAutoFit/>
          </a:bodyPr>
          <a:lstStyle/>
          <a:p>
            <a:pPr defTabSz="914192">
              <a:lnSpc>
                <a:spcPct val="90000"/>
              </a:lnSpc>
              <a:spcAft>
                <a:spcPts val="600"/>
              </a:spcAft>
              <a:defRPr/>
            </a:pPr>
            <a:r>
              <a:rPr lang="en-US" sz="1000">
                <a:solidFill>
                  <a:srgbClr val="3C3C41"/>
                </a:solidFill>
                <a:latin typeface="Segoe UI"/>
                <a:cs typeface="Segoe UI Semibold" panose="020B0702040204020203" pitchFamily="34" charset="0"/>
              </a:rPr>
              <a:t>Primary replica</a:t>
            </a:r>
          </a:p>
        </p:txBody>
      </p:sp>
      <p:sp>
        <p:nvSpPr>
          <p:cNvPr id="83" name="TextBox 82">
            <a:extLst>
              <a:ext uri="{FF2B5EF4-FFF2-40B4-BE49-F238E27FC236}">
                <a16:creationId xmlns:a16="http://schemas.microsoft.com/office/drawing/2014/main" id="{F1B68ECC-ABB5-41A2-9B62-A7D689628577}"/>
              </a:ext>
            </a:extLst>
          </p:cNvPr>
          <p:cNvSpPr txBox="1"/>
          <p:nvPr/>
        </p:nvSpPr>
        <p:spPr>
          <a:xfrm>
            <a:off x="9404210" y="3766403"/>
            <a:ext cx="1203835" cy="233524"/>
          </a:xfrm>
          <a:prstGeom prst="rect">
            <a:avLst/>
          </a:prstGeom>
          <a:noFill/>
        </p:spPr>
        <p:txBody>
          <a:bodyPr wrap="none" lIns="91414" tIns="45706" rIns="91414" bIns="45706" rtlCol="0">
            <a:spAutoFit/>
          </a:bodyPr>
          <a:lstStyle/>
          <a:p>
            <a:pPr defTabSz="914192">
              <a:lnSpc>
                <a:spcPct val="90000"/>
              </a:lnSpc>
              <a:spcAft>
                <a:spcPts val="600"/>
              </a:spcAft>
              <a:defRPr/>
            </a:pPr>
            <a:r>
              <a:rPr lang="en-US" sz="1000">
                <a:solidFill>
                  <a:srgbClr val="3C3C41"/>
                </a:solidFill>
                <a:latin typeface="Segoe UI"/>
                <a:cs typeface="Segoe UI Semibold" panose="020B0702040204020203" pitchFamily="34" charset="0"/>
              </a:rPr>
              <a:t>Secondary replica</a:t>
            </a:r>
          </a:p>
        </p:txBody>
      </p:sp>
      <p:sp>
        <p:nvSpPr>
          <p:cNvPr id="84" name="TextBox 83">
            <a:extLst>
              <a:ext uri="{FF2B5EF4-FFF2-40B4-BE49-F238E27FC236}">
                <a16:creationId xmlns:a16="http://schemas.microsoft.com/office/drawing/2014/main" id="{79760D8B-72F7-4C5C-8215-72F93D3D38C2}"/>
              </a:ext>
            </a:extLst>
          </p:cNvPr>
          <p:cNvSpPr txBox="1"/>
          <p:nvPr/>
        </p:nvSpPr>
        <p:spPr>
          <a:xfrm>
            <a:off x="10130836" y="5289972"/>
            <a:ext cx="1203835" cy="233524"/>
          </a:xfrm>
          <a:prstGeom prst="rect">
            <a:avLst/>
          </a:prstGeom>
          <a:noFill/>
        </p:spPr>
        <p:txBody>
          <a:bodyPr wrap="none" lIns="91414" tIns="45706" rIns="91414" bIns="45706" rtlCol="0">
            <a:spAutoFit/>
          </a:bodyPr>
          <a:lstStyle/>
          <a:p>
            <a:pPr defTabSz="914192">
              <a:lnSpc>
                <a:spcPct val="90000"/>
              </a:lnSpc>
              <a:spcAft>
                <a:spcPts val="600"/>
              </a:spcAft>
              <a:defRPr/>
            </a:pPr>
            <a:r>
              <a:rPr lang="en-US" sz="1000">
                <a:solidFill>
                  <a:srgbClr val="3C3C41"/>
                </a:solidFill>
                <a:latin typeface="Segoe UI"/>
                <a:cs typeface="Segoe UI Semibold" panose="020B0702040204020203" pitchFamily="34" charset="0"/>
              </a:rPr>
              <a:t>Secondary replica</a:t>
            </a:r>
          </a:p>
        </p:txBody>
      </p:sp>
      <p:sp>
        <p:nvSpPr>
          <p:cNvPr id="85" name="TextBox 84">
            <a:extLst>
              <a:ext uri="{FF2B5EF4-FFF2-40B4-BE49-F238E27FC236}">
                <a16:creationId xmlns:a16="http://schemas.microsoft.com/office/drawing/2014/main" id="{FE7B9824-7D21-4B6B-9E93-7DA22B9EAAFC}"/>
              </a:ext>
            </a:extLst>
          </p:cNvPr>
          <p:cNvSpPr txBox="1"/>
          <p:nvPr/>
        </p:nvSpPr>
        <p:spPr>
          <a:xfrm>
            <a:off x="6626629" y="5301691"/>
            <a:ext cx="1203835" cy="233524"/>
          </a:xfrm>
          <a:prstGeom prst="rect">
            <a:avLst/>
          </a:prstGeom>
          <a:noFill/>
        </p:spPr>
        <p:txBody>
          <a:bodyPr wrap="none" lIns="91414" tIns="45706" rIns="91414" bIns="45706" rtlCol="0">
            <a:spAutoFit/>
          </a:bodyPr>
          <a:lstStyle/>
          <a:p>
            <a:pPr defTabSz="914192">
              <a:lnSpc>
                <a:spcPct val="90000"/>
              </a:lnSpc>
              <a:spcAft>
                <a:spcPts val="600"/>
              </a:spcAft>
              <a:defRPr/>
            </a:pPr>
            <a:r>
              <a:rPr lang="en-US" sz="1000">
                <a:solidFill>
                  <a:srgbClr val="3C3C41"/>
                </a:solidFill>
                <a:latin typeface="Segoe UI"/>
                <a:cs typeface="Segoe UI Semibold" panose="020B0702040204020203" pitchFamily="34" charset="0"/>
              </a:rPr>
              <a:t>Secondary replica</a:t>
            </a:r>
          </a:p>
        </p:txBody>
      </p:sp>
      <p:graphicFrame>
        <p:nvGraphicFramePr>
          <p:cNvPr id="88" name="Rows alternating">
            <a:extLst>
              <a:ext uri="{FF2B5EF4-FFF2-40B4-BE49-F238E27FC236}">
                <a16:creationId xmlns:a16="http://schemas.microsoft.com/office/drawing/2014/main" id="{1E171113-4CE7-4446-9837-BEF13C3A70ED}"/>
              </a:ext>
            </a:extLst>
          </p:cNvPr>
          <p:cNvGraphicFramePr>
            <a:graphicFrameLocks noGrp="1"/>
          </p:cNvGraphicFramePr>
          <p:nvPr>
            <p:ph sz="quarter" idx="13"/>
            <p:custDataLst>
              <p:tags r:id="rId1"/>
            </p:custDataLst>
            <p:extLst>
              <p:ext uri="{D42A27DB-BD31-4B8C-83A1-F6EECF244321}">
                <p14:modId xmlns:p14="http://schemas.microsoft.com/office/powerpoint/2010/main" val="2187000322"/>
              </p:ext>
            </p:extLst>
          </p:nvPr>
        </p:nvGraphicFramePr>
        <p:xfrm>
          <a:off x="655638" y="1408113"/>
          <a:ext cx="5761916" cy="4968240"/>
        </p:xfrm>
        <a:graphic>
          <a:graphicData uri="http://schemas.openxmlformats.org/drawingml/2006/table">
            <a:tbl>
              <a:tblPr firstRow="1" bandRow="1">
                <a:tableStyleId>{93296810-A885-4BE3-A3E7-6D5BEEA58F35}</a:tableStyleId>
              </a:tblPr>
              <a:tblGrid>
                <a:gridCol w="3029863">
                  <a:extLst>
                    <a:ext uri="{9D8B030D-6E8A-4147-A177-3AD203B41FA5}">
                      <a16:colId xmlns:a16="http://schemas.microsoft.com/office/drawing/2014/main" val="20000"/>
                    </a:ext>
                  </a:extLst>
                </a:gridCol>
                <a:gridCol w="2732053">
                  <a:extLst>
                    <a:ext uri="{9D8B030D-6E8A-4147-A177-3AD203B41FA5}">
                      <a16:colId xmlns:a16="http://schemas.microsoft.com/office/drawing/2014/main" val="20003"/>
                    </a:ext>
                  </a:extLst>
                </a:gridCol>
              </a:tblGrid>
              <a:tr h="139065">
                <a:tc>
                  <a:txBody>
                    <a:bodyPr/>
                    <a:lstStyle/>
                    <a:p>
                      <a:r>
                        <a:rPr lang="en-US" sz="1000">
                          <a:latin typeface="Swis721 Mio" pitchFamily="34" charset="0"/>
                        </a:rPr>
                        <a:t>Feature</a:t>
                      </a:r>
                    </a:p>
                  </a:txBody>
                  <a:tcPr>
                    <a:solidFill>
                      <a:schemeClr val="dk2"/>
                    </a:solidFill>
                  </a:tcPr>
                </a:tc>
                <a:tc>
                  <a:txBody>
                    <a:bodyPr/>
                    <a:lstStyle/>
                    <a:p>
                      <a:r>
                        <a:rPr lang="en-US" sz="1000">
                          <a:latin typeface="Swis721 Mio" pitchFamily="34" charset="0"/>
                        </a:rPr>
                        <a:t>Description</a:t>
                      </a:r>
                    </a:p>
                  </a:txBody>
                  <a:tcPr>
                    <a:solidFill>
                      <a:schemeClr val="dk2"/>
                    </a:solidFill>
                  </a:tcPr>
                </a:tc>
                <a:extLst>
                  <a:ext uri="{0D108BD9-81ED-4DB2-BD59-A6C34878D82A}">
                    <a16:rowId xmlns:a16="http://schemas.microsoft.com/office/drawing/2014/main" val="10000"/>
                  </a:ext>
                </a:extLst>
              </a:tr>
              <a:tr h="139065">
                <a:tc>
                  <a:txBody>
                    <a:bodyPr/>
                    <a:lstStyle/>
                    <a:p>
                      <a:r>
                        <a:rPr lang="en-US" sz="1000">
                          <a:latin typeface="Swis721 Mio" pitchFamily="34" charset="0"/>
                        </a:rPr>
                        <a:t>Number of </a:t>
                      </a:r>
                      <a:r>
                        <a:rPr lang="en-US" sz="1000" err="1">
                          <a:latin typeface="Swis721 Mio" pitchFamily="34" charset="0"/>
                        </a:rPr>
                        <a:t>vCores</a:t>
                      </a:r>
                      <a:endParaRPr lang="en-US" sz="1000">
                        <a:latin typeface="Swis721 Mio" pitchFamily="34" charset="0"/>
                      </a:endParaRPr>
                    </a:p>
                  </a:txBody>
                  <a:tcPr>
                    <a:solidFill>
                      <a:srgbClr val="D2D2D2"/>
                    </a:solidFill>
                  </a:tcPr>
                </a:tc>
                <a:tc>
                  <a:txBody>
                    <a:bodyPr/>
                    <a:lstStyle/>
                    <a:p>
                      <a:r>
                        <a:rPr lang="en-US" sz="1000">
                          <a:latin typeface="Swis721 Mio" pitchFamily="34" charset="0"/>
                        </a:rPr>
                        <a:t>8, 16, 24, 32 (Gen 4)</a:t>
                      </a:r>
                      <a:br>
                        <a:rPr lang="en-US" sz="1000">
                          <a:latin typeface="Swis721 Mio" pitchFamily="34" charset="0"/>
                        </a:rPr>
                      </a:br>
                      <a:r>
                        <a:rPr lang="en-US" sz="1000">
                          <a:latin typeface="Swis721 Mio" pitchFamily="34" charset="0"/>
                        </a:rPr>
                        <a:t>8, 16, 24, 32, 40, 64, 80 (Gen 5)</a:t>
                      </a:r>
                    </a:p>
                    <a:p>
                      <a:r>
                        <a:rPr lang="en-US" sz="1000">
                          <a:latin typeface="Swis721 Mio" pitchFamily="34" charset="0"/>
                        </a:rPr>
                        <a:t>128 (M-series)</a:t>
                      </a:r>
                    </a:p>
                  </a:txBody>
                  <a:tcPr>
                    <a:solidFill>
                      <a:srgbClr val="D2D2D2"/>
                    </a:solidFill>
                  </a:tcPr>
                </a:tc>
                <a:extLst>
                  <a:ext uri="{0D108BD9-81ED-4DB2-BD59-A6C34878D82A}">
                    <a16:rowId xmlns:a16="http://schemas.microsoft.com/office/drawing/2014/main" val="10001"/>
                  </a:ext>
                </a:extLst>
              </a:tr>
              <a:tr h="139065">
                <a:tc>
                  <a:txBody>
                    <a:bodyPr/>
                    <a:lstStyle/>
                    <a:p>
                      <a:r>
                        <a:rPr lang="en-US" sz="1000">
                          <a:latin typeface="Swis721 Mio" pitchFamily="34" charset="0"/>
                        </a:rPr>
                        <a:t>SQL Server version / build</a:t>
                      </a:r>
                    </a:p>
                  </a:txBody>
                  <a:tcPr>
                    <a:solidFill>
                      <a:schemeClr val="lt2"/>
                    </a:solidFill>
                  </a:tcPr>
                </a:tc>
                <a:tc>
                  <a:txBody>
                    <a:bodyPr/>
                    <a:lstStyle/>
                    <a:p>
                      <a:r>
                        <a:rPr lang="en-US" sz="1000">
                          <a:latin typeface="Swis721 Mio" pitchFamily="34" charset="0"/>
                        </a:rPr>
                        <a:t>SQL Server (latest available)</a:t>
                      </a:r>
                    </a:p>
                  </a:txBody>
                  <a:tcPr>
                    <a:solidFill>
                      <a:schemeClr val="lt2"/>
                    </a:solidFill>
                  </a:tcPr>
                </a:tc>
                <a:extLst>
                  <a:ext uri="{0D108BD9-81ED-4DB2-BD59-A6C34878D82A}">
                    <a16:rowId xmlns:a16="http://schemas.microsoft.com/office/drawing/2014/main" val="10004"/>
                  </a:ext>
                </a:extLst>
              </a:tr>
              <a:tr h="139065">
                <a:tc>
                  <a:txBody>
                    <a:bodyPr/>
                    <a:lstStyle/>
                    <a:p>
                      <a:r>
                        <a:rPr lang="en-US" sz="1000">
                          <a:latin typeface="Swis721 Mio" pitchFamily="34" charset="0"/>
                        </a:rPr>
                        <a:t>Additional features</a:t>
                      </a:r>
                    </a:p>
                  </a:txBody>
                  <a:tcPr>
                    <a:solidFill>
                      <a:schemeClr val="lt2"/>
                    </a:solidFill>
                  </a:tcPr>
                </a:tc>
                <a:tc>
                  <a:txBody>
                    <a:bodyPr/>
                    <a:lstStyle/>
                    <a:p>
                      <a:r>
                        <a:rPr lang="en-US" sz="1000">
                          <a:latin typeface="Swis721 Mio" pitchFamily="34" charset="0"/>
                        </a:rPr>
                        <a:t>In-Memory OLTP</a:t>
                      </a:r>
                      <a:br>
                        <a:rPr lang="en-US" sz="1000">
                          <a:latin typeface="Swis721 Mio" pitchFamily="34" charset="0"/>
                        </a:rPr>
                      </a:br>
                      <a:r>
                        <a:rPr lang="en-US" sz="1000">
                          <a:latin typeface="Swis721 Mio" pitchFamily="34" charset="0"/>
                        </a:rPr>
                        <a:t>1 additional read-only replica (Read Scale-Out)</a:t>
                      </a:r>
                    </a:p>
                  </a:txBody>
                  <a:tcPr>
                    <a:solidFill>
                      <a:schemeClr val="lt2"/>
                    </a:solidFill>
                  </a:tcPr>
                </a:tc>
                <a:extLst>
                  <a:ext uri="{0D108BD9-81ED-4DB2-BD59-A6C34878D82A}">
                    <a16:rowId xmlns:a16="http://schemas.microsoft.com/office/drawing/2014/main" val="10005"/>
                  </a:ext>
                </a:extLst>
              </a:tr>
              <a:tr h="139065">
                <a:tc>
                  <a:txBody>
                    <a:bodyPr/>
                    <a:lstStyle/>
                    <a:p>
                      <a:r>
                        <a:rPr lang="en-US" sz="1000">
                          <a:latin typeface="Swis721 Mio" pitchFamily="34" charset="0"/>
                        </a:rPr>
                        <a:t>Min storage size</a:t>
                      </a:r>
                    </a:p>
                  </a:txBody>
                  <a:tcPr>
                    <a:solidFill>
                      <a:schemeClr val="lt2"/>
                    </a:solidFill>
                  </a:tcPr>
                </a:tc>
                <a:tc>
                  <a:txBody>
                    <a:bodyPr/>
                    <a:lstStyle/>
                    <a:p>
                      <a:r>
                        <a:rPr lang="en-US" sz="1000">
                          <a:latin typeface="Swis721 Mio" pitchFamily="34" charset="0"/>
                        </a:rPr>
                        <a:t>32 GB</a:t>
                      </a:r>
                    </a:p>
                  </a:txBody>
                  <a:tcPr>
                    <a:solidFill>
                      <a:schemeClr val="lt2"/>
                    </a:solidFill>
                  </a:tcPr>
                </a:tc>
                <a:extLst>
                  <a:ext uri="{0D108BD9-81ED-4DB2-BD59-A6C34878D82A}">
                    <a16:rowId xmlns:a16="http://schemas.microsoft.com/office/drawing/2014/main" val="10006"/>
                  </a:ext>
                </a:extLst>
              </a:tr>
              <a:tr h="139065">
                <a:tc>
                  <a:txBody>
                    <a:bodyPr/>
                    <a:lstStyle/>
                    <a:p>
                      <a:r>
                        <a:rPr lang="en-US" sz="1000">
                          <a:latin typeface="Swis721 Mio" pitchFamily="34" charset="0"/>
                        </a:rPr>
                        <a:t>Max storage size</a:t>
                      </a:r>
                    </a:p>
                  </a:txBody>
                  <a:tcPr>
                    <a:solidFill>
                      <a:schemeClr val="lt2"/>
                    </a:solidFill>
                  </a:tcPr>
                </a:tc>
                <a:tc>
                  <a:txBody>
                    <a:bodyPr/>
                    <a:lstStyle/>
                    <a:p>
                      <a:r>
                        <a:rPr lang="en-US" sz="1000" dirty="0">
                          <a:latin typeface="Swis721 Mio" pitchFamily="34" charset="0"/>
                        </a:rPr>
                        <a:t>Gen 4: 1 TB (all vCore sizes</a:t>
                      </a:r>
                      <a:br>
                        <a:rPr lang="en-US" sz="1000" dirty="0">
                          <a:latin typeface="Swis721 Mio" pitchFamily="34" charset="0"/>
                        </a:rPr>
                      </a:br>
                      <a:r>
                        <a:rPr lang="en-US" sz="1000" dirty="0">
                          <a:latin typeface="Swis721 Mio" pitchFamily="34" charset="0"/>
                        </a:rPr>
                        <a:t>Gen 5:1 TB for 8, 16 </a:t>
                      </a:r>
                      <a:r>
                        <a:rPr lang="en-US" sz="1000" dirty="0" err="1">
                          <a:latin typeface="Swis721 Mio" pitchFamily="34" charset="0"/>
                        </a:rPr>
                        <a:t>vCores</a:t>
                      </a:r>
                      <a:endParaRPr lang="en-US" sz="1000" dirty="0">
                        <a:latin typeface="Swis721 Mio" pitchFamily="34" charset="0"/>
                      </a:endParaRPr>
                    </a:p>
                    <a:p>
                      <a:r>
                        <a:rPr lang="en-US" sz="1000" dirty="0">
                          <a:latin typeface="Swis721 Mio" pitchFamily="34" charset="0"/>
                        </a:rPr>
                        <a:t>2 TB for 24 </a:t>
                      </a:r>
                      <a:r>
                        <a:rPr lang="en-US" sz="1000" dirty="0" err="1">
                          <a:latin typeface="Swis721 Mio" pitchFamily="34" charset="0"/>
                        </a:rPr>
                        <a:t>vCores</a:t>
                      </a:r>
                      <a:endParaRPr lang="en-US" sz="1000" dirty="0">
                        <a:latin typeface="Swis721 Mio" pitchFamily="34" charset="0"/>
                      </a:endParaRPr>
                    </a:p>
                    <a:p>
                      <a:r>
                        <a:rPr lang="en-US" sz="1000" dirty="0">
                          <a:latin typeface="Swis721 Mio" pitchFamily="34" charset="0"/>
                        </a:rPr>
                        <a:t>4 TB for 32, 40, 64, 80 </a:t>
                      </a:r>
                      <a:r>
                        <a:rPr lang="en-US" sz="1000" dirty="0" err="1">
                          <a:latin typeface="Swis721 Mio" pitchFamily="34" charset="0"/>
                        </a:rPr>
                        <a:t>vCores</a:t>
                      </a:r>
                      <a:endParaRPr lang="en-US" sz="1000" dirty="0">
                        <a:latin typeface="Swis721 Mio" pitchFamily="34" charset="0"/>
                      </a:endParaRPr>
                    </a:p>
                  </a:txBody>
                  <a:tcPr>
                    <a:solidFill>
                      <a:schemeClr val="lt2"/>
                    </a:solidFill>
                  </a:tcPr>
                </a:tc>
                <a:extLst>
                  <a:ext uri="{0D108BD9-81ED-4DB2-BD59-A6C34878D82A}">
                    <a16:rowId xmlns:a16="http://schemas.microsoft.com/office/drawing/2014/main" val="10007"/>
                  </a:ext>
                </a:extLst>
              </a:tr>
              <a:tr h="139065">
                <a:tc>
                  <a:txBody>
                    <a:bodyPr/>
                    <a:lstStyle/>
                    <a:p>
                      <a:r>
                        <a:rPr lang="en-US" sz="1000">
                          <a:latin typeface="Swis721 Mio" pitchFamily="34" charset="0"/>
                        </a:rPr>
                        <a:t>Max storage per database</a:t>
                      </a:r>
                    </a:p>
                  </a:txBody>
                  <a:tcPr>
                    <a:solidFill>
                      <a:schemeClr val="lt2"/>
                    </a:solidFill>
                  </a:tcPr>
                </a:tc>
                <a:tc>
                  <a:txBody>
                    <a:bodyPr/>
                    <a:lstStyle/>
                    <a:p>
                      <a:r>
                        <a:rPr lang="en-US" sz="1000">
                          <a:latin typeface="Swis721 Mio" pitchFamily="34" charset="0"/>
                        </a:rPr>
                        <a:t>Determined by the max storage size per instance</a:t>
                      </a:r>
                    </a:p>
                  </a:txBody>
                  <a:tcPr>
                    <a:solidFill>
                      <a:schemeClr val="lt2"/>
                    </a:solidFill>
                  </a:tcPr>
                </a:tc>
                <a:extLst>
                  <a:ext uri="{0D108BD9-81ED-4DB2-BD59-A6C34878D82A}">
                    <a16:rowId xmlns:a16="http://schemas.microsoft.com/office/drawing/2014/main" val="10008"/>
                  </a:ext>
                </a:extLst>
              </a:tr>
              <a:tr h="139065">
                <a:tc>
                  <a:txBody>
                    <a:bodyPr/>
                    <a:lstStyle/>
                    <a:p>
                      <a:r>
                        <a:rPr lang="en-US" sz="1000">
                          <a:latin typeface="Swis721 Mio" pitchFamily="34" charset="0"/>
                        </a:rPr>
                        <a:t>Number of data files (ROWS) per the database</a:t>
                      </a:r>
                    </a:p>
                  </a:txBody>
                  <a:tcPr>
                    <a:solidFill>
                      <a:schemeClr val="lt2"/>
                    </a:solidFill>
                  </a:tcPr>
                </a:tc>
                <a:tc>
                  <a:txBody>
                    <a:bodyPr/>
                    <a:lstStyle/>
                    <a:p>
                      <a:r>
                        <a:rPr lang="en-US" sz="1000">
                          <a:latin typeface="Swis721 Mio" pitchFamily="34" charset="0"/>
                        </a:rPr>
                        <a:t>Multiple</a:t>
                      </a:r>
                    </a:p>
                  </a:txBody>
                  <a:tcPr>
                    <a:solidFill>
                      <a:schemeClr val="lt2"/>
                    </a:solidFill>
                  </a:tcPr>
                </a:tc>
                <a:extLst>
                  <a:ext uri="{0D108BD9-81ED-4DB2-BD59-A6C34878D82A}">
                    <a16:rowId xmlns:a16="http://schemas.microsoft.com/office/drawing/2014/main" val="10009"/>
                  </a:ext>
                </a:extLst>
              </a:tr>
              <a:tr h="139065">
                <a:tc>
                  <a:txBody>
                    <a:bodyPr/>
                    <a:lstStyle/>
                    <a:p>
                      <a:r>
                        <a:rPr lang="en-US" sz="1000">
                          <a:latin typeface="Swis721 Mio" pitchFamily="34" charset="0"/>
                        </a:rPr>
                        <a:t>Number of log files (LOG) per database</a:t>
                      </a:r>
                    </a:p>
                  </a:txBody>
                  <a:tcPr>
                    <a:solidFill>
                      <a:schemeClr val="lt2"/>
                    </a:solidFill>
                  </a:tcPr>
                </a:tc>
                <a:tc>
                  <a:txBody>
                    <a:bodyPr/>
                    <a:lstStyle/>
                    <a:p>
                      <a:r>
                        <a:rPr lang="en-US" sz="1000">
                          <a:latin typeface="Swis721 Mio" pitchFamily="34" charset="0"/>
                        </a:rPr>
                        <a:t>1</a:t>
                      </a:r>
                    </a:p>
                  </a:txBody>
                  <a:tcPr>
                    <a:solidFill>
                      <a:schemeClr val="lt2"/>
                    </a:solidFill>
                  </a:tcPr>
                </a:tc>
                <a:extLst>
                  <a:ext uri="{0D108BD9-81ED-4DB2-BD59-A6C34878D82A}">
                    <a16:rowId xmlns:a16="http://schemas.microsoft.com/office/drawing/2014/main" val="10010"/>
                  </a:ext>
                </a:extLst>
              </a:tr>
              <a:tr h="139065">
                <a:tc>
                  <a:txBody>
                    <a:bodyPr/>
                    <a:lstStyle/>
                    <a:p>
                      <a:r>
                        <a:rPr lang="en-US" sz="1000">
                          <a:latin typeface="Swis721 Mio" pitchFamily="34" charset="0"/>
                        </a:rPr>
                        <a:t>Managed automated backups</a:t>
                      </a:r>
                    </a:p>
                  </a:txBody>
                  <a:tcPr>
                    <a:solidFill>
                      <a:schemeClr val="lt2"/>
                    </a:solidFill>
                  </a:tcPr>
                </a:tc>
                <a:tc>
                  <a:txBody>
                    <a:bodyPr/>
                    <a:lstStyle/>
                    <a:p>
                      <a:r>
                        <a:rPr lang="en-US" sz="1000">
                          <a:latin typeface="Swis721 Mio" pitchFamily="34" charset="0"/>
                        </a:rPr>
                        <a:t>Yes</a:t>
                      </a:r>
                    </a:p>
                  </a:txBody>
                  <a:tcPr>
                    <a:solidFill>
                      <a:schemeClr val="lt2"/>
                    </a:solidFill>
                  </a:tcPr>
                </a:tc>
                <a:extLst>
                  <a:ext uri="{0D108BD9-81ED-4DB2-BD59-A6C34878D82A}">
                    <a16:rowId xmlns:a16="http://schemas.microsoft.com/office/drawing/2014/main" val="10011"/>
                  </a:ext>
                </a:extLst>
              </a:tr>
              <a:tr h="139065">
                <a:tc>
                  <a:txBody>
                    <a:bodyPr/>
                    <a:lstStyle/>
                    <a:p>
                      <a:r>
                        <a:rPr lang="en-US" sz="1000">
                          <a:latin typeface="Swis721 Mio" pitchFamily="34" charset="0"/>
                        </a:rPr>
                        <a:t>HA</a:t>
                      </a:r>
                    </a:p>
                  </a:txBody>
                  <a:tcPr>
                    <a:solidFill>
                      <a:schemeClr val="lt2"/>
                    </a:solidFill>
                  </a:tcPr>
                </a:tc>
                <a:tc>
                  <a:txBody>
                    <a:bodyPr/>
                    <a:lstStyle/>
                    <a:p>
                      <a:r>
                        <a:rPr lang="en-US" sz="1000">
                          <a:latin typeface="Swis721 Mio" pitchFamily="34" charset="0"/>
                        </a:rPr>
                        <a:t>Based on Always On Availability Groups and Azure Service Fabric</a:t>
                      </a:r>
                    </a:p>
                  </a:txBody>
                  <a:tcPr>
                    <a:solidFill>
                      <a:schemeClr val="lt2"/>
                    </a:solidFill>
                  </a:tcPr>
                </a:tc>
                <a:extLst>
                  <a:ext uri="{0D108BD9-81ED-4DB2-BD59-A6C34878D82A}">
                    <a16:rowId xmlns:a16="http://schemas.microsoft.com/office/drawing/2014/main" val="10012"/>
                  </a:ext>
                </a:extLst>
              </a:tr>
              <a:tr h="139065">
                <a:tc>
                  <a:txBody>
                    <a:bodyPr/>
                    <a:lstStyle/>
                    <a:p>
                      <a:r>
                        <a:rPr lang="en-US" sz="1000">
                          <a:latin typeface="Swis721 Mio" pitchFamily="34" charset="0"/>
                        </a:rPr>
                        <a:t>Built-in instance and database monitoring and metrics</a:t>
                      </a:r>
                    </a:p>
                  </a:txBody>
                  <a:tcPr>
                    <a:solidFill>
                      <a:schemeClr val="lt2"/>
                    </a:solidFill>
                  </a:tcPr>
                </a:tc>
                <a:tc>
                  <a:txBody>
                    <a:bodyPr/>
                    <a:lstStyle/>
                    <a:p>
                      <a:r>
                        <a:rPr lang="en-US" sz="1000">
                          <a:latin typeface="Swis721 Mio" pitchFamily="34" charset="0"/>
                        </a:rPr>
                        <a:t>Yes</a:t>
                      </a:r>
                    </a:p>
                  </a:txBody>
                  <a:tcPr>
                    <a:solidFill>
                      <a:schemeClr val="lt2"/>
                    </a:solidFill>
                  </a:tcPr>
                </a:tc>
                <a:extLst>
                  <a:ext uri="{0D108BD9-81ED-4DB2-BD59-A6C34878D82A}">
                    <a16:rowId xmlns:a16="http://schemas.microsoft.com/office/drawing/2014/main" val="10013"/>
                  </a:ext>
                </a:extLst>
              </a:tr>
              <a:tr h="139065">
                <a:tc>
                  <a:txBody>
                    <a:bodyPr/>
                    <a:lstStyle/>
                    <a:p>
                      <a:r>
                        <a:rPr lang="en-US" sz="1000">
                          <a:latin typeface="Swis721 Mio" pitchFamily="34" charset="0"/>
                        </a:rPr>
                        <a:t>Automatic software patching</a:t>
                      </a:r>
                    </a:p>
                  </a:txBody>
                  <a:tcPr>
                    <a:solidFill>
                      <a:schemeClr val="lt2"/>
                    </a:solidFill>
                  </a:tcPr>
                </a:tc>
                <a:tc>
                  <a:txBody>
                    <a:bodyPr/>
                    <a:lstStyle/>
                    <a:p>
                      <a:r>
                        <a:rPr lang="en-US" sz="1000">
                          <a:latin typeface="Swis721 Mio" pitchFamily="34" charset="0"/>
                        </a:rPr>
                        <a:t>Yes</a:t>
                      </a:r>
                    </a:p>
                  </a:txBody>
                  <a:tcPr>
                    <a:solidFill>
                      <a:schemeClr val="lt2"/>
                    </a:solidFill>
                  </a:tcPr>
                </a:tc>
                <a:extLst>
                  <a:ext uri="{0D108BD9-81ED-4DB2-BD59-A6C34878D82A}">
                    <a16:rowId xmlns:a16="http://schemas.microsoft.com/office/drawing/2014/main" val="10014"/>
                  </a:ext>
                </a:extLst>
              </a:tr>
              <a:tr h="139065">
                <a:tc>
                  <a:txBody>
                    <a:bodyPr/>
                    <a:lstStyle/>
                    <a:p>
                      <a:r>
                        <a:rPr lang="en-US" sz="1000">
                          <a:latin typeface="Swis721 Mio" pitchFamily="34" charset="0"/>
                        </a:rPr>
                        <a:t>VNet - Azure Resource Manager deployment</a:t>
                      </a:r>
                    </a:p>
                  </a:txBody>
                  <a:tcPr>
                    <a:solidFill>
                      <a:schemeClr val="lt2"/>
                    </a:solidFill>
                  </a:tcPr>
                </a:tc>
                <a:tc>
                  <a:txBody>
                    <a:bodyPr/>
                    <a:lstStyle/>
                    <a:p>
                      <a:r>
                        <a:rPr lang="en-US" sz="1000">
                          <a:latin typeface="Swis721 Mio" pitchFamily="34" charset="0"/>
                        </a:rPr>
                        <a:t>Yes</a:t>
                      </a:r>
                    </a:p>
                  </a:txBody>
                  <a:tcPr>
                    <a:solidFill>
                      <a:schemeClr val="lt2"/>
                    </a:solidFill>
                  </a:tcPr>
                </a:tc>
                <a:extLst>
                  <a:ext uri="{0D108BD9-81ED-4DB2-BD59-A6C34878D82A}">
                    <a16:rowId xmlns:a16="http://schemas.microsoft.com/office/drawing/2014/main" val="10015"/>
                  </a:ext>
                </a:extLst>
              </a:tr>
              <a:tr h="139065">
                <a:tc>
                  <a:txBody>
                    <a:bodyPr/>
                    <a:lstStyle/>
                    <a:p>
                      <a:r>
                        <a:rPr lang="en-US" sz="1000">
                          <a:latin typeface="Swis721 Mio" pitchFamily="34" charset="0"/>
                        </a:rPr>
                        <a:t>VNet - Classic deployment model</a:t>
                      </a:r>
                    </a:p>
                  </a:txBody>
                  <a:tcPr>
                    <a:solidFill>
                      <a:schemeClr val="lt2"/>
                    </a:solidFill>
                  </a:tcPr>
                </a:tc>
                <a:tc>
                  <a:txBody>
                    <a:bodyPr/>
                    <a:lstStyle/>
                    <a:p>
                      <a:r>
                        <a:rPr lang="en-US" sz="1000">
                          <a:latin typeface="Swis721 Mio" pitchFamily="34" charset="0"/>
                        </a:rPr>
                        <a:t>No</a:t>
                      </a:r>
                    </a:p>
                  </a:txBody>
                  <a:tcPr>
                    <a:solidFill>
                      <a:schemeClr val="lt2"/>
                    </a:solidFill>
                  </a:tcPr>
                </a:tc>
                <a:extLst>
                  <a:ext uri="{0D108BD9-81ED-4DB2-BD59-A6C34878D82A}">
                    <a16:rowId xmlns:a16="http://schemas.microsoft.com/office/drawing/2014/main" val="10002"/>
                  </a:ext>
                </a:extLst>
              </a:tr>
              <a:tr h="139065">
                <a:tc>
                  <a:txBody>
                    <a:bodyPr/>
                    <a:lstStyle/>
                    <a:p>
                      <a:r>
                        <a:rPr lang="en-US" sz="1000">
                          <a:latin typeface="Swis721 Mio" pitchFamily="34" charset="0"/>
                        </a:rPr>
                        <a:t>Portal support</a:t>
                      </a:r>
                    </a:p>
                  </a:txBody>
                  <a:tcPr>
                    <a:solidFill>
                      <a:srgbClr val="D2D2D2"/>
                    </a:solidFill>
                  </a:tcPr>
                </a:tc>
                <a:tc>
                  <a:txBody>
                    <a:bodyPr/>
                    <a:lstStyle/>
                    <a:p>
                      <a:r>
                        <a:rPr lang="en-US" sz="1000">
                          <a:latin typeface="Swis721 Mio" pitchFamily="34" charset="0"/>
                        </a:rPr>
                        <a:t>Yes</a:t>
                      </a:r>
                    </a:p>
                  </a:txBody>
                  <a:tcPr>
                    <a:solidFill>
                      <a:srgbClr val="D2D2D2"/>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0155192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     Hyperscale</a:t>
            </a:r>
          </a:p>
        </p:txBody>
      </p:sp>
      <p:grpSp>
        <p:nvGrpSpPr>
          <p:cNvPr id="5" name="Group 4">
            <a:extLst>
              <a:ext uri="{FF2B5EF4-FFF2-40B4-BE49-F238E27FC236}">
                <a16:creationId xmlns:a16="http://schemas.microsoft.com/office/drawing/2014/main" id="{095D5D7D-B72C-4197-ADE3-E884B37556FE}"/>
              </a:ext>
            </a:extLst>
          </p:cNvPr>
          <p:cNvGrpSpPr/>
          <p:nvPr/>
        </p:nvGrpSpPr>
        <p:grpSpPr>
          <a:xfrm>
            <a:off x="655636" y="353766"/>
            <a:ext cx="457111" cy="430278"/>
            <a:chOff x="0" y="0"/>
            <a:chExt cx="815248" cy="984722"/>
          </a:xfrm>
        </p:grpSpPr>
        <p:sp>
          <p:nvSpPr>
            <p:cNvPr id="6" name="Freeform 182">
              <a:extLst>
                <a:ext uri="{FF2B5EF4-FFF2-40B4-BE49-F238E27FC236}">
                  <a16:creationId xmlns:a16="http://schemas.microsoft.com/office/drawing/2014/main" id="{E3DEE637-13E4-4EF9-B8CD-43D742DA483C}"/>
                </a:ext>
              </a:extLst>
            </p:cNvPr>
            <p:cNvSpPr/>
            <p:nvPr/>
          </p:nvSpPr>
          <p:spPr bwMode="auto">
            <a:xfrm>
              <a:off x="0" y="0"/>
              <a:ext cx="645030" cy="82728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137141" tIns="109712" rIns="137141" bIns="109712"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99220" fontAlgn="base">
                <a:lnSpc>
                  <a:spcPct val="90000"/>
                </a:lnSpc>
                <a:spcBef>
                  <a:spcPct val="0"/>
                </a:spcBef>
                <a:spcAft>
                  <a:spcPct val="0"/>
                </a:spcAft>
                <a:defRPr/>
              </a:pPr>
              <a:endParaRPr lang="en-US"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Freeform 28">
              <a:extLst>
                <a:ext uri="{FF2B5EF4-FFF2-40B4-BE49-F238E27FC236}">
                  <a16:creationId xmlns:a16="http://schemas.microsoft.com/office/drawing/2014/main" id="{090BF933-A8C6-4B05-B3E8-98210FF266B3}"/>
                </a:ext>
              </a:extLst>
            </p:cNvPr>
            <p:cNvSpPr/>
            <p:nvPr/>
          </p:nvSpPr>
          <p:spPr bwMode="auto">
            <a:xfrm>
              <a:off x="425605" y="313978"/>
              <a:ext cx="389643" cy="670744"/>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solidFill>
              <a:srgbClr val="50E6FF"/>
            </a:solidFill>
            <a:ln w="12700" cap="flat" cmpd="sng" algn="ctr">
              <a:noFill/>
              <a:prstDash val="solid"/>
              <a:bevel/>
              <a:headEnd type="none" w="med" len="med"/>
              <a:tailEnd type="none" w="med" len="med"/>
            </a:ln>
            <a:effectLst/>
          </p:spPr>
          <p:txBody>
            <a:bodyPr rot="0" spcFirstLastPara="0" vert="horz" wrap="square" lIns="137141" tIns="109712" rIns="137141" bIns="109712"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99220" fontAlgn="base">
                <a:lnSpc>
                  <a:spcPct val="90000"/>
                </a:lnSpc>
                <a:spcBef>
                  <a:spcPct val="0"/>
                </a:spcBef>
                <a:spcAft>
                  <a:spcPct val="0"/>
                </a:spcAft>
                <a:defRPr/>
              </a:pPr>
              <a:endParaRPr lang="en-US"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 name="TextBox 8">
            <a:extLst>
              <a:ext uri="{FF2B5EF4-FFF2-40B4-BE49-F238E27FC236}">
                <a16:creationId xmlns:a16="http://schemas.microsoft.com/office/drawing/2014/main" id="{DE491008-EC9B-44E9-9503-95EF2ACF9281}"/>
              </a:ext>
            </a:extLst>
          </p:cNvPr>
          <p:cNvSpPr txBox="1"/>
          <p:nvPr/>
        </p:nvSpPr>
        <p:spPr>
          <a:xfrm>
            <a:off x="6747414" y="6283506"/>
            <a:ext cx="4326757" cy="286204"/>
          </a:xfrm>
          <a:prstGeom prst="rect">
            <a:avLst/>
          </a:prstGeom>
          <a:noFill/>
        </p:spPr>
        <p:txBody>
          <a:bodyPr wrap="square" lIns="91414" tIns="45706" rIns="91414" bIns="45706" rtlCol="0">
            <a:spAutoFit/>
          </a:bodyPr>
          <a:lstStyle/>
          <a:p>
            <a:pPr defTabSz="914192">
              <a:lnSpc>
                <a:spcPct val="90000"/>
              </a:lnSpc>
              <a:spcAft>
                <a:spcPts val="600"/>
              </a:spcAft>
              <a:defRPr/>
            </a:pPr>
            <a:r>
              <a:rPr lang="en-US" sz="1400">
                <a:solidFill>
                  <a:srgbClr val="000000"/>
                </a:solidFill>
                <a:latin typeface="Segoe UI Semibold" panose="020B0702040204020203" pitchFamily="34" charset="0"/>
                <a:cs typeface="Segoe UI Semibold" panose="020B0702040204020203" pitchFamily="34" charset="0"/>
              </a:rPr>
              <a:t>Hyperscale Service Tier – Availability of Storage</a:t>
            </a:r>
          </a:p>
        </p:txBody>
      </p:sp>
      <p:pic>
        <p:nvPicPr>
          <p:cNvPr id="10" name="Picture 9">
            <a:extLst>
              <a:ext uri="{FF2B5EF4-FFF2-40B4-BE49-F238E27FC236}">
                <a16:creationId xmlns:a16="http://schemas.microsoft.com/office/drawing/2014/main" id="{94BF0BA6-DC7B-45D6-8401-9EB656AB94D3}"/>
              </a:ext>
            </a:extLst>
          </p:cNvPr>
          <p:cNvPicPr>
            <a:picLocks noChangeAspect="1"/>
          </p:cNvPicPr>
          <p:nvPr/>
        </p:nvPicPr>
        <p:blipFill>
          <a:blip r:embed="rId4"/>
          <a:stretch>
            <a:fillRect/>
          </a:stretch>
        </p:blipFill>
        <p:spPr>
          <a:xfrm>
            <a:off x="6629400" y="1136904"/>
            <a:ext cx="4191000" cy="5146602"/>
          </a:xfrm>
          <a:prstGeom prst="rect">
            <a:avLst/>
          </a:prstGeom>
        </p:spPr>
      </p:pic>
      <p:graphicFrame>
        <p:nvGraphicFramePr>
          <p:cNvPr id="12" name="Rows alternating">
            <a:extLst>
              <a:ext uri="{FF2B5EF4-FFF2-40B4-BE49-F238E27FC236}">
                <a16:creationId xmlns:a16="http://schemas.microsoft.com/office/drawing/2014/main" id="{FF84E770-C362-4CD8-B4F9-D2EA91C71BEC}"/>
              </a:ext>
            </a:extLst>
          </p:cNvPr>
          <p:cNvGraphicFramePr>
            <a:graphicFrameLocks/>
          </p:cNvGraphicFramePr>
          <p:nvPr>
            <p:custDataLst>
              <p:tags r:id="rId1"/>
            </p:custDataLst>
            <p:extLst>
              <p:ext uri="{D42A27DB-BD31-4B8C-83A1-F6EECF244321}">
                <p14:modId xmlns:p14="http://schemas.microsoft.com/office/powerpoint/2010/main" val="1785502889"/>
              </p:ext>
            </p:extLst>
          </p:nvPr>
        </p:nvGraphicFramePr>
        <p:xfrm>
          <a:off x="658368" y="1408176"/>
          <a:ext cx="5253580" cy="4968240"/>
        </p:xfrm>
        <a:graphic>
          <a:graphicData uri="http://schemas.openxmlformats.org/drawingml/2006/table">
            <a:tbl>
              <a:tblPr firstRow="1" bandRow="1">
                <a:tableStyleId>{93296810-A885-4BE3-A3E7-6D5BEEA58F35}</a:tableStyleId>
              </a:tblPr>
              <a:tblGrid>
                <a:gridCol w="2565417">
                  <a:extLst>
                    <a:ext uri="{9D8B030D-6E8A-4147-A177-3AD203B41FA5}">
                      <a16:colId xmlns:a16="http://schemas.microsoft.com/office/drawing/2014/main" val="20000"/>
                    </a:ext>
                  </a:extLst>
                </a:gridCol>
                <a:gridCol w="2688163">
                  <a:extLst>
                    <a:ext uri="{9D8B030D-6E8A-4147-A177-3AD203B41FA5}">
                      <a16:colId xmlns:a16="http://schemas.microsoft.com/office/drawing/2014/main" val="20003"/>
                    </a:ext>
                  </a:extLst>
                </a:gridCol>
              </a:tblGrid>
              <a:tr h="139065">
                <a:tc>
                  <a:txBody>
                    <a:bodyPr/>
                    <a:lstStyle/>
                    <a:p>
                      <a:r>
                        <a:rPr lang="en-US" sz="1000">
                          <a:latin typeface="Swis721 Mio" pitchFamily="34" charset="0"/>
                        </a:rPr>
                        <a:t>Feature</a:t>
                      </a:r>
                    </a:p>
                  </a:txBody>
                  <a:tcPr>
                    <a:solidFill>
                      <a:schemeClr val="dk2"/>
                    </a:solidFill>
                  </a:tcPr>
                </a:tc>
                <a:tc>
                  <a:txBody>
                    <a:bodyPr/>
                    <a:lstStyle/>
                    <a:p>
                      <a:r>
                        <a:rPr lang="en-US" sz="1000">
                          <a:latin typeface="Swis721 Mio" pitchFamily="34" charset="0"/>
                        </a:rPr>
                        <a:t>Description</a:t>
                      </a:r>
                    </a:p>
                  </a:txBody>
                  <a:tcPr>
                    <a:solidFill>
                      <a:schemeClr val="dk2"/>
                    </a:solidFill>
                  </a:tcPr>
                </a:tc>
                <a:extLst>
                  <a:ext uri="{0D108BD9-81ED-4DB2-BD59-A6C34878D82A}">
                    <a16:rowId xmlns:a16="http://schemas.microsoft.com/office/drawing/2014/main" val="10000"/>
                  </a:ext>
                </a:extLst>
              </a:tr>
              <a:tr h="139065">
                <a:tc>
                  <a:txBody>
                    <a:bodyPr/>
                    <a:lstStyle/>
                    <a:p>
                      <a:r>
                        <a:rPr lang="en-US" sz="1000">
                          <a:latin typeface="Swis721 Mio" pitchFamily="34" charset="0"/>
                        </a:rPr>
                        <a:t>Number of vCores</a:t>
                      </a:r>
                    </a:p>
                  </a:txBody>
                  <a:tcPr>
                    <a:solidFill>
                      <a:srgbClr val="D2D2D2"/>
                    </a:solidFill>
                  </a:tcPr>
                </a:tc>
                <a:tc>
                  <a:txBody>
                    <a:bodyPr/>
                    <a:lstStyle/>
                    <a:p>
                      <a:r>
                        <a:rPr lang="en-US" sz="1000" dirty="0">
                          <a:latin typeface="Swis721 Mio" pitchFamily="34" charset="0"/>
                        </a:rPr>
                        <a:t>Gen4: 1 to 24 vCore</a:t>
                      </a:r>
                      <a:br>
                        <a:rPr lang="en-US" sz="1000" dirty="0">
                          <a:latin typeface="Swis721 Mio" pitchFamily="34" charset="0"/>
                        </a:rPr>
                      </a:br>
                      <a:r>
                        <a:rPr lang="en-US" sz="1000" dirty="0">
                          <a:latin typeface="Swis721 Mio" pitchFamily="34" charset="0"/>
                        </a:rPr>
                        <a:t>Gen5: 2 to 80 vCore</a:t>
                      </a:r>
                    </a:p>
                  </a:txBody>
                  <a:tcPr>
                    <a:solidFill>
                      <a:srgbClr val="D2D2D2"/>
                    </a:solidFill>
                  </a:tcPr>
                </a:tc>
                <a:extLst>
                  <a:ext uri="{0D108BD9-81ED-4DB2-BD59-A6C34878D82A}">
                    <a16:rowId xmlns:a16="http://schemas.microsoft.com/office/drawing/2014/main" val="10001"/>
                  </a:ext>
                </a:extLst>
              </a:tr>
              <a:tr h="139065">
                <a:tc>
                  <a:txBody>
                    <a:bodyPr/>
                    <a:lstStyle/>
                    <a:p>
                      <a:r>
                        <a:rPr lang="en-US" sz="1000">
                          <a:latin typeface="Swis721 Mio" pitchFamily="34" charset="0"/>
                        </a:rPr>
                        <a:t>SQL Server version/build</a:t>
                      </a:r>
                    </a:p>
                  </a:txBody>
                  <a:tcPr>
                    <a:solidFill>
                      <a:schemeClr val="lt2"/>
                    </a:solidFill>
                  </a:tcPr>
                </a:tc>
                <a:tc>
                  <a:txBody>
                    <a:bodyPr/>
                    <a:lstStyle/>
                    <a:p>
                      <a:r>
                        <a:rPr lang="en-US" sz="1000">
                          <a:latin typeface="Swis721 Mio" pitchFamily="34" charset="0"/>
                        </a:rPr>
                        <a:t>SQL Server (latest available)</a:t>
                      </a:r>
                    </a:p>
                  </a:txBody>
                  <a:tcPr>
                    <a:solidFill>
                      <a:schemeClr val="lt2"/>
                    </a:solidFill>
                  </a:tcPr>
                </a:tc>
                <a:extLst>
                  <a:ext uri="{0D108BD9-81ED-4DB2-BD59-A6C34878D82A}">
                    <a16:rowId xmlns:a16="http://schemas.microsoft.com/office/drawing/2014/main" val="10004"/>
                  </a:ext>
                </a:extLst>
              </a:tr>
              <a:tr h="139065">
                <a:tc>
                  <a:txBody>
                    <a:bodyPr/>
                    <a:lstStyle/>
                    <a:p>
                      <a:r>
                        <a:rPr lang="en-US" sz="1000">
                          <a:latin typeface="Swis721 Mio" pitchFamily="34" charset="0"/>
                        </a:rPr>
                        <a:t>Additional features</a:t>
                      </a:r>
                    </a:p>
                  </a:txBody>
                  <a:tcPr>
                    <a:solidFill>
                      <a:schemeClr val="lt2"/>
                    </a:solidFill>
                  </a:tcPr>
                </a:tc>
                <a:tc>
                  <a:txBody>
                    <a:bodyPr/>
                    <a:lstStyle/>
                    <a:p>
                      <a:r>
                        <a:rPr lang="en-US" sz="1000">
                          <a:latin typeface="Swis721 Mio" pitchFamily="34" charset="0"/>
                        </a:rPr>
                        <a:t>4 read-scale replicas </a:t>
                      </a:r>
                    </a:p>
                    <a:p>
                      <a:r>
                        <a:rPr lang="en-US" sz="1000">
                          <a:latin typeface="Swis721 Mio" pitchFamily="34" charset="0"/>
                        </a:rPr>
                        <a:t>100TB Data Support </a:t>
                      </a:r>
                    </a:p>
                    <a:p>
                      <a:r>
                        <a:rPr lang="en-US" sz="1000">
                          <a:latin typeface="Swis721 Mio" pitchFamily="34" charset="0"/>
                        </a:rPr>
                        <a:t>Constant Time Operations </a:t>
                      </a:r>
                    </a:p>
                  </a:txBody>
                  <a:tcPr>
                    <a:solidFill>
                      <a:schemeClr val="lt2"/>
                    </a:solidFill>
                  </a:tcPr>
                </a:tc>
                <a:extLst>
                  <a:ext uri="{0D108BD9-81ED-4DB2-BD59-A6C34878D82A}">
                    <a16:rowId xmlns:a16="http://schemas.microsoft.com/office/drawing/2014/main" val="10005"/>
                  </a:ext>
                </a:extLst>
              </a:tr>
              <a:tr h="139065">
                <a:tc>
                  <a:txBody>
                    <a:bodyPr/>
                    <a:lstStyle/>
                    <a:p>
                      <a:r>
                        <a:rPr lang="en-US" sz="1000">
                          <a:latin typeface="Swis721 Mio" pitchFamily="34" charset="0"/>
                        </a:rPr>
                        <a:t>Min storage size</a:t>
                      </a:r>
                    </a:p>
                  </a:txBody>
                  <a:tcPr>
                    <a:solidFill>
                      <a:schemeClr val="lt2"/>
                    </a:solidFill>
                  </a:tcPr>
                </a:tc>
                <a:tc>
                  <a:txBody>
                    <a:bodyPr/>
                    <a:lstStyle/>
                    <a:p>
                      <a:r>
                        <a:rPr lang="en-US" sz="1000">
                          <a:latin typeface="Swis721 Mio" pitchFamily="34" charset="0"/>
                        </a:rPr>
                        <a:t>4 GB</a:t>
                      </a:r>
                    </a:p>
                  </a:txBody>
                  <a:tcPr>
                    <a:solidFill>
                      <a:schemeClr val="lt2"/>
                    </a:solidFill>
                  </a:tcPr>
                </a:tc>
                <a:extLst>
                  <a:ext uri="{0D108BD9-81ED-4DB2-BD59-A6C34878D82A}">
                    <a16:rowId xmlns:a16="http://schemas.microsoft.com/office/drawing/2014/main" val="10006"/>
                  </a:ext>
                </a:extLst>
              </a:tr>
              <a:tr h="139065">
                <a:tc>
                  <a:txBody>
                    <a:bodyPr/>
                    <a:lstStyle/>
                    <a:p>
                      <a:r>
                        <a:rPr lang="en-US" sz="1000">
                          <a:latin typeface="Swis721 Mio" pitchFamily="34" charset="0"/>
                        </a:rPr>
                        <a:t>Max storage size</a:t>
                      </a:r>
                    </a:p>
                  </a:txBody>
                  <a:tcPr>
                    <a:solidFill>
                      <a:schemeClr val="lt2"/>
                    </a:solidFill>
                  </a:tcPr>
                </a:tc>
                <a:tc>
                  <a:txBody>
                    <a:bodyPr/>
                    <a:lstStyle/>
                    <a:p>
                      <a:r>
                        <a:rPr lang="en-US" sz="1000">
                          <a:latin typeface="Swis721 Mio" pitchFamily="34" charset="0"/>
                        </a:rPr>
                        <a:t>100TB</a:t>
                      </a:r>
                    </a:p>
                    <a:p>
                      <a:r>
                        <a:rPr lang="en-US" sz="1000">
                          <a:latin typeface="Swis721 Mio" pitchFamily="34" charset="0"/>
                        </a:rPr>
                        <a:t>Grows as customer data grows</a:t>
                      </a:r>
                    </a:p>
                  </a:txBody>
                  <a:tcPr>
                    <a:solidFill>
                      <a:schemeClr val="lt2"/>
                    </a:solidFill>
                  </a:tcPr>
                </a:tc>
                <a:extLst>
                  <a:ext uri="{0D108BD9-81ED-4DB2-BD59-A6C34878D82A}">
                    <a16:rowId xmlns:a16="http://schemas.microsoft.com/office/drawing/2014/main" val="10007"/>
                  </a:ext>
                </a:extLst>
              </a:tr>
              <a:tr h="139065">
                <a:tc>
                  <a:txBody>
                    <a:bodyPr/>
                    <a:lstStyle/>
                    <a:p>
                      <a:r>
                        <a:rPr lang="en-US" sz="1000">
                          <a:latin typeface="Swis721 Mio" pitchFamily="34" charset="0"/>
                        </a:rPr>
                        <a:t>Max storage per database</a:t>
                      </a:r>
                    </a:p>
                  </a:txBody>
                  <a:tcPr>
                    <a:solidFill>
                      <a:schemeClr val="lt2"/>
                    </a:solidFill>
                  </a:tcPr>
                </a:tc>
                <a:tc>
                  <a:txBody>
                    <a:bodyPr/>
                    <a:lstStyle/>
                    <a:p>
                      <a:r>
                        <a:rPr lang="en-US" sz="1000">
                          <a:latin typeface="Swis721 Mio" pitchFamily="34" charset="0"/>
                        </a:rPr>
                        <a:t>Determined by the max storage size per instance</a:t>
                      </a:r>
                    </a:p>
                  </a:txBody>
                  <a:tcPr>
                    <a:solidFill>
                      <a:schemeClr val="lt2"/>
                    </a:solidFill>
                  </a:tcPr>
                </a:tc>
                <a:extLst>
                  <a:ext uri="{0D108BD9-81ED-4DB2-BD59-A6C34878D82A}">
                    <a16:rowId xmlns:a16="http://schemas.microsoft.com/office/drawing/2014/main" val="10008"/>
                  </a:ext>
                </a:extLst>
              </a:tr>
              <a:tr h="139065">
                <a:tc>
                  <a:txBody>
                    <a:bodyPr/>
                    <a:lstStyle/>
                    <a:p>
                      <a:r>
                        <a:rPr lang="en-US" sz="1000">
                          <a:latin typeface="Swis721 Mio" pitchFamily="34" charset="0"/>
                        </a:rPr>
                        <a:t>Number of data files (ROWS) per the database</a:t>
                      </a:r>
                    </a:p>
                  </a:txBody>
                  <a:tcPr>
                    <a:solidFill>
                      <a:schemeClr val="lt2"/>
                    </a:solidFill>
                  </a:tcPr>
                </a:tc>
                <a:tc>
                  <a:txBody>
                    <a:bodyPr/>
                    <a:lstStyle/>
                    <a:p>
                      <a:r>
                        <a:rPr lang="en-US" sz="1000">
                          <a:latin typeface="Swis721 Mio" pitchFamily="34" charset="0"/>
                        </a:rPr>
                        <a:t>Multiple</a:t>
                      </a:r>
                    </a:p>
                  </a:txBody>
                  <a:tcPr>
                    <a:solidFill>
                      <a:schemeClr val="lt2"/>
                    </a:solidFill>
                  </a:tcPr>
                </a:tc>
                <a:extLst>
                  <a:ext uri="{0D108BD9-81ED-4DB2-BD59-A6C34878D82A}">
                    <a16:rowId xmlns:a16="http://schemas.microsoft.com/office/drawing/2014/main" val="10009"/>
                  </a:ext>
                </a:extLst>
              </a:tr>
              <a:tr h="139065">
                <a:tc>
                  <a:txBody>
                    <a:bodyPr/>
                    <a:lstStyle/>
                    <a:p>
                      <a:r>
                        <a:rPr lang="en-US" sz="1000">
                          <a:latin typeface="Swis721 Mio" pitchFamily="34" charset="0"/>
                        </a:rPr>
                        <a:t>Number of log files (LOG) per database</a:t>
                      </a:r>
                    </a:p>
                  </a:txBody>
                  <a:tcPr>
                    <a:solidFill>
                      <a:schemeClr val="lt2"/>
                    </a:solidFill>
                  </a:tcPr>
                </a:tc>
                <a:tc>
                  <a:txBody>
                    <a:bodyPr/>
                    <a:lstStyle/>
                    <a:p>
                      <a:r>
                        <a:rPr lang="en-US" sz="1000">
                          <a:latin typeface="Swis721 Mio" pitchFamily="34" charset="0"/>
                        </a:rPr>
                        <a:t>1</a:t>
                      </a:r>
                    </a:p>
                  </a:txBody>
                  <a:tcPr>
                    <a:solidFill>
                      <a:schemeClr val="lt2"/>
                    </a:solidFill>
                  </a:tcPr>
                </a:tc>
                <a:extLst>
                  <a:ext uri="{0D108BD9-81ED-4DB2-BD59-A6C34878D82A}">
                    <a16:rowId xmlns:a16="http://schemas.microsoft.com/office/drawing/2014/main" val="10010"/>
                  </a:ext>
                </a:extLst>
              </a:tr>
              <a:tr h="139065">
                <a:tc>
                  <a:txBody>
                    <a:bodyPr/>
                    <a:lstStyle/>
                    <a:p>
                      <a:r>
                        <a:rPr lang="en-US" sz="1000">
                          <a:latin typeface="Swis721 Mio" pitchFamily="34" charset="0"/>
                        </a:rPr>
                        <a:t>Managed automated backups</a:t>
                      </a:r>
                    </a:p>
                  </a:txBody>
                  <a:tcPr>
                    <a:solidFill>
                      <a:schemeClr val="lt2"/>
                    </a:solidFill>
                  </a:tcPr>
                </a:tc>
                <a:tc>
                  <a:txBody>
                    <a:bodyPr/>
                    <a:lstStyle/>
                    <a:p>
                      <a:r>
                        <a:rPr lang="en-US" sz="1000">
                          <a:latin typeface="Swis721 Mio" pitchFamily="34" charset="0"/>
                        </a:rPr>
                        <a:t>Yes</a:t>
                      </a:r>
                    </a:p>
                  </a:txBody>
                  <a:tcPr>
                    <a:solidFill>
                      <a:schemeClr val="lt2"/>
                    </a:solidFill>
                  </a:tcPr>
                </a:tc>
                <a:extLst>
                  <a:ext uri="{0D108BD9-81ED-4DB2-BD59-A6C34878D82A}">
                    <a16:rowId xmlns:a16="http://schemas.microsoft.com/office/drawing/2014/main" val="10011"/>
                  </a:ext>
                </a:extLst>
              </a:tr>
              <a:tr h="139065">
                <a:tc>
                  <a:txBody>
                    <a:bodyPr/>
                    <a:lstStyle/>
                    <a:p>
                      <a:r>
                        <a:rPr lang="en-US" sz="1000">
                          <a:latin typeface="Swis721 Mio" pitchFamily="34" charset="0"/>
                        </a:rPr>
                        <a:t>HA</a:t>
                      </a:r>
                    </a:p>
                  </a:txBody>
                  <a:tcPr>
                    <a:solidFill>
                      <a:schemeClr val="lt2"/>
                    </a:solidFill>
                  </a:tcPr>
                </a:tc>
                <a:tc>
                  <a:txBody>
                    <a:bodyPr/>
                    <a:lstStyle/>
                    <a:p>
                      <a:r>
                        <a:rPr lang="en-US" sz="1000">
                          <a:latin typeface="Swis721 Mio" pitchFamily="34" charset="0"/>
                        </a:rPr>
                        <a:t>High Availability is ensured on the storage layer </a:t>
                      </a:r>
                    </a:p>
                  </a:txBody>
                  <a:tcPr>
                    <a:solidFill>
                      <a:schemeClr val="lt2"/>
                    </a:solidFill>
                  </a:tcPr>
                </a:tc>
                <a:extLst>
                  <a:ext uri="{0D108BD9-81ED-4DB2-BD59-A6C34878D82A}">
                    <a16:rowId xmlns:a16="http://schemas.microsoft.com/office/drawing/2014/main" val="10012"/>
                  </a:ext>
                </a:extLst>
              </a:tr>
              <a:tr h="139065">
                <a:tc>
                  <a:txBody>
                    <a:bodyPr/>
                    <a:lstStyle/>
                    <a:p>
                      <a:r>
                        <a:rPr lang="en-US" sz="1000">
                          <a:latin typeface="Swis721 Mio" pitchFamily="34" charset="0"/>
                        </a:rPr>
                        <a:t>Built-in instance and database monitoring and metrics</a:t>
                      </a:r>
                    </a:p>
                  </a:txBody>
                  <a:tcPr>
                    <a:solidFill>
                      <a:schemeClr val="lt2"/>
                    </a:solidFill>
                  </a:tcPr>
                </a:tc>
                <a:tc>
                  <a:txBody>
                    <a:bodyPr/>
                    <a:lstStyle/>
                    <a:p>
                      <a:r>
                        <a:rPr lang="en-US" sz="1000">
                          <a:latin typeface="Swis721 Mio" pitchFamily="34" charset="0"/>
                        </a:rPr>
                        <a:t>Yes</a:t>
                      </a:r>
                    </a:p>
                  </a:txBody>
                  <a:tcPr>
                    <a:solidFill>
                      <a:schemeClr val="lt2"/>
                    </a:solidFill>
                  </a:tcPr>
                </a:tc>
                <a:extLst>
                  <a:ext uri="{0D108BD9-81ED-4DB2-BD59-A6C34878D82A}">
                    <a16:rowId xmlns:a16="http://schemas.microsoft.com/office/drawing/2014/main" val="10013"/>
                  </a:ext>
                </a:extLst>
              </a:tr>
              <a:tr h="139065">
                <a:tc>
                  <a:txBody>
                    <a:bodyPr/>
                    <a:lstStyle/>
                    <a:p>
                      <a:r>
                        <a:rPr lang="en-US" sz="1000">
                          <a:latin typeface="Swis721 Mio" pitchFamily="34" charset="0"/>
                        </a:rPr>
                        <a:t>Automatic software patching</a:t>
                      </a:r>
                    </a:p>
                  </a:txBody>
                  <a:tcPr>
                    <a:solidFill>
                      <a:schemeClr val="lt2"/>
                    </a:solidFill>
                  </a:tcPr>
                </a:tc>
                <a:tc>
                  <a:txBody>
                    <a:bodyPr/>
                    <a:lstStyle/>
                    <a:p>
                      <a:r>
                        <a:rPr lang="en-US" sz="1000">
                          <a:latin typeface="Swis721 Mio" pitchFamily="34" charset="0"/>
                        </a:rPr>
                        <a:t>Yes</a:t>
                      </a:r>
                    </a:p>
                  </a:txBody>
                  <a:tcPr>
                    <a:solidFill>
                      <a:schemeClr val="lt2"/>
                    </a:solidFill>
                  </a:tcPr>
                </a:tc>
                <a:extLst>
                  <a:ext uri="{0D108BD9-81ED-4DB2-BD59-A6C34878D82A}">
                    <a16:rowId xmlns:a16="http://schemas.microsoft.com/office/drawing/2014/main" val="10014"/>
                  </a:ext>
                </a:extLst>
              </a:tr>
              <a:tr h="139065">
                <a:tc>
                  <a:txBody>
                    <a:bodyPr/>
                    <a:lstStyle/>
                    <a:p>
                      <a:r>
                        <a:rPr lang="en-US" sz="1000">
                          <a:latin typeface="Swis721 Mio" pitchFamily="34" charset="0"/>
                        </a:rPr>
                        <a:t>VNet - Azure Resource Manager deployment</a:t>
                      </a:r>
                    </a:p>
                  </a:txBody>
                  <a:tcPr>
                    <a:solidFill>
                      <a:schemeClr val="lt2"/>
                    </a:solidFill>
                  </a:tcPr>
                </a:tc>
                <a:tc>
                  <a:txBody>
                    <a:bodyPr/>
                    <a:lstStyle/>
                    <a:p>
                      <a:r>
                        <a:rPr lang="en-US" sz="1000">
                          <a:latin typeface="Swis721 Mio" pitchFamily="34" charset="0"/>
                        </a:rPr>
                        <a:t>Yes</a:t>
                      </a:r>
                    </a:p>
                  </a:txBody>
                  <a:tcPr>
                    <a:solidFill>
                      <a:schemeClr val="lt2"/>
                    </a:solidFill>
                  </a:tcPr>
                </a:tc>
                <a:extLst>
                  <a:ext uri="{0D108BD9-81ED-4DB2-BD59-A6C34878D82A}">
                    <a16:rowId xmlns:a16="http://schemas.microsoft.com/office/drawing/2014/main" val="10015"/>
                  </a:ext>
                </a:extLst>
              </a:tr>
              <a:tr h="139065">
                <a:tc>
                  <a:txBody>
                    <a:bodyPr/>
                    <a:lstStyle/>
                    <a:p>
                      <a:r>
                        <a:rPr lang="en-US" sz="1000">
                          <a:latin typeface="Swis721 Mio" pitchFamily="34" charset="0"/>
                        </a:rPr>
                        <a:t>VNet - Classic deployment model</a:t>
                      </a:r>
                    </a:p>
                  </a:txBody>
                  <a:tcPr>
                    <a:solidFill>
                      <a:schemeClr val="lt2"/>
                    </a:solidFill>
                  </a:tcPr>
                </a:tc>
                <a:tc>
                  <a:txBody>
                    <a:bodyPr/>
                    <a:lstStyle/>
                    <a:p>
                      <a:r>
                        <a:rPr lang="en-US" sz="1000">
                          <a:latin typeface="Swis721 Mio" pitchFamily="34" charset="0"/>
                        </a:rPr>
                        <a:t>No</a:t>
                      </a:r>
                    </a:p>
                  </a:txBody>
                  <a:tcPr>
                    <a:solidFill>
                      <a:schemeClr val="lt2"/>
                    </a:solidFill>
                  </a:tcPr>
                </a:tc>
                <a:extLst>
                  <a:ext uri="{0D108BD9-81ED-4DB2-BD59-A6C34878D82A}">
                    <a16:rowId xmlns:a16="http://schemas.microsoft.com/office/drawing/2014/main" val="10002"/>
                  </a:ext>
                </a:extLst>
              </a:tr>
              <a:tr h="139065">
                <a:tc>
                  <a:txBody>
                    <a:bodyPr/>
                    <a:lstStyle/>
                    <a:p>
                      <a:r>
                        <a:rPr lang="en-US" sz="1000">
                          <a:latin typeface="Swis721 Mio" pitchFamily="34" charset="0"/>
                        </a:rPr>
                        <a:t>Portal support</a:t>
                      </a:r>
                    </a:p>
                  </a:txBody>
                  <a:tcPr>
                    <a:solidFill>
                      <a:srgbClr val="D2D2D2"/>
                    </a:solidFill>
                  </a:tcPr>
                </a:tc>
                <a:tc>
                  <a:txBody>
                    <a:bodyPr/>
                    <a:lstStyle/>
                    <a:p>
                      <a:r>
                        <a:rPr lang="en-US" sz="1000">
                          <a:latin typeface="Swis721 Mio" pitchFamily="34" charset="0"/>
                        </a:rPr>
                        <a:t>Yes</a:t>
                      </a:r>
                    </a:p>
                  </a:txBody>
                  <a:tcPr>
                    <a:solidFill>
                      <a:srgbClr val="D2D2D2"/>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7230089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hoose from vCore hardware generations</a:t>
            </a:r>
          </a:p>
        </p:txBody>
      </p:sp>
      <p:graphicFrame>
        <p:nvGraphicFramePr>
          <p:cNvPr id="5" name="Table 4">
            <a:extLst>
              <a:ext uri="{FF2B5EF4-FFF2-40B4-BE49-F238E27FC236}">
                <a16:creationId xmlns:a16="http://schemas.microsoft.com/office/drawing/2014/main" id="{BB42184F-CA1B-4A7B-9844-D1A2357E0022}"/>
              </a:ext>
            </a:extLst>
          </p:cNvPr>
          <p:cNvGraphicFramePr>
            <a:graphicFrameLocks noGrp="1"/>
          </p:cNvGraphicFramePr>
          <p:nvPr>
            <p:extLst>
              <p:ext uri="{D42A27DB-BD31-4B8C-83A1-F6EECF244321}">
                <p14:modId xmlns:p14="http://schemas.microsoft.com/office/powerpoint/2010/main" val="3892445273"/>
              </p:ext>
            </p:extLst>
          </p:nvPr>
        </p:nvGraphicFramePr>
        <p:xfrm>
          <a:off x="693057" y="1054153"/>
          <a:ext cx="10843306" cy="4250156"/>
        </p:xfrm>
        <a:graphic>
          <a:graphicData uri="http://schemas.openxmlformats.org/drawingml/2006/table">
            <a:tbl>
              <a:tblPr firstRow="1" firstCol="1" bandRow="1"/>
              <a:tblGrid>
                <a:gridCol w="1486681">
                  <a:extLst>
                    <a:ext uri="{9D8B030D-6E8A-4147-A177-3AD203B41FA5}">
                      <a16:colId xmlns:a16="http://schemas.microsoft.com/office/drawing/2014/main" val="1584087558"/>
                    </a:ext>
                  </a:extLst>
                </a:gridCol>
                <a:gridCol w="3118875">
                  <a:extLst>
                    <a:ext uri="{9D8B030D-6E8A-4147-A177-3AD203B41FA5}">
                      <a16:colId xmlns:a16="http://schemas.microsoft.com/office/drawing/2014/main" val="2079053904"/>
                    </a:ext>
                  </a:extLst>
                </a:gridCol>
                <a:gridCol w="3118875">
                  <a:extLst>
                    <a:ext uri="{9D8B030D-6E8A-4147-A177-3AD203B41FA5}">
                      <a16:colId xmlns:a16="http://schemas.microsoft.com/office/drawing/2014/main" val="3426083731"/>
                    </a:ext>
                  </a:extLst>
                </a:gridCol>
                <a:gridCol w="3118875">
                  <a:extLst>
                    <a:ext uri="{9D8B030D-6E8A-4147-A177-3AD203B41FA5}">
                      <a16:colId xmlns:a16="http://schemas.microsoft.com/office/drawing/2014/main" val="4007490435"/>
                    </a:ext>
                  </a:extLst>
                </a:gridCol>
              </a:tblGrid>
              <a:tr h="69810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endParaRPr lang="en-US" sz="1400">
                        <a:solidFill>
                          <a:schemeClr val="tx1"/>
                        </a:solidFill>
                        <a:effectLst/>
                        <a:latin typeface="Segoe UI Semibold"/>
                        <a:ea typeface="Calibri" panose="020F0502020204030204" pitchFamily="34" charset="0"/>
                        <a:cs typeface="Times New Roman"/>
                      </a:endParaRPr>
                    </a:p>
                  </a:txBody>
                  <a:tcPr marL="64607" marR="64607" marT="64607" marB="64607">
                    <a:lnL w="12700" cap="flat" cmpd="sng" algn="ctr">
                      <a:no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algn="ctr">
                        <a:lnSpc>
                          <a:spcPct val="107000"/>
                        </a:lnSpc>
                        <a:spcBef>
                          <a:spcPts val="0"/>
                        </a:spcBef>
                        <a:spcAft>
                          <a:spcPts val="0"/>
                        </a:spcAft>
                      </a:pPr>
                      <a:r>
                        <a:rPr lang="en-US" sz="1400" b="1" kern="0" spc="0" baseline="0">
                          <a:solidFill>
                            <a:schemeClr val="bg1"/>
                          </a:solidFill>
                          <a:latin typeface="Segoe UI Semibold"/>
                          <a:ea typeface="+mn-ea"/>
                          <a:cs typeface="Segoe UI Semibold"/>
                        </a:rPr>
                        <a:t>Gen 5</a:t>
                      </a:r>
                    </a:p>
                  </a:txBody>
                  <a:tcPr marL="64607" marR="64607" marT="64607" marB="64607" anchor="ct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F87E6"/>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algn="ctr">
                        <a:lnSpc>
                          <a:spcPct val="107000"/>
                        </a:lnSpc>
                        <a:spcBef>
                          <a:spcPts val="0"/>
                        </a:spcBef>
                        <a:spcAft>
                          <a:spcPts val="0"/>
                        </a:spcAft>
                      </a:pPr>
                      <a:r>
                        <a:rPr lang="en-US" sz="1400" b="1" kern="0" spc="0" baseline="0">
                          <a:solidFill>
                            <a:schemeClr val="bg1"/>
                          </a:solidFill>
                          <a:latin typeface="Segoe UI Semibold"/>
                          <a:ea typeface="+mn-ea"/>
                          <a:cs typeface="Segoe UI Semibold"/>
                        </a:rPr>
                        <a:t>Fsv2-series*</a:t>
                      </a:r>
                    </a:p>
                  </a:txBody>
                  <a:tcPr marL="64607" marR="64607" marT="64607" marB="64607" anchor="ct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F87E6"/>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algn="ctr">
                        <a:lnSpc>
                          <a:spcPct val="107000"/>
                        </a:lnSpc>
                        <a:spcBef>
                          <a:spcPts val="0"/>
                        </a:spcBef>
                        <a:spcAft>
                          <a:spcPts val="0"/>
                        </a:spcAft>
                      </a:pPr>
                      <a:r>
                        <a:rPr lang="en-US" sz="1400" b="1" kern="0" spc="0" baseline="0">
                          <a:solidFill>
                            <a:schemeClr val="bg1"/>
                          </a:solidFill>
                          <a:latin typeface="Segoe UI Semibold"/>
                          <a:ea typeface="+mn-ea"/>
                          <a:cs typeface="Segoe UI Semibold"/>
                        </a:rPr>
                        <a:t>M-series*</a:t>
                      </a:r>
                    </a:p>
                  </a:txBody>
                  <a:tcPr marL="64607" marR="64607" marT="64607" marB="64607" anchor="ct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F87E6"/>
                    </a:solidFill>
                  </a:tcPr>
                </a:tc>
                <a:extLst>
                  <a:ext uri="{0D108BD9-81ED-4DB2-BD59-A6C34878D82A}">
                    <a16:rowId xmlns:a16="http://schemas.microsoft.com/office/drawing/2014/main" val="2667652206"/>
                  </a:ext>
                </a:extLst>
              </a:tr>
              <a:tr h="1063778">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b="1" kern="1200">
                          <a:solidFill>
                            <a:schemeClr val="tx1"/>
                          </a:solidFill>
                          <a:latin typeface="Segoe UI Semibold"/>
                          <a:ea typeface="Calibri" panose="020F0502020204030204" pitchFamily="34" charset="0"/>
                          <a:cs typeface="Segoe UI Semibold"/>
                        </a:rPr>
                        <a:t>Hardware</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400" kern="1200" dirty="0">
                          <a:solidFill>
                            <a:schemeClr val="tx1"/>
                          </a:solidFill>
                          <a:latin typeface="Segoe UI Semibold"/>
                          <a:ea typeface="+mn-ea"/>
                          <a:cs typeface="Segoe UI Semilight"/>
                        </a:rPr>
                        <a:t>Intel E5-2673 v4 (Broadwell) 2.3 GHz processors, fast </a:t>
                      </a:r>
                      <a:r>
                        <a:rPr lang="en-US" sz="1400" kern="1200" dirty="0" err="1">
                          <a:solidFill>
                            <a:schemeClr val="tx1"/>
                          </a:solidFill>
                          <a:latin typeface="Segoe UI Semibold"/>
                          <a:ea typeface="+mn-ea"/>
                          <a:cs typeface="Segoe UI Semilight"/>
                        </a:rPr>
                        <a:t>eNVM</a:t>
                      </a:r>
                      <a:r>
                        <a:rPr lang="en-US" sz="1400" kern="1200" dirty="0">
                          <a:solidFill>
                            <a:schemeClr val="tx1"/>
                          </a:solidFill>
                          <a:latin typeface="Segoe UI Semibold"/>
                          <a:ea typeface="+mn-ea"/>
                          <a:cs typeface="Segoe UI Semilight"/>
                        </a:rPr>
                        <a:t> SSD</a:t>
                      </a:r>
                    </a:p>
                    <a:p>
                      <a:pPr marL="0" marR="0" lvl="0" indent="0" algn="l" defTabSz="914400" rtl="0" eaLnBrk="1" fontAlgn="auto" latinLnBrk="0" hangingPunct="1">
                        <a:lnSpc>
                          <a:spcPct val="107000"/>
                        </a:lnSpc>
                        <a:spcBef>
                          <a:spcPts val="0"/>
                        </a:spcBef>
                        <a:spcAft>
                          <a:spcPts val="0"/>
                        </a:spcAft>
                        <a:buClrTx/>
                        <a:buSzTx/>
                        <a:buFontTx/>
                        <a:buNone/>
                        <a:tabLst/>
                        <a:defRPr/>
                      </a:pPr>
                      <a:r>
                        <a:rPr lang="en-US" sz="1400" kern="1200" noProof="0" dirty="0">
                          <a:solidFill>
                            <a:schemeClr val="tx1"/>
                          </a:solidFill>
                          <a:latin typeface="Segoe UI Semibold"/>
                          <a:ea typeface="+mn-ea"/>
                          <a:cs typeface="Segoe UI Semilight"/>
                        </a:rPr>
                        <a:t>vCore=1 LP (hyper-thread)</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sv-SE" sz="1400" kern="1200" noProof="0">
                          <a:solidFill>
                            <a:schemeClr val="tx1"/>
                          </a:solidFill>
                          <a:latin typeface="Segoe UI Semibold"/>
                          <a:ea typeface="+mn-ea"/>
                          <a:cs typeface="Segoe UI Semilight"/>
                        </a:rPr>
                        <a:t>Intel Xeon Platinum 8168 (SkyLake) processors</a:t>
                      </a:r>
                      <a:endParaRPr lang="en-US" sz="1400" kern="1200" noProof="0">
                        <a:solidFill>
                          <a:schemeClr val="tx1"/>
                        </a:solidFill>
                        <a:latin typeface="Segoe UI Semibold"/>
                        <a:ea typeface="+mn-ea"/>
                        <a:cs typeface="Segoe UI Semilight"/>
                      </a:endParaRP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400" kern="1200" noProof="0">
                          <a:solidFill>
                            <a:schemeClr val="tx1"/>
                          </a:solidFill>
                          <a:latin typeface="Segoe UI Semibold"/>
                          <a:ea typeface="+mn-ea"/>
                          <a:cs typeface="Segoe UI Semilight"/>
                        </a:rPr>
                        <a:t>Intel Xeon E7-8890 v3 2.5 GHz processors</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4696992"/>
                  </a:ext>
                </a:extLst>
              </a:tr>
              <a:tr h="664861">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b="1" kern="1200">
                          <a:solidFill>
                            <a:schemeClr val="tx1"/>
                          </a:solidFill>
                          <a:latin typeface="Segoe UI Semibold"/>
                          <a:ea typeface="Calibri" panose="020F0502020204030204" pitchFamily="34" charset="0"/>
                          <a:cs typeface="Segoe UI Semibold"/>
                        </a:rPr>
                        <a:t>Performance levels</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kern="1200">
                          <a:solidFill>
                            <a:schemeClr val="tx1"/>
                          </a:solidFill>
                          <a:latin typeface="Segoe UI Semibold"/>
                          <a:ea typeface="+mn-ea"/>
                          <a:cs typeface="Segoe UI Semilight"/>
                        </a:rPr>
                        <a:t>1 to 80 vCores</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kern="1200" dirty="0">
                          <a:solidFill>
                            <a:schemeClr val="tx1"/>
                          </a:solidFill>
                          <a:latin typeface="Segoe UI Semibold"/>
                          <a:ea typeface="+mn-ea"/>
                          <a:cs typeface="Segoe UI Semilight"/>
                        </a:rPr>
                        <a:t>72 </a:t>
                      </a:r>
                      <a:r>
                        <a:rPr lang="en-US" sz="1400" kern="1200" dirty="0" err="1">
                          <a:solidFill>
                            <a:schemeClr val="tx1"/>
                          </a:solidFill>
                          <a:latin typeface="Segoe UI Semibold"/>
                          <a:ea typeface="+mn-ea"/>
                          <a:cs typeface="Segoe UI Semilight"/>
                        </a:rPr>
                        <a:t>vCores</a:t>
                      </a:r>
                      <a:r>
                        <a:rPr lang="en-US" sz="1400" kern="1200" dirty="0">
                          <a:solidFill>
                            <a:schemeClr val="tx1"/>
                          </a:solidFill>
                          <a:latin typeface="Segoe UI Semibold"/>
                          <a:ea typeface="+mn-ea"/>
                          <a:cs typeface="Segoe UI Semilight"/>
                        </a:rPr>
                        <a:t> (1 vCore = 1 hyper-thread)</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kern="1200" dirty="0">
                          <a:solidFill>
                            <a:schemeClr val="tx1"/>
                          </a:solidFill>
                          <a:latin typeface="Segoe UI Semibold"/>
                          <a:ea typeface="+mn-ea"/>
                          <a:cs typeface="Segoe UI Semilight"/>
                        </a:rPr>
                        <a:t>128 </a:t>
                      </a:r>
                      <a:r>
                        <a:rPr lang="en-US" sz="1400" kern="1200" dirty="0" err="1">
                          <a:solidFill>
                            <a:schemeClr val="tx1"/>
                          </a:solidFill>
                          <a:latin typeface="Segoe UI Semibold"/>
                          <a:ea typeface="+mn-ea"/>
                          <a:cs typeface="Segoe UI Semilight"/>
                        </a:rPr>
                        <a:t>vCores</a:t>
                      </a:r>
                      <a:r>
                        <a:rPr lang="en-US" sz="1400" kern="1200" dirty="0">
                          <a:solidFill>
                            <a:schemeClr val="tx1"/>
                          </a:solidFill>
                          <a:latin typeface="Segoe UI Semibold"/>
                          <a:ea typeface="+mn-ea"/>
                          <a:cs typeface="Segoe UI Semilight"/>
                        </a:rPr>
                        <a:t> (1 vCore = 1 hyper-thread)</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8840782"/>
                  </a:ext>
                </a:extLst>
              </a:tr>
              <a:tr h="69810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b="1" kern="1200">
                          <a:solidFill>
                            <a:schemeClr val="tx1"/>
                          </a:solidFill>
                          <a:latin typeface="Segoe UI Semibold"/>
                          <a:cs typeface="Segoe UI Semibold"/>
                        </a:rPr>
                        <a:t>Memory</a:t>
                      </a:r>
                      <a:endParaRPr lang="en-US" sz="1400" b="1" kern="1200">
                        <a:solidFill>
                          <a:schemeClr val="tx1"/>
                        </a:solidFill>
                        <a:latin typeface="Segoe UI Semibold"/>
                        <a:ea typeface="Calibri" panose="020F0502020204030204" pitchFamily="34" charset="0"/>
                        <a:cs typeface="Segoe UI Semibold"/>
                      </a:endParaRP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kern="1200" dirty="0">
                          <a:solidFill>
                            <a:schemeClr val="tx1"/>
                          </a:solidFill>
                          <a:latin typeface="Segoe UI Semibold"/>
                          <a:ea typeface="+mn-ea"/>
                          <a:cs typeface="Segoe UI Semilight"/>
                        </a:rPr>
                        <a:t>5.1 GB per vCore for provisioned compute </a:t>
                      </a:r>
                    </a:p>
                    <a:p>
                      <a:pPr marL="0" marR="0">
                        <a:lnSpc>
                          <a:spcPct val="107000"/>
                        </a:lnSpc>
                        <a:spcBef>
                          <a:spcPts val="0"/>
                        </a:spcBef>
                        <a:spcAft>
                          <a:spcPts val="0"/>
                        </a:spcAft>
                      </a:pPr>
                      <a:r>
                        <a:rPr lang="en-US" sz="1400" kern="1200" dirty="0">
                          <a:solidFill>
                            <a:schemeClr val="tx1"/>
                          </a:solidFill>
                          <a:latin typeface="Segoe UI Semibold"/>
                          <a:ea typeface="+mn-ea"/>
                          <a:cs typeface="Segoe UI Semilight"/>
                        </a:rPr>
                        <a:t>Up to 24 GB per vCore for serverless compute</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kern="1200" dirty="0">
                          <a:solidFill>
                            <a:schemeClr val="tx1"/>
                          </a:solidFill>
                          <a:latin typeface="Segoe UI Semibold"/>
                          <a:ea typeface="+mn-ea"/>
                          <a:cs typeface="Segoe UI Semilight"/>
                        </a:rPr>
                        <a:t>1.9 GB per vCore</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kern="1200" dirty="0">
                          <a:solidFill>
                            <a:schemeClr val="tx1"/>
                          </a:solidFill>
                          <a:latin typeface="Segoe UI Semibold"/>
                          <a:ea typeface="+mn-ea"/>
                          <a:cs typeface="Segoe UI Semilight"/>
                        </a:rPr>
                        <a:t>29 GB per vCore</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7198122"/>
                  </a:ext>
                </a:extLst>
              </a:tr>
              <a:tr h="797833">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b="1" kern="1200">
                          <a:solidFill>
                            <a:schemeClr val="tx1"/>
                          </a:solidFill>
                          <a:latin typeface="Segoe UI Semibold"/>
                          <a:cs typeface="Segoe UI Semibold"/>
                        </a:rPr>
                        <a:t>Storage </a:t>
                      </a:r>
                      <a:endParaRPr lang="en-US" sz="1400" b="1" kern="1200">
                        <a:solidFill>
                          <a:schemeClr val="tx1"/>
                        </a:solidFill>
                        <a:latin typeface="Segoe UI Semibold"/>
                        <a:ea typeface="Calibri" panose="020F0502020204030204" pitchFamily="34" charset="0"/>
                        <a:cs typeface="Segoe UI Semibold"/>
                      </a:endParaRP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kern="1200">
                          <a:solidFill>
                            <a:schemeClr val="tx1"/>
                          </a:solidFill>
                          <a:latin typeface="Segoe UI Semibold"/>
                          <a:ea typeface="+mn-ea"/>
                          <a:cs typeface="Segoe UI Semilight"/>
                        </a:rPr>
                        <a:t>Up to 4TB remote SSD storage</a:t>
                      </a:r>
                    </a:p>
                    <a:p>
                      <a:pPr marL="0" marR="0" lvl="0" indent="0" algn="l" defTabSz="914367" rtl="0" eaLnBrk="1" fontAlgn="auto" latinLnBrk="0" hangingPunct="1">
                        <a:lnSpc>
                          <a:spcPct val="107000"/>
                        </a:lnSpc>
                        <a:spcBef>
                          <a:spcPts val="0"/>
                        </a:spcBef>
                        <a:spcAft>
                          <a:spcPts val="0"/>
                        </a:spcAft>
                        <a:buClrTx/>
                        <a:buSzTx/>
                        <a:buFontTx/>
                        <a:buNone/>
                        <a:tabLst/>
                        <a:defRPr/>
                      </a:pPr>
                      <a:r>
                        <a:rPr lang="en-US" sz="1400" kern="1200">
                          <a:solidFill>
                            <a:schemeClr val="tx1"/>
                          </a:solidFill>
                          <a:latin typeface="Segoe UI Semibold"/>
                          <a:ea typeface="+mn-ea"/>
                          <a:cs typeface="Segoe UI Semilight"/>
                        </a:rPr>
                        <a:t>Up to 4TB local SSD storage</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kern="1200">
                          <a:solidFill>
                            <a:schemeClr val="tx1"/>
                          </a:solidFill>
                          <a:latin typeface="Segoe UI Semibold"/>
                          <a:ea typeface="+mn-ea"/>
                          <a:cs typeface="Segoe UI Semilight"/>
                        </a:rPr>
                        <a:t>Up to 4TB remote SSD storage</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1400" kern="1200">
                          <a:solidFill>
                            <a:schemeClr val="tx1"/>
                          </a:solidFill>
                          <a:latin typeface="Segoe UI Semibold"/>
                          <a:ea typeface="+mn-ea"/>
                          <a:cs typeface="Segoe UI Semilight"/>
                        </a:rPr>
                        <a:t>Up to 4TB local SSD storage</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7146993"/>
                  </a:ext>
                </a:extLst>
              </a:tr>
            </a:tbl>
          </a:graphicData>
        </a:graphic>
      </p:graphicFrame>
      <p:sp>
        <p:nvSpPr>
          <p:cNvPr id="6" name="Rectangle 5">
            <a:extLst>
              <a:ext uri="{FF2B5EF4-FFF2-40B4-BE49-F238E27FC236}">
                <a16:creationId xmlns:a16="http://schemas.microsoft.com/office/drawing/2014/main" id="{E466DD75-8A7F-4686-B27A-FB3C6BEE4C2C}"/>
              </a:ext>
            </a:extLst>
          </p:cNvPr>
          <p:cNvSpPr/>
          <p:nvPr/>
        </p:nvSpPr>
        <p:spPr>
          <a:xfrm>
            <a:off x="664031" y="5532056"/>
            <a:ext cx="8433934" cy="1084912"/>
          </a:xfrm>
          <a:prstGeom prst="rect">
            <a:avLst/>
          </a:prstGeom>
        </p:spPr>
        <p:txBody>
          <a:bodyPr wrap="square">
            <a:spAutoFit/>
          </a:bodyPr>
          <a:lstStyle/>
          <a:p>
            <a:pPr marL="457200" indent="-457200">
              <a:lnSpc>
                <a:spcPct val="100000"/>
              </a:lnSpc>
              <a:buFont typeface="Arial" pitchFamily="34" charset="0"/>
              <a:buChar char="•"/>
            </a:pPr>
            <a:r>
              <a:rPr lang="en-US">
                <a:cs typeface="Segoe UI Semilight"/>
              </a:rPr>
              <a:t>Balance performance requirements and price with two hardware generations</a:t>
            </a:r>
            <a:endParaRPr lang="en-US">
              <a:cs typeface="Segoe UI Light"/>
            </a:endParaRPr>
          </a:p>
          <a:p>
            <a:pPr marL="457200" indent="-457200">
              <a:lnSpc>
                <a:spcPct val="100000"/>
              </a:lnSpc>
              <a:buFont typeface="Arial" pitchFamily="34" charset="0"/>
              <a:buChar char="•"/>
            </a:pPr>
            <a:r>
              <a:rPr lang="en-US">
                <a:cs typeface="Segoe UI Semilight"/>
              </a:rPr>
              <a:t>Match your on-premises application behavior</a:t>
            </a:r>
          </a:p>
          <a:p>
            <a:r>
              <a:rPr lang="en-US" sz="1050">
                <a:cs typeface="Segoe UI Semilight"/>
              </a:rPr>
              <a:t>*Fsv2- series and M-series are GA but in limited regions</a:t>
            </a:r>
          </a:p>
          <a:p>
            <a:endParaRPr lang="en-US">
              <a:cs typeface="Segoe UI"/>
            </a:endParaRPr>
          </a:p>
        </p:txBody>
      </p:sp>
    </p:spTree>
    <p:extLst>
      <p:ext uri="{BB962C8B-B14F-4D97-AF65-F5344CB8AC3E}">
        <p14:creationId xmlns:p14="http://schemas.microsoft.com/office/powerpoint/2010/main" val="28354705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p:txBody>
          <a:bodyPr/>
          <a:lstStyle/>
          <a:p>
            <a:r>
              <a:rPr lang="en-US" dirty="0"/>
              <a:t>Lesson 1: Basic concepts of Azure SQL Database</a:t>
            </a:r>
          </a:p>
          <a:p>
            <a:r>
              <a:rPr lang="en-US" dirty="0"/>
              <a:t>Lesson 2: How to create Azure SQL Database</a:t>
            </a:r>
          </a:p>
          <a:p>
            <a:r>
              <a:rPr lang="en-US" dirty="0"/>
              <a:t>Lesson 3: Introduction to Elastic Database Pools in Azure SQL Database</a:t>
            </a:r>
          </a:p>
          <a:p>
            <a:r>
              <a:rPr lang="en-US" sz="2400" dirty="0"/>
              <a:t>Lesson 4: The difference between SQL Server IaaS and PaaS Solutions</a:t>
            </a:r>
          </a:p>
          <a:p>
            <a:endParaRPr lang="en-US" dirty="0"/>
          </a:p>
        </p:txBody>
      </p:sp>
      <p:sp>
        <p:nvSpPr>
          <p:cNvPr id="4" name="Arrow: Circular 3">
            <a:extLst>
              <a:ext uri="{FF2B5EF4-FFF2-40B4-BE49-F238E27FC236}">
                <a16:creationId xmlns:a16="http://schemas.microsoft.com/office/drawing/2014/main" id="{46E5768D-7887-4F5C-B50B-13F6047AE9FA}"/>
              </a:ext>
            </a:extLst>
          </p:cNvPr>
          <p:cNvSpPr/>
          <p:nvPr/>
        </p:nvSpPr>
        <p:spPr bwMode="auto">
          <a:xfrm rot="16200000">
            <a:off x="3710488" y="2122225"/>
            <a:ext cx="2449773" cy="2326946"/>
          </a:xfrm>
          <a:prstGeom prst="circularArrow">
            <a:avLst>
              <a:gd name="adj1" fmla="val 12500"/>
              <a:gd name="adj2" fmla="val 1043328"/>
              <a:gd name="adj3" fmla="val 20457681"/>
              <a:gd name="adj4" fmla="val 10800000"/>
              <a:gd name="adj5" fmla="val 125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55601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err="1"/>
              <a:t>vCore</a:t>
            </a:r>
            <a:r>
              <a:rPr lang="en-US"/>
              <a:t>-based purchasing model: Serverless compute tier</a:t>
            </a:r>
          </a:p>
        </p:txBody>
      </p:sp>
      <p:sp>
        <p:nvSpPr>
          <p:cNvPr id="81" name="Text Placeholder 17">
            <a:extLst>
              <a:ext uri="{FF2B5EF4-FFF2-40B4-BE49-F238E27FC236}">
                <a16:creationId xmlns:a16="http://schemas.microsoft.com/office/drawing/2014/main" id="{7B9BBCC3-35E2-4586-8A00-048872DA3794}"/>
              </a:ext>
            </a:extLst>
          </p:cNvPr>
          <p:cNvSpPr txBox="1">
            <a:spLocks/>
          </p:cNvSpPr>
          <p:nvPr/>
        </p:nvSpPr>
        <p:spPr>
          <a:xfrm>
            <a:off x="1019429" y="2265716"/>
            <a:ext cx="3730413" cy="988347"/>
          </a:xfrm>
          <a:prstGeom prst="rect">
            <a:avLst/>
          </a:prstGeom>
        </p:spPr>
        <p:txBody>
          <a:bodyPr vert="horz" wrap="square" lIns="146304" tIns="91440" rIns="146304" bIns="91440" rtlCol="0">
            <a:spAutoFit/>
          </a:bodyPr>
          <a:lstStyle>
            <a:lvl1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2040" b="1" kern="1200" spc="0" baseline="0">
                <a:solidFill>
                  <a:srgbClr val="0078D4"/>
                </a:solidFill>
                <a:latin typeface="+mj-lt"/>
                <a:ea typeface="+mn-ea"/>
                <a:cs typeface="+mn-cs"/>
              </a:defRPr>
            </a:lvl1pPr>
            <a:lvl2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836" kern="1200" spc="0" baseline="0">
                <a:solidFill>
                  <a:srgbClr val="0078D4"/>
                </a:solidFill>
                <a:latin typeface="+mn-lt"/>
                <a:ea typeface="+mn-ea"/>
                <a:cs typeface="+mn-cs"/>
              </a:defRPr>
            </a:lvl2pPr>
            <a:lvl3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428" kern="1200" spc="0" baseline="0">
                <a:solidFill>
                  <a:srgbClr val="0078D4"/>
                </a:solidFill>
                <a:latin typeface="+mn-lt"/>
                <a:ea typeface="+mn-ea"/>
                <a:cs typeface="+mn-cs"/>
              </a:defRPr>
            </a:lvl3pPr>
            <a:lvl4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224" kern="1200" spc="0" baseline="0">
                <a:solidFill>
                  <a:srgbClr val="0078D4"/>
                </a:solidFill>
                <a:latin typeface="+mn-lt"/>
                <a:ea typeface="+mn-ea"/>
                <a:cs typeface="+mn-cs"/>
              </a:defRPr>
            </a:lvl4pPr>
            <a:lvl5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224" kern="1200" spc="0" baseline="0">
                <a:solidFill>
                  <a:srgbClr val="0078D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lnSpc>
                <a:spcPct val="100000"/>
              </a:lnSpc>
            </a:pPr>
            <a:r>
              <a:rPr lang="en-US" sz="1632">
                <a:latin typeface="Segoe UI Semibold" panose="020B0502040204020203" pitchFamily="34" charset="0"/>
                <a:cs typeface="Segoe UI Semibold" panose="020B0502040204020203" pitchFamily="34" charset="0"/>
              </a:rPr>
              <a:t>On-demand flexible scale</a:t>
            </a:r>
          </a:p>
          <a:p>
            <a:pPr lvl="1" algn="l">
              <a:lnSpc>
                <a:spcPct val="100000"/>
              </a:lnSpc>
            </a:pPr>
            <a:r>
              <a:rPr lang="en-US" sz="1632">
                <a:latin typeface="Segoe UI" panose="020B0502040204020203" pitchFamily="34" charset="0"/>
                <a:cs typeface="Segoe UI" panose="020B0502040204020203" pitchFamily="34" charset="0"/>
              </a:rPr>
              <a:t>Operate at the true rhythm of </a:t>
            </a:r>
            <a:br>
              <a:rPr lang="en-US" sz="1632">
                <a:latin typeface="Segoe UI" panose="020B0502040204020203" pitchFamily="34" charset="0"/>
                <a:cs typeface="Segoe UI" panose="020B0502040204020203" pitchFamily="34" charset="0"/>
              </a:rPr>
            </a:br>
            <a:r>
              <a:rPr lang="en-US" sz="1632">
                <a:latin typeface="Segoe UI" panose="020B0502040204020203" pitchFamily="34" charset="0"/>
                <a:cs typeface="Segoe UI" panose="020B0502040204020203" pitchFamily="34" charset="0"/>
              </a:rPr>
              <a:t>your business.</a:t>
            </a:r>
          </a:p>
        </p:txBody>
      </p:sp>
      <p:sp>
        <p:nvSpPr>
          <p:cNvPr id="82" name="Text Placeholder 35">
            <a:extLst>
              <a:ext uri="{FF2B5EF4-FFF2-40B4-BE49-F238E27FC236}">
                <a16:creationId xmlns:a16="http://schemas.microsoft.com/office/drawing/2014/main" id="{34EAAEEF-F189-400B-BD62-2F6B0E952EFA}"/>
              </a:ext>
            </a:extLst>
          </p:cNvPr>
          <p:cNvSpPr txBox="1">
            <a:spLocks/>
          </p:cNvSpPr>
          <p:nvPr/>
        </p:nvSpPr>
        <p:spPr>
          <a:xfrm>
            <a:off x="8373356" y="2265716"/>
            <a:ext cx="3730413" cy="819681"/>
          </a:xfrm>
          <a:prstGeom prst="rect">
            <a:avLst/>
          </a:prstGeom>
        </p:spPr>
        <p:txBody>
          <a:bodyPr vert="horz" wrap="square" lIns="146304" tIns="91440" rIns="146304" bIns="91440" rtlCol="0">
            <a:spAutoFit/>
          </a:bodyPr>
          <a:lstStyle>
            <a:lvl1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2040" b="1" kern="1200" spc="0" baseline="0">
                <a:solidFill>
                  <a:srgbClr val="0078D4"/>
                </a:solidFill>
                <a:latin typeface="+mj-lt"/>
                <a:ea typeface="+mn-ea"/>
                <a:cs typeface="+mn-cs"/>
              </a:defRPr>
            </a:lvl1pPr>
            <a:lvl2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836" kern="1200" spc="0" baseline="0">
                <a:solidFill>
                  <a:srgbClr val="0078D4"/>
                </a:solidFill>
                <a:latin typeface="+mn-lt"/>
                <a:ea typeface="+mn-ea"/>
                <a:cs typeface="+mn-cs"/>
              </a:defRPr>
            </a:lvl2pPr>
            <a:lvl3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428" kern="1200" spc="0" baseline="0">
                <a:solidFill>
                  <a:srgbClr val="0078D4"/>
                </a:soli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224"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224"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Arial" pitchFamily="34" charset="0"/>
              <a:buNone/>
              <a:tabLst/>
              <a:defRPr/>
            </a:pPr>
            <a:r>
              <a:rPr kumimoji="0" lang="en-US" sz="1632" b="1" i="0" u="none" strike="noStrike" kern="1200" cap="none" spc="0" normalizeH="0" baseline="0" noProof="0">
                <a:ln>
                  <a:noFill/>
                </a:ln>
                <a:solidFill>
                  <a:srgbClr val="0078D4"/>
                </a:solidFill>
                <a:effectLst/>
                <a:uLnTx/>
                <a:uFillTx/>
                <a:latin typeface="Segoe UI Light"/>
                <a:ea typeface="+mn-ea"/>
                <a:cs typeface="+mn-cs"/>
              </a:rPr>
              <a:t>Fully managed &amp; intelligent</a:t>
            </a:r>
          </a:p>
          <a:p>
            <a:pPr marL="0" marR="0" lvl="1" indent="0" algn="l" defTabSz="932742" rtl="0" eaLnBrk="1" fontAlgn="auto" latinLnBrk="0" hangingPunct="1">
              <a:lnSpc>
                <a:spcPct val="100000"/>
              </a:lnSpc>
              <a:spcBef>
                <a:spcPct val="20000"/>
              </a:spcBef>
              <a:spcAft>
                <a:spcPts val="0"/>
              </a:spcAft>
              <a:buClrTx/>
              <a:buSzPct val="90000"/>
              <a:buFont typeface="Arial" pitchFamily="34" charset="0"/>
              <a:buNone/>
              <a:tabLst/>
              <a:defRPr/>
            </a:pPr>
            <a:r>
              <a:rPr kumimoji="0" lang="en-US" sz="1632"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Focus on your applications, not </a:t>
            </a:r>
            <a:br>
              <a:rPr kumimoji="0" lang="en-US" sz="1632"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br>
            <a:r>
              <a:rPr kumimoji="0" lang="en-US" sz="1632"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your infrastructure</a:t>
            </a:r>
          </a:p>
        </p:txBody>
      </p:sp>
      <p:sp>
        <p:nvSpPr>
          <p:cNvPr id="83" name="Text Placeholder 36">
            <a:extLst>
              <a:ext uri="{FF2B5EF4-FFF2-40B4-BE49-F238E27FC236}">
                <a16:creationId xmlns:a16="http://schemas.microsoft.com/office/drawing/2014/main" id="{B6165ED1-C1D4-44E3-A905-5993EDD6C5E0}"/>
              </a:ext>
            </a:extLst>
          </p:cNvPr>
          <p:cNvSpPr txBox="1">
            <a:spLocks/>
          </p:cNvSpPr>
          <p:nvPr/>
        </p:nvSpPr>
        <p:spPr>
          <a:xfrm>
            <a:off x="4405845" y="2273259"/>
            <a:ext cx="3730413" cy="563523"/>
          </a:xfrm>
          <a:prstGeom prst="rect">
            <a:avLst/>
          </a:prstGeom>
        </p:spPr>
        <p:txBody>
          <a:bodyPr vert="horz" wrap="square" lIns="146304" tIns="91440" rIns="146304" bIns="91440" rtlCol="0">
            <a:spAutoFit/>
          </a:bodyPr>
          <a:lstStyle>
            <a:lvl1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2040" b="1" kern="1200" spc="0" baseline="0">
                <a:solidFill>
                  <a:srgbClr val="0078D4"/>
                </a:solidFill>
                <a:latin typeface="+mj-lt"/>
                <a:ea typeface="+mn-ea"/>
                <a:cs typeface="+mn-cs"/>
              </a:defRPr>
            </a:lvl1pPr>
            <a:lvl2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836" kern="1200" spc="0" baseline="0">
                <a:solidFill>
                  <a:srgbClr val="0078D4"/>
                </a:solidFill>
                <a:latin typeface="+mn-lt"/>
                <a:ea typeface="+mn-ea"/>
                <a:cs typeface="+mn-cs"/>
              </a:defRPr>
            </a:lvl2pPr>
            <a:lvl3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428" kern="1200" spc="0" baseline="0">
                <a:solidFill>
                  <a:srgbClr val="0078D4"/>
                </a:solidFill>
                <a:latin typeface="+mn-lt"/>
                <a:ea typeface="+mn-ea"/>
                <a:cs typeface="+mn-cs"/>
              </a:defRPr>
            </a:lvl3pPr>
            <a:lvl4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224" kern="1200" spc="0" baseline="0">
                <a:solidFill>
                  <a:srgbClr val="0078D4"/>
                </a:solidFill>
                <a:latin typeface="+mn-lt"/>
                <a:ea typeface="+mn-ea"/>
                <a:cs typeface="+mn-cs"/>
              </a:defRPr>
            </a:lvl4pPr>
            <a:lvl5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224" kern="1200" spc="0" baseline="0">
                <a:solidFill>
                  <a:srgbClr val="0078D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Arial" pitchFamily="34" charset="0"/>
              <a:buNone/>
              <a:tabLst/>
              <a:defRPr/>
            </a:pPr>
            <a:r>
              <a:rPr kumimoji="0" lang="en-US" sz="1632" b="1" i="0" u="none" strike="noStrike" kern="1200" cap="none" spc="0" normalizeH="0" baseline="0" noProof="0">
                <a:ln>
                  <a:noFill/>
                </a:ln>
                <a:solidFill>
                  <a:srgbClr val="0078D4"/>
                </a:solidFill>
                <a:effectLst/>
                <a:uLnTx/>
                <a:uFillTx/>
                <a:latin typeface="Segoe UI Light"/>
                <a:ea typeface="+mn-ea"/>
                <a:cs typeface="+mn-cs"/>
              </a:rPr>
              <a:t>Cost-effective</a:t>
            </a:r>
          </a:p>
          <a:p>
            <a:pPr marL="0" marR="0" lvl="1" indent="0" algn="l" defTabSz="932742" rtl="0" eaLnBrk="1" fontAlgn="auto" latinLnBrk="0" hangingPunct="1">
              <a:lnSpc>
                <a:spcPct val="100000"/>
              </a:lnSpc>
              <a:spcBef>
                <a:spcPct val="20000"/>
              </a:spcBef>
              <a:spcAft>
                <a:spcPts val="0"/>
              </a:spcAft>
              <a:buClrTx/>
              <a:buSzPct val="90000"/>
              <a:buFont typeface="Arial" pitchFamily="34" charset="0"/>
              <a:buNone/>
              <a:tabLst/>
              <a:defRPr/>
            </a:pPr>
            <a:r>
              <a:rPr kumimoji="0" lang="en-US" sz="1632"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Pay for performance. Period.</a:t>
            </a:r>
          </a:p>
        </p:txBody>
      </p:sp>
      <p:sp>
        <p:nvSpPr>
          <p:cNvPr id="84" name="Text Placeholder 52">
            <a:extLst>
              <a:ext uri="{FF2B5EF4-FFF2-40B4-BE49-F238E27FC236}">
                <a16:creationId xmlns:a16="http://schemas.microsoft.com/office/drawing/2014/main" id="{B2AC7D1C-BA84-42F7-A231-621BC39940C7}"/>
              </a:ext>
            </a:extLst>
          </p:cNvPr>
          <p:cNvSpPr txBox="1">
            <a:spLocks/>
          </p:cNvSpPr>
          <p:nvPr/>
        </p:nvSpPr>
        <p:spPr>
          <a:xfrm>
            <a:off x="1020786" y="3254812"/>
            <a:ext cx="3390270" cy="1184491"/>
          </a:xfrm>
          <a:prstGeom prst="rect">
            <a:avLst/>
          </a:prstGeom>
        </p:spPr>
        <p:txBody>
          <a:bodyPr vert="horz" wrap="square" lIns="146304" tIns="91440" rIns="146304" bIns="91440" rtlCol="0">
            <a:spAutoFit/>
          </a:bodyPr>
          <a:lstStyle>
            <a:lvl1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836" kern="1200" spc="0" baseline="0">
                <a:gradFill>
                  <a:gsLst>
                    <a:gs pos="1250">
                      <a:schemeClr val="tx1"/>
                    </a:gs>
                    <a:gs pos="100000">
                      <a:schemeClr val="tx1"/>
                    </a:gs>
                  </a:gsLst>
                  <a:lin ang="5400000" scaled="0"/>
                </a:gradFill>
                <a:latin typeface="+mj-lt"/>
                <a:ea typeface="+mn-ea"/>
                <a:cs typeface="+mn-cs"/>
              </a:defRPr>
            </a:lvl1pPr>
            <a:lvl2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428"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122"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071"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071"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32742" rtl="0" eaLnBrk="1" fontAlgn="auto" latinLnBrk="0" hangingPunct="1">
              <a:lnSpc>
                <a:spcPct val="100000"/>
              </a:lnSpc>
              <a:spcBef>
                <a:spcPct val="20000"/>
              </a:spcBef>
              <a:spcAft>
                <a:spcPts val="612"/>
              </a:spcAft>
              <a:buClrTx/>
              <a:buSzPct val="90000"/>
              <a:buFont typeface="Arial" pitchFamily="34" charset="0"/>
              <a:buNone/>
              <a:tabLst/>
              <a:defRPr/>
            </a:pPr>
            <a:r>
              <a:rPr kumimoji="0" lang="en-US" sz="1428" b="0" i="0" u="none" strike="noStrike" kern="1200" cap="none" spc="0" normalizeH="0" baseline="0" noProof="0">
                <a:ln>
                  <a:noFill/>
                </a:ln>
                <a:solidFill>
                  <a:srgbClr val="505050"/>
                </a:solidFill>
                <a:effectLst/>
                <a:uLnTx/>
                <a:uFillTx/>
                <a:latin typeface="Segoe UI"/>
                <a:ea typeface="+mn-ea"/>
                <a:cs typeface="+mn-cs"/>
              </a:rPr>
              <a:t>Adapts compute resources to the workload without sacrificing performance.</a:t>
            </a:r>
          </a:p>
          <a:p>
            <a:pPr marL="0" marR="0" lvl="1" indent="0" algn="l" defTabSz="932742" rtl="0" eaLnBrk="1" fontAlgn="auto" latinLnBrk="0" hangingPunct="1">
              <a:lnSpc>
                <a:spcPct val="100000"/>
              </a:lnSpc>
              <a:spcBef>
                <a:spcPct val="20000"/>
              </a:spcBef>
              <a:spcAft>
                <a:spcPts val="612"/>
              </a:spcAft>
              <a:buClrTx/>
              <a:buSzPct val="90000"/>
              <a:buFont typeface="Arial" pitchFamily="34" charset="0"/>
              <a:buNone/>
              <a:tabLst/>
              <a:defRPr/>
            </a:pPr>
            <a:r>
              <a:rPr kumimoji="0" lang="en-US" sz="1428" b="0" i="0" u="none" strike="noStrike" kern="1200" cap="none" spc="0" normalizeH="0" baseline="0" noProof="0">
                <a:ln>
                  <a:noFill/>
                </a:ln>
                <a:solidFill>
                  <a:srgbClr val="505050"/>
                </a:solidFill>
                <a:effectLst/>
                <a:uLnTx/>
                <a:uFillTx/>
                <a:latin typeface="Segoe UI"/>
                <a:ea typeface="+mn-ea"/>
                <a:cs typeface="+mn-cs"/>
              </a:rPr>
              <a:t>Automatically pauses and resumes.</a:t>
            </a:r>
          </a:p>
        </p:txBody>
      </p:sp>
      <p:sp>
        <p:nvSpPr>
          <p:cNvPr id="85" name="Text Placeholder 53">
            <a:extLst>
              <a:ext uri="{FF2B5EF4-FFF2-40B4-BE49-F238E27FC236}">
                <a16:creationId xmlns:a16="http://schemas.microsoft.com/office/drawing/2014/main" id="{6E464EA9-76D3-49BF-BB57-CC13C416E9FC}"/>
              </a:ext>
            </a:extLst>
          </p:cNvPr>
          <p:cNvSpPr txBox="1">
            <a:spLocks/>
          </p:cNvSpPr>
          <p:nvPr/>
        </p:nvSpPr>
        <p:spPr>
          <a:xfrm>
            <a:off x="8364793" y="3249411"/>
            <a:ext cx="3390270" cy="964751"/>
          </a:xfrm>
          <a:prstGeom prst="rect">
            <a:avLst/>
          </a:prstGeom>
        </p:spPr>
        <p:txBody>
          <a:bodyPr vert="horz" wrap="square" lIns="146304" tIns="91440" rIns="146304" bIns="91440" rtlCol="0">
            <a:spAutoFit/>
          </a:bodyPr>
          <a:lstStyle>
            <a:lvl1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836" kern="1200" spc="0" baseline="0">
                <a:gradFill>
                  <a:gsLst>
                    <a:gs pos="1250">
                      <a:schemeClr val="tx1"/>
                    </a:gs>
                    <a:gs pos="100000">
                      <a:schemeClr val="tx1"/>
                    </a:gs>
                  </a:gsLst>
                  <a:lin ang="5400000" scaled="0"/>
                </a:gradFill>
                <a:latin typeface="+mj-lt"/>
                <a:ea typeface="+mn-ea"/>
                <a:cs typeface="+mn-cs"/>
              </a:defRPr>
            </a:lvl1pPr>
            <a:lvl2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428"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122"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071"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071"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32742" rtl="0" eaLnBrk="1" fontAlgn="auto" latinLnBrk="0" hangingPunct="1">
              <a:lnSpc>
                <a:spcPct val="100000"/>
              </a:lnSpc>
              <a:spcBef>
                <a:spcPct val="20000"/>
              </a:spcBef>
              <a:spcAft>
                <a:spcPts val="612"/>
              </a:spcAft>
              <a:buClrTx/>
              <a:buSzPct val="90000"/>
              <a:buFont typeface="Arial" pitchFamily="34" charset="0"/>
              <a:buNone/>
              <a:tabLst/>
              <a:defRPr/>
            </a:pPr>
            <a:r>
              <a:rPr kumimoji="0" lang="en-US" sz="1428" b="0" i="0" u="none" strike="noStrike" kern="1200" cap="none" spc="0" normalizeH="0" baseline="0" noProof="0">
                <a:ln>
                  <a:noFill/>
                </a:ln>
                <a:solidFill>
                  <a:srgbClr val="505050"/>
                </a:solidFill>
                <a:effectLst/>
                <a:uLnTx/>
                <a:uFillTx/>
                <a:latin typeface="Segoe UI"/>
                <a:ea typeface="+mn-ea"/>
                <a:cs typeface="+mn-cs"/>
              </a:rPr>
              <a:t>Fully-managed and intelligent </a:t>
            </a:r>
            <a:br>
              <a:rPr kumimoji="0" lang="en-US" sz="1428" b="0" i="0" u="none" strike="noStrike" kern="1200" cap="none" spc="0" normalizeH="0" baseline="0" noProof="0">
                <a:ln>
                  <a:noFill/>
                </a:ln>
                <a:solidFill>
                  <a:srgbClr val="505050"/>
                </a:solidFill>
                <a:effectLst/>
                <a:uLnTx/>
                <a:uFillTx/>
                <a:latin typeface="Segoe UI"/>
                <a:ea typeface="+mn-ea"/>
                <a:cs typeface="+mn-cs"/>
              </a:rPr>
            </a:br>
            <a:r>
              <a:rPr kumimoji="0" lang="en-US" sz="1428" b="0" i="0" u="none" strike="noStrike" kern="1200" cap="none" spc="0" normalizeH="0" baseline="0" noProof="0">
                <a:ln>
                  <a:noFill/>
                </a:ln>
                <a:solidFill>
                  <a:srgbClr val="505050"/>
                </a:solidFill>
                <a:effectLst/>
                <a:uLnTx/>
                <a:uFillTx/>
                <a:latin typeface="Segoe UI"/>
                <a:ea typeface="+mn-ea"/>
                <a:cs typeface="+mn-cs"/>
              </a:rPr>
              <a:t>database service.</a:t>
            </a:r>
          </a:p>
          <a:p>
            <a:pPr marL="0" marR="0" lvl="1" indent="0" algn="l" defTabSz="932742" rtl="0" eaLnBrk="1" fontAlgn="auto" latinLnBrk="0" hangingPunct="1">
              <a:lnSpc>
                <a:spcPct val="100000"/>
              </a:lnSpc>
              <a:spcBef>
                <a:spcPct val="20000"/>
              </a:spcBef>
              <a:spcAft>
                <a:spcPts val="612"/>
              </a:spcAft>
              <a:buClrTx/>
              <a:buSzPct val="90000"/>
              <a:buFont typeface="Arial" pitchFamily="34" charset="0"/>
              <a:buNone/>
              <a:tabLst/>
              <a:defRPr/>
            </a:pPr>
            <a:r>
              <a:rPr kumimoji="0" lang="en-US" sz="1428" b="0" i="0" u="none" strike="noStrike" kern="1200" cap="none" spc="0" normalizeH="0" baseline="0" noProof="0">
                <a:ln>
                  <a:noFill/>
                </a:ln>
                <a:solidFill>
                  <a:srgbClr val="505050"/>
                </a:solidFill>
                <a:effectLst/>
                <a:uLnTx/>
                <a:uFillTx/>
                <a:latin typeface="Segoe UI"/>
                <a:ea typeface="+mn-ea"/>
                <a:cs typeface="+mn-cs"/>
              </a:rPr>
              <a:t>Built-in 99.99% availability.</a:t>
            </a:r>
          </a:p>
        </p:txBody>
      </p:sp>
      <p:sp>
        <p:nvSpPr>
          <p:cNvPr id="86" name="Text Placeholder 54">
            <a:extLst>
              <a:ext uri="{FF2B5EF4-FFF2-40B4-BE49-F238E27FC236}">
                <a16:creationId xmlns:a16="http://schemas.microsoft.com/office/drawing/2014/main" id="{A5782B3D-0577-491C-A1B2-2A15B7ABBF9A}"/>
              </a:ext>
            </a:extLst>
          </p:cNvPr>
          <p:cNvSpPr txBox="1">
            <a:spLocks/>
          </p:cNvSpPr>
          <p:nvPr/>
        </p:nvSpPr>
        <p:spPr>
          <a:xfrm>
            <a:off x="4405616" y="3249412"/>
            <a:ext cx="3390270" cy="1184491"/>
          </a:xfrm>
          <a:prstGeom prst="rect">
            <a:avLst/>
          </a:prstGeom>
        </p:spPr>
        <p:txBody>
          <a:bodyPr vert="horz" wrap="square" lIns="146304" tIns="91440" rIns="146304" bIns="91440" rtlCol="0">
            <a:spAutoFit/>
          </a:bodyPr>
          <a:lstStyle>
            <a:lvl1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836" kern="1200" spc="0" baseline="0">
                <a:gradFill>
                  <a:gsLst>
                    <a:gs pos="1250">
                      <a:schemeClr val="tx1"/>
                    </a:gs>
                    <a:gs pos="100000">
                      <a:schemeClr val="tx1"/>
                    </a:gs>
                  </a:gsLst>
                  <a:lin ang="5400000" scaled="0"/>
                </a:gradFill>
                <a:latin typeface="+mj-lt"/>
                <a:ea typeface="+mn-ea"/>
                <a:cs typeface="+mn-cs"/>
              </a:defRPr>
            </a:lvl1pPr>
            <a:lvl2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428"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122"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071"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071"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32742" rtl="0" eaLnBrk="1" fontAlgn="auto" latinLnBrk="0" hangingPunct="1">
              <a:lnSpc>
                <a:spcPct val="100000"/>
              </a:lnSpc>
              <a:spcBef>
                <a:spcPct val="20000"/>
              </a:spcBef>
              <a:spcAft>
                <a:spcPts val="612"/>
              </a:spcAft>
              <a:buClrTx/>
              <a:buSzPct val="90000"/>
              <a:buFont typeface="Arial" pitchFamily="34" charset="0"/>
              <a:buNone/>
              <a:tabLst/>
              <a:defRPr/>
            </a:pPr>
            <a:r>
              <a:rPr kumimoji="0" lang="en-US" sz="1428" b="0" i="0" u="none" strike="noStrike" kern="1200" cap="none" spc="0" normalizeH="0" baseline="0" noProof="0">
                <a:ln>
                  <a:noFill/>
                </a:ln>
                <a:solidFill>
                  <a:srgbClr val="505050"/>
                </a:solidFill>
                <a:effectLst/>
                <a:uLnTx/>
                <a:uFillTx/>
                <a:latin typeface="Segoe UI"/>
                <a:ea typeface="+mn-ea"/>
                <a:cs typeface="+mn-cs"/>
              </a:rPr>
              <a:t>Pay only for compute resources you consume, on a per-second basis.</a:t>
            </a:r>
          </a:p>
          <a:p>
            <a:pPr marL="0" marR="0" lvl="1" indent="0" algn="l" defTabSz="932742" rtl="0" eaLnBrk="1" fontAlgn="auto" latinLnBrk="0" hangingPunct="1">
              <a:lnSpc>
                <a:spcPct val="100000"/>
              </a:lnSpc>
              <a:spcBef>
                <a:spcPct val="20000"/>
              </a:spcBef>
              <a:spcAft>
                <a:spcPts val="612"/>
              </a:spcAft>
              <a:buClrTx/>
              <a:buSzPct val="90000"/>
              <a:buFont typeface="Arial" pitchFamily="34" charset="0"/>
              <a:buNone/>
              <a:tabLst/>
              <a:defRPr/>
            </a:pPr>
            <a:r>
              <a:rPr kumimoji="0" lang="en-US" sz="1428" b="0" i="0" u="none" strike="noStrike" kern="1200" cap="none" spc="0" normalizeH="0" baseline="0" noProof="0">
                <a:ln>
                  <a:noFill/>
                </a:ln>
                <a:solidFill>
                  <a:srgbClr val="505050"/>
                </a:solidFill>
                <a:effectLst/>
                <a:uLnTx/>
                <a:uFillTx/>
                <a:latin typeface="Segoe UI"/>
                <a:ea typeface="+mn-ea"/>
                <a:cs typeface="+mn-cs"/>
              </a:rPr>
              <a:t>Further optimize costs with configurable compute thresholds.</a:t>
            </a:r>
          </a:p>
        </p:txBody>
      </p:sp>
      <p:grpSp>
        <p:nvGrpSpPr>
          <p:cNvPr id="87" name="Group 86" descr="scale, elasticity">
            <a:extLst>
              <a:ext uri="{FF2B5EF4-FFF2-40B4-BE49-F238E27FC236}">
                <a16:creationId xmlns:a16="http://schemas.microsoft.com/office/drawing/2014/main" id="{D457F020-40A5-4972-8FA4-D3C72C86C7F3}"/>
              </a:ext>
            </a:extLst>
          </p:cNvPr>
          <p:cNvGrpSpPr/>
          <p:nvPr/>
        </p:nvGrpSpPr>
        <p:grpSpPr>
          <a:xfrm>
            <a:off x="1019430" y="1494878"/>
            <a:ext cx="432709" cy="431050"/>
            <a:chOff x="690617" y="3992880"/>
            <a:chExt cx="367168" cy="365760"/>
          </a:xfrm>
        </p:grpSpPr>
        <p:sp>
          <p:nvSpPr>
            <p:cNvPr id="88" name="Freeform 330">
              <a:extLst>
                <a:ext uri="{FF2B5EF4-FFF2-40B4-BE49-F238E27FC236}">
                  <a16:creationId xmlns:a16="http://schemas.microsoft.com/office/drawing/2014/main" id="{BF93D14C-E24B-4006-B87E-2300025C6619}"/>
                </a:ext>
              </a:extLst>
            </p:cNvPr>
            <p:cNvSpPr>
              <a:spLocks noEditPoints="1"/>
            </p:cNvSpPr>
            <p:nvPr/>
          </p:nvSpPr>
          <p:spPr bwMode="auto">
            <a:xfrm>
              <a:off x="690617" y="3992880"/>
              <a:ext cx="367168" cy="365760"/>
            </a:xfrm>
            <a:custGeom>
              <a:avLst/>
              <a:gdLst>
                <a:gd name="T0" fmla="*/ 233 w 261"/>
                <a:gd name="T1" fmla="*/ 27 h 260"/>
                <a:gd name="T2" fmla="*/ 233 w 261"/>
                <a:gd name="T3" fmla="*/ 233 h 260"/>
                <a:gd name="T4" fmla="*/ 27 w 261"/>
                <a:gd name="T5" fmla="*/ 233 h 260"/>
                <a:gd name="T6" fmla="*/ 27 w 261"/>
                <a:gd name="T7" fmla="*/ 27 h 260"/>
                <a:gd name="T8" fmla="*/ 233 w 261"/>
                <a:gd name="T9" fmla="*/ 27 h 260"/>
                <a:gd name="T10" fmla="*/ 261 w 261"/>
                <a:gd name="T11" fmla="*/ 0 h 260"/>
                <a:gd name="T12" fmla="*/ 0 w 261"/>
                <a:gd name="T13" fmla="*/ 0 h 260"/>
                <a:gd name="T14" fmla="*/ 0 w 261"/>
                <a:gd name="T15" fmla="*/ 260 h 260"/>
                <a:gd name="T16" fmla="*/ 261 w 261"/>
                <a:gd name="T17" fmla="*/ 260 h 260"/>
                <a:gd name="T18" fmla="*/ 261 w 261"/>
                <a:gd name="T19"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 h="260">
                  <a:moveTo>
                    <a:pt x="233" y="27"/>
                  </a:moveTo>
                  <a:lnTo>
                    <a:pt x="233" y="233"/>
                  </a:lnTo>
                  <a:lnTo>
                    <a:pt x="27" y="233"/>
                  </a:lnTo>
                  <a:lnTo>
                    <a:pt x="27" y="27"/>
                  </a:lnTo>
                  <a:lnTo>
                    <a:pt x="233" y="27"/>
                  </a:lnTo>
                  <a:close/>
                  <a:moveTo>
                    <a:pt x="261" y="0"/>
                  </a:moveTo>
                  <a:lnTo>
                    <a:pt x="0" y="0"/>
                  </a:lnTo>
                  <a:lnTo>
                    <a:pt x="0" y="260"/>
                  </a:lnTo>
                  <a:lnTo>
                    <a:pt x="261" y="260"/>
                  </a:lnTo>
                  <a:lnTo>
                    <a:pt x="26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sp>
          <p:nvSpPr>
            <p:cNvPr id="89" name="Rectangle 331">
              <a:extLst>
                <a:ext uri="{FF2B5EF4-FFF2-40B4-BE49-F238E27FC236}">
                  <a16:creationId xmlns:a16="http://schemas.microsoft.com/office/drawing/2014/main" id="{7AA7A400-0F30-419E-9799-89C9032D9B4E}"/>
                </a:ext>
              </a:extLst>
            </p:cNvPr>
            <p:cNvSpPr>
              <a:spLocks noChangeArrowheads="1"/>
            </p:cNvSpPr>
            <p:nvPr/>
          </p:nvSpPr>
          <p:spPr bwMode="auto">
            <a:xfrm>
              <a:off x="690617" y="4185607"/>
              <a:ext cx="173033" cy="17303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sp>
          <p:nvSpPr>
            <p:cNvPr id="90" name="Freeform 332">
              <a:extLst>
                <a:ext uri="{FF2B5EF4-FFF2-40B4-BE49-F238E27FC236}">
                  <a16:creationId xmlns:a16="http://schemas.microsoft.com/office/drawing/2014/main" id="{80047216-8F14-4D09-ABA3-E9C766A43757}"/>
                </a:ext>
              </a:extLst>
            </p:cNvPr>
            <p:cNvSpPr>
              <a:spLocks/>
            </p:cNvSpPr>
            <p:nvPr/>
          </p:nvSpPr>
          <p:spPr bwMode="auto">
            <a:xfrm>
              <a:off x="922734" y="3992880"/>
              <a:ext cx="135050" cy="135050"/>
            </a:xfrm>
            <a:custGeom>
              <a:avLst/>
              <a:gdLst>
                <a:gd name="T0" fmla="*/ 0 w 96"/>
                <a:gd name="T1" fmla="*/ 0 h 96"/>
                <a:gd name="T2" fmla="*/ 0 w 96"/>
                <a:gd name="T3" fmla="*/ 27 h 96"/>
                <a:gd name="T4" fmla="*/ 68 w 96"/>
                <a:gd name="T5" fmla="*/ 27 h 96"/>
                <a:gd name="T6" fmla="*/ 68 w 96"/>
                <a:gd name="T7" fmla="*/ 96 h 96"/>
                <a:gd name="T8" fmla="*/ 96 w 96"/>
                <a:gd name="T9" fmla="*/ 96 h 96"/>
                <a:gd name="T10" fmla="*/ 96 w 96"/>
                <a:gd name="T11" fmla="*/ 0 h 96"/>
                <a:gd name="T12" fmla="*/ 0 w 96"/>
                <a:gd name="T13" fmla="*/ 0 h 96"/>
              </a:gdLst>
              <a:ahLst/>
              <a:cxnLst>
                <a:cxn ang="0">
                  <a:pos x="T0" y="T1"/>
                </a:cxn>
                <a:cxn ang="0">
                  <a:pos x="T2" y="T3"/>
                </a:cxn>
                <a:cxn ang="0">
                  <a:pos x="T4" y="T5"/>
                </a:cxn>
                <a:cxn ang="0">
                  <a:pos x="T6" y="T7"/>
                </a:cxn>
                <a:cxn ang="0">
                  <a:pos x="T8" y="T9"/>
                </a:cxn>
                <a:cxn ang="0">
                  <a:pos x="T10" y="T11"/>
                </a:cxn>
                <a:cxn ang="0">
                  <a:pos x="T12" y="T13"/>
                </a:cxn>
              </a:cxnLst>
              <a:rect l="0" t="0" r="r" b="b"/>
              <a:pathLst>
                <a:path w="96" h="96">
                  <a:moveTo>
                    <a:pt x="0" y="0"/>
                  </a:moveTo>
                  <a:lnTo>
                    <a:pt x="0" y="27"/>
                  </a:lnTo>
                  <a:lnTo>
                    <a:pt x="68" y="27"/>
                  </a:lnTo>
                  <a:lnTo>
                    <a:pt x="68" y="96"/>
                  </a:lnTo>
                  <a:lnTo>
                    <a:pt x="96" y="96"/>
                  </a:lnTo>
                  <a:lnTo>
                    <a:pt x="96"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grpSp>
      <p:grpSp>
        <p:nvGrpSpPr>
          <p:cNvPr id="91" name="Group 4" descr="fully managed">
            <a:extLst>
              <a:ext uri="{FF2B5EF4-FFF2-40B4-BE49-F238E27FC236}">
                <a16:creationId xmlns:a16="http://schemas.microsoft.com/office/drawing/2014/main" id="{4C00EDDE-C56F-4CFD-BAC2-8823CFBCDC7A}"/>
              </a:ext>
            </a:extLst>
          </p:cNvPr>
          <p:cNvGrpSpPr>
            <a:grpSpLocks noChangeAspect="1"/>
          </p:cNvGrpSpPr>
          <p:nvPr/>
        </p:nvGrpSpPr>
        <p:grpSpPr bwMode="auto">
          <a:xfrm>
            <a:off x="8374479" y="1501294"/>
            <a:ext cx="540539" cy="484507"/>
            <a:chOff x="390" y="763"/>
            <a:chExt cx="328" cy="294"/>
          </a:xfrm>
        </p:grpSpPr>
        <p:sp>
          <p:nvSpPr>
            <p:cNvPr id="92" name="AutoShape 3">
              <a:extLst>
                <a:ext uri="{FF2B5EF4-FFF2-40B4-BE49-F238E27FC236}">
                  <a16:creationId xmlns:a16="http://schemas.microsoft.com/office/drawing/2014/main" id="{C7945F8B-B46D-4A25-920E-9FE2506CA77F}"/>
                </a:ext>
              </a:extLst>
            </p:cNvPr>
            <p:cNvSpPr>
              <a:spLocks noChangeAspect="1" noChangeArrowheads="1" noTextEdit="1"/>
            </p:cNvSpPr>
            <p:nvPr/>
          </p:nvSpPr>
          <p:spPr bwMode="auto">
            <a:xfrm>
              <a:off x="390" y="763"/>
              <a:ext cx="328" cy="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3" name="Freeform 5">
              <a:extLst>
                <a:ext uri="{FF2B5EF4-FFF2-40B4-BE49-F238E27FC236}">
                  <a16:creationId xmlns:a16="http://schemas.microsoft.com/office/drawing/2014/main" id="{F8C26C91-C5FE-4D88-A253-CF411E9FA962}"/>
                </a:ext>
              </a:extLst>
            </p:cNvPr>
            <p:cNvSpPr>
              <a:spLocks/>
            </p:cNvSpPr>
            <p:nvPr/>
          </p:nvSpPr>
          <p:spPr bwMode="auto">
            <a:xfrm>
              <a:off x="511" y="829"/>
              <a:ext cx="87" cy="49"/>
            </a:xfrm>
            <a:custGeom>
              <a:avLst/>
              <a:gdLst>
                <a:gd name="T0" fmla="*/ 101 w 101"/>
                <a:gd name="T1" fmla="*/ 0 h 57"/>
                <a:gd name="T2" fmla="*/ 0 w 101"/>
                <a:gd name="T3" fmla="*/ 0 h 57"/>
                <a:gd name="T4" fmla="*/ 0 w 101"/>
                <a:gd name="T5" fmla="*/ 32 h 57"/>
                <a:gd name="T6" fmla="*/ 51 w 101"/>
                <a:gd name="T7" fmla="*/ 57 h 57"/>
                <a:gd name="T8" fmla="*/ 101 w 101"/>
                <a:gd name="T9" fmla="*/ 32 h 57"/>
                <a:gd name="T10" fmla="*/ 101 w 101"/>
                <a:gd name="T11" fmla="*/ 0 h 57"/>
              </a:gdLst>
              <a:ahLst/>
              <a:cxnLst>
                <a:cxn ang="0">
                  <a:pos x="T0" y="T1"/>
                </a:cxn>
                <a:cxn ang="0">
                  <a:pos x="T2" y="T3"/>
                </a:cxn>
                <a:cxn ang="0">
                  <a:pos x="T4" y="T5"/>
                </a:cxn>
                <a:cxn ang="0">
                  <a:pos x="T6" y="T7"/>
                </a:cxn>
                <a:cxn ang="0">
                  <a:pos x="T8" y="T9"/>
                </a:cxn>
                <a:cxn ang="0">
                  <a:pos x="T10" y="T11"/>
                </a:cxn>
              </a:cxnLst>
              <a:rect l="0" t="0" r="r" b="b"/>
              <a:pathLst>
                <a:path w="101" h="57">
                  <a:moveTo>
                    <a:pt x="101" y="0"/>
                  </a:moveTo>
                  <a:cubicBezTo>
                    <a:pt x="0" y="0"/>
                    <a:pt x="0" y="0"/>
                    <a:pt x="0" y="0"/>
                  </a:cubicBezTo>
                  <a:cubicBezTo>
                    <a:pt x="0" y="32"/>
                    <a:pt x="0" y="32"/>
                    <a:pt x="0" y="32"/>
                  </a:cubicBezTo>
                  <a:cubicBezTo>
                    <a:pt x="0" y="46"/>
                    <a:pt x="23" y="57"/>
                    <a:pt x="51" y="57"/>
                  </a:cubicBezTo>
                  <a:cubicBezTo>
                    <a:pt x="78" y="57"/>
                    <a:pt x="101" y="46"/>
                    <a:pt x="101" y="32"/>
                  </a:cubicBezTo>
                  <a:cubicBezTo>
                    <a:pt x="101" y="32"/>
                    <a:pt x="101" y="0"/>
                    <a:pt x="101"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4" name="Freeform 6">
              <a:extLst>
                <a:ext uri="{FF2B5EF4-FFF2-40B4-BE49-F238E27FC236}">
                  <a16:creationId xmlns:a16="http://schemas.microsoft.com/office/drawing/2014/main" id="{2CC12EB3-C069-4A5A-8570-28C08A03C168}"/>
                </a:ext>
              </a:extLst>
            </p:cNvPr>
            <p:cNvSpPr>
              <a:spLocks/>
            </p:cNvSpPr>
            <p:nvPr/>
          </p:nvSpPr>
          <p:spPr bwMode="auto">
            <a:xfrm>
              <a:off x="511" y="824"/>
              <a:ext cx="87" cy="46"/>
            </a:xfrm>
            <a:custGeom>
              <a:avLst/>
              <a:gdLst>
                <a:gd name="T0" fmla="*/ 101 w 101"/>
                <a:gd name="T1" fmla="*/ 0 h 53"/>
                <a:gd name="T2" fmla="*/ 101 w 101"/>
                <a:gd name="T3" fmla="*/ 28 h 53"/>
                <a:gd name="T4" fmla="*/ 51 w 101"/>
                <a:gd name="T5" fmla="*/ 53 h 53"/>
                <a:gd name="T6" fmla="*/ 0 w 101"/>
                <a:gd name="T7" fmla="*/ 28 h 53"/>
                <a:gd name="T8" fmla="*/ 0 w 101"/>
                <a:gd name="T9" fmla="*/ 0 h 53"/>
                <a:gd name="T10" fmla="*/ 101 w 101"/>
                <a:gd name="T11" fmla="*/ 0 h 53"/>
              </a:gdLst>
              <a:ahLst/>
              <a:cxnLst>
                <a:cxn ang="0">
                  <a:pos x="T0" y="T1"/>
                </a:cxn>
                <a:cxn ang="0">
                  <a:pos x="T2" y="T3"/>
                </a:cxn>
                <a:cxn ang="0">
                  <a:pos x="T4" y="T5"/>
                </a:cxn>
                <a:cxn ang="0">
                  <a:pos x="T6" y="T7"/>
                </a:cxn>
                <a:cxn ang="0">
                  <a:pos x="T8" y="T9"/>
                </a:cxn>
                <a:cxn ang="0">
                  <a:pos x="T10" y="T11"/>
                </a:cxn>
              </a:cxnLst>
              <a:rect l="0" t="0" r="r" b="b"/>
              <a:pathLst>
                <a:path w="101" h="53">
                  <a:moveTo>
                    <a:pt x="101" y="0"/>
                  </a:moveTo>
                  <a:cubicBezTo>
                    <a:pt x="101" y="28"/>
                    <a:pt x="101" y="28"/>
                    <a:pt x="101" y="28"/>
                  </a:cubicBezTo>
                  <a:cubicBezTo>
                    <a:pt x="101" y="42"/>
                    <a:pt x="78" y="53"/>
                    <a:pt x="51" y="53"/>
                  </a:cubicBezTo>
                  <a:cubicBezTo>
                    <a:pt x="23" y="53"/>
                    <a:pt x="0" y="42"/>
                    <a:pt x="0" y="28"/>
                  </a:cubicBezTo>
                  <a:cubicBezTo>
                    <a:pt x="0" y="0"/>
                    <a:pt x="0" y="0"/>
                    <a:pt x="0" y="0"/>
                  </a:cubicBezTo>
                  <a:lnTo>
                    <a:pt x="101"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5" name="Freeform 7">
              <a:extLst>
                <a:ext uri="{FF2B5EF4-FFF2-40B4-BE49-F238E27FC236}">
                  <a16:creationId xmlns:a16="http://schemas.microsoft.com/office/drawing/2014/main" id="{59630482-278F-4DEC-8D77-A4B695E17661}"/>
                </a:ext>
              </a:extLst>
            </p:cNvPr>
            <p:cNvSpPr>
              <a:spLocks/>
            </p:cNvSpPr>
            <p:nvPr/>
          </p:nvSpPr>
          <p:spPr bwMode="auto">
            <a:xfrm>
              <a:off x="511" y="800"/>
              <a:ext cx="87" cy="48"/>
            </a:xfrm>
            <a:custGeom>
              <a:avLst/>
              <a:gdLst>
                <a:gd name="T0" fmla="*/ 101 w 101"/>
                <a:gd name="T1" fmla="*/ 0 h 57"/>
                <a:gd name="T2" fmla="*/ 0 w 101"/>
                <a:gd name="T3" fmla="*/ 0 h 57"/>
                <a:gd name="T4" fmla="*/ 0 w 101"/>
                <a:gd name="T5" fmla="*/ 32 h 57"/>
                <a:gd name="T6" fmla="*/ 51 w 101"/>
                <a:gd name="T7" fmla="*/ 57 h 57"/>
                <a:gd name="T8" fmla="*/ 101 w 101"/>
                <a:gd name="T9" fmla="*/ 32 h 57"/>
                <a:gd name="T10" fmla="*/ 101 w 101"/>
                <a:gd name="T11" fmla="*/ 0 h 57"/>
              </a:gdLst>
              <a:ahLst/>
              <a:cxnLst>
                <a:cxn ang="0">
                  <a:pos x="T0" y="T1"/>
                </a:cxn>
                <a:cxn ang="0">
                  <a:pos x="T2" y="T3"/>
                </a:cxn>
                <a:cxn ang="0">
                  <a:pos x="T4" y="T5"/>
                </a:cxn>
                <a:cxn ang="0">
                  <a:pos x="T6" y="T7"/>
                </a:cxn>
                <a:cxn ang="0">
                  <a:pos x="T8" y="T9"/>
                </a:cxn>
                <a:cxn ang="0">
                  <a:pos x="T10" y="T11"/>
                </a:cxn>
              </a:cxnLst>
              <a:rect l="0" t="0" r="r" b="b"/>
              <a:pathLst>
                <a:path w="101" h="57">
                  <a:moveTo>
                    <a:pt x="101" y="0"/>
                  </a:moveTo>
                  <a:cubicBezTo>
                    <a:pt x="0" y="0"/>
                    <a:pt x="0" y="0"/>
                    <a:pt x="0" y="0"/>
                  </a:cubicBezTo>
                  <a:cubicBezTo>
                    <a:pt x="0" y="32"/>
                    <a:pt x="0" y="32"/>
                    <a:pt x="0" y="32"/>
                  </a:cubicBezTo>
                  <a:cubicBezTo>
                    <a:pt x="0" y="46"/>
                    <a:pt x="23" y="57"/>
                    <a:pt x="51" y="57"/>
                  </a:cubicBezTo>
                  <a:cubicBezTo>
                    <a:pt x="78" y="57"/>
                    <a:pt x="101" y="46"/>
                    <a:pt x="101" y="32"/>
                  </a:cubicBezTo>
                  <a:cubicBezTo>
                    <a:pt x="101" y="32"/>
                    <a:pt x="101" y="1"/>
                    <a:pt x="101"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6" name="Freeform 8">
              <a:extLst>
                <a:ext uri="{FF2B5EF4-FFF2-40B4-BE49-F238E27FC236}">
                  <a16:creationId xmlns:a16="http://schemas.microsoft.com/office/drawing/2014/main" id="{895F68DE-D576-4287-B07B-D425A012C039}"/>
                </a:ext>
              </a:extLst>
            </p:cNvPr>
            <p:cNvSpPr>
              <a:spLocks/>
            </p:cNvSpPr>
            <p:nvPr/>
          </p:nvSpPr>
          <p:spPr bwMode="auto">
            <a:xfrm>
              <a:off x="511" y="783"/>
              <a:ext cx="87" cy="44"/>
            </a:xfrm>
            <a:custGeom>
              <a:avLst/>
              <a:gdLst>
                <a:gd name="T0" fmla="*/ 101 w 101"/>
                <a:gd name="T1" fmla="*/ 0 h 51"/>
                <a:gd name="T2" fmla="*/ 0 w 101"/>
                <a:gd name="T3" fmla="*/ 0 h 51"/>
                <a:gd name="T4" fmla="*/ 0 w 101"/>
                <a:gd name="T5" fmla="*/ 26 h 51"/>
                <a:gd name="T6" fmla="*/ 51 w 101"/>
                <a:gd name="T7" fmla="*/ 51 h 51"/>
                <a:gd name="T8" fmla="*/ 101 w 101"/>
                <a:gd name="T9" fmla="*/ 26 h 51"/>
                <a:gd name="T10" fmla="*/ 101 w 101"/>
                <a:gd name="T11" fmla="*/ 0 h 51"/>
              </a:gdLst>
              <a:ahLst/>
              <a:cxnLst>
                <a:cxn ang="0">
                  <a:pos x="T0" y="T1"/>
                </a:cxn>
                <a:cxn ang="0">
                  <a:pos x="T2" y="T3"/>
                </a:cxn>
                <a:cxn ang="0">
                  <a:pos x="T4" y="T5"/>
                </a:cxn>
                <a:cxn ang="0">
                  <a:pos x="T6" y="T7"/>
                </a:cxn>
                <a:cxn ang="0">
                  <a:pos x="T8" y="T9"/>
                </a:cxn>
                <a:cxn ang="0">
                  <a:pos x="T10" y="T11"/>
                </a:cxn>
              </a:cxnLst>
              <a:rect l="0" t="0" r="r" b="b"/>
              <a:pathLst>
                <a:path w="101" h="51">
                  <a:moveTo>
                    <a:pt x="101" y="0"/>
                  </a:moveTo>
                  <a:cubicBezTo>
                    <a:pt x="0" y="0"/>
                    <a:pt x="0" y="0"/>
                    <a:pt x="0" y="0"/>
                  </a:cubicBezTo>
                  <a:cubicBezTo>
                    <a:pt x="0" y="26"/>
                    <a:pt x="0" y="26"/>
                    <a:pt x="0" y="26"/>
                  </a:cubicBezTo>
                  <a:cubicBezTo>
                    <a:pt x="0" y="40"/>
                    <a:pt x="23" y="51"/>
                    <a:pt x="51" y="51"/>
                  </a:cubicBezTo>
                  <a:cubicBezTo>
                    <a:pt x="78" y="51"/>
                    <a:pt x="101" y="40"/>
                    <a:pt x="101" y="26"/>
                  </a:cubicBezTo>
                  <a:cubicBezTo>
                    <a:pt x="101" y="26"/>
                    <a:pt x="101" y="0"/>
                    <a:pt x="10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7" name="Oval 9">
              <a:extLst>
                <a:ext uri="{FF2B5EF4-FFF2-40B4-BE49-F238E27FC236}">
                  <a16:creationId xmlns:a16="http://schemas.microsoft.com/office/drawing/2014/main" id="{DCA31C13-E695-4DEA-A047-2C19DA614612}"/>
                </a:ext>
              </a:extLst>
            </p:cNvPr>
            <p:cNvSpPr>
              <a:spLocks noChangeArrowheads="1"/>
            </p:cNvSpPr>
            <p:nvPr/>
          </p:nvSpPr>
          <p:spPr bwMode="auto">
            <a:xfrm>
              <a:off x="511" y="763"/>
              <a:ext cx="87" cy="4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8" name="Freeform 10">
              <a:extLst>
                <a:ext uri="{FF2B5EF4-FFF2-40B4-BE49-F238E27FC236}">
                  <a16:creationId xmlns:a16="http://schemas.microsoft.com/office/drawing/2014/main" id="{A8EC0DA8-268C-4E54-BB79-1E7D2319CB12}"/>
                </a:ext>
              </a:extLst>
            </p:cNvPr>
            <p:cNvSpPr>
              <a:spLocks noEditPoints="1"/>
            </p:cNvSpPr>
            <p:nvPr/>
          </p:nvSpPr>
          <p:spPr bwMode="auto">
            <a:xfrm>
              <a:off x="390" y="988"/>
              <a:ext cx="69" cy="69"/>
            </a:xfrm>
            <a:custGeom>
              <a:avLst/>
              <a:gdLst>
                <a:gd name="T0" fmla="*/ 81 w 81"/>
                <a:gd name="T1" fmla="*/ 45 h 81"/>
                <a:gd name="T2" fmla="*/ 81 w 81"/>
                <a:gd name="T3" fmla="*/ 36 h 81"/>
                <a:gd name="T4" fmla="*/ 72 w 81"/>
                <a:gd name="T5" fmla="*/ 36 h 81"/>
                <a:gd name="T6" fmla="*/ 66 w 81"/>
                <a:gd name="T7" fmla="*/ 21 h 81"/>
                <a:gd name="T8" fmla="*/ 72 w 81"/>
                <a:gd name="T9" fmla="*/ 15 h 81"/>
                <a:gd name="T10" fmla="*/ 66 w 81"/>
                <a:gd name="T11" fmla="*/ 9 h 81"/>
                <a:gd name="T12" fmla="*/ 60 w 81"/>
                <a:gd name="T13" fmla="*/ 15 h 81"/>
                <a:gd name="T14" fmla="*/ 45 w 81"/>
                <a:gd name="T15" fmla="*/ 9 h 81"/>
                <a:gd name="T16" fmla="*/ 45 w 81"/>
                <a:gd name="T17" fmla="*/ 0 h 81"/>
                <a:gd name="T18" fmla="*/ 36 w 81"/>
                <a:gd name="T19" fmla="*/ 0 h 81"/>
                <a:gd name="T20" fmla="*/ 36 w 81"/>
                <a:gd name="T21" fmla="*/ 9 h 81"/>
                <a:gd name="T22" fmla="*/ 21 w 81"/>
                <a:gd name="T23" fmla="*/ 15 h 81"/>
                <a:gd name="T24" fmla="*/ 15 w 81"/>
                <a:gd name="T25" fmla="*/ 9 h 81"/>
                <a:gd name="T26" fmla="*/ 9 w 81"/>
                <a:gd name="T27" fmla="*/ 15 h 81"/>
                <a:gd name="T28" fmla="*/ 15 w 81"/>
                <a:gd name="T29" fmla="*/ 21 h 81"/>
                <a:gd name="T30" fmla="*/ 9 w 81"/>
                <a:gd name="T31" fmla="*/ 36 h 81"/>
                <a:gd name="T32" fmla="*/ 0 w 81"/>
                <a:gd name="T33" fmla="*/ 36 h 81"/>
                <a:gd name="T34" fmla="*/ 0 w 81"/>
                <a:gd name="T35" fmla="*/ 45 h 81"/>
                <a:gd name="T36" fmla="*/ 9 w 81"/>
                <a:gd name="T37" fmla="*/ 45 h 81"/>
                <a:gd name="T38" fmla="*/ 15 w 81"/>
                <a:gd name="T39" fmla="*/ 60 h 81"/>
                <a:gd name="T40" fmla="*/ 9 w 81"/>
                <a:gd name="T41" fmla="*/ 66 h 81"/>
                <a:gd name="T42" fmla="*/ 15 w 81"/>
                <a:gd name="T43" fmla="*/ 72 h 81"/>
                <a:gd name="T44" fmla="*/ 21 w 81"/>
                <a:gd name="T45" fmla="*/ 66 h 81"/>
                <a:gd name="T46" fmla="*/ 36 w 81"/>
                <a:gd name="T47" fmla="*/ 72 h 81"/>
                <a:gd name="T48" fmla="*/ 36 w 81"/>
                <a:gd name="T49" fmla="*/ 81 h 81"/>
                <a:gd name="T50" fmla="*/ 45 w 81"/>
                <a:gd name="T51" fmla="*/ 81 h 81"/>
                <a:gd name="T52" fmla="*/ 45 w 81"/>
                <a:gd name="T53" fmla="*/ 72 h 81"/>
                <a:gd name="T54" fmla="*/ 60 w 81"/>
                <a:gd name="T55" fmla="*/ 66 h 81"/>
                <a:gd name="T56" fmla="*/ 66 w 81"/>
                <a:gd name="T57" fmla="*/ 72 h 81"/>
                <a:gd name="T58" fmla="*/ 72 w 81"/>
                <a:gd name="T59" fmla="*/ 66 h 81"/>
                <a:gd name="T60" fmla="*/ 66 w 81"/>
                <a:gd name="T61" fmla="*/ 60 h 81"/>
                <a:gd name="T62" fmla="*/ 72 w 81"/>
                <a:gd name="T63" fmla="*/ 45 h 81"/>
                <a:gd name="T64" fmla="*/ 81 w 81"/>
                <a:gd name="T65" fmla="*/ 45 h 81"/>
                <a:gd name="T66" fmla="*/ 40 w 81"/>
                <a:gd name="T67" fmla="*/ 56 h 81"/>
                <a:gd name="T68" fmla="*/ 25 w 81"/>
                <a:gd name="T69" fmla="*/ 41 h 81"/>
                <a:gd name="T70" fmla="*/ 40 w 81"/>
                <a:gd name="T71" fmla="*/ 25 h 81"/>
                <a:gd name="T72" fmla="*/ 56 w 81"/>
                <a:gd name="T73" fmla="*/ 41 h 81"/>
                <a:gd name="T74" fmla="*/ 40 w 81"/>
                <a:gd name="T75" fmla="*/ 5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 h="81">
                  <a:moveTo>
                    <a:pt x="81" y="45"/>
                  </a:moveTo>
                  <a:cubicBezTo>
                    <a:pt x="81" y="36"/>
                    <a:pt x="81" y="36"/>
                    <a:pt x="81" y="36"/>
                  </a:cubicBezTo>
                  <a:cubicBezTo>
                    <a:pt x="72" y="36"/>
                    <a:pt x="72" y="36"/>
                    <a:pt x="72" y="36"/>
                  </a:cubicBezTo>
                  <a:cubicBezTo>
                    <a:pt x="71" y="31"/>
                    <a:pt x="69" y="26"/>
                    <a:pt x="66" y="21"/>
                  </a:cubicBezTo>
                  <a:cubicBezTo>
                    <a:pt x="72" y="15"/>
                    <a:pt x="72" y="15"/>
                    <a:pt x="72" y="15"/>
                  </a:cubicBezTo>
                  <a:cubicBezTo>
                    <a:pt x="66" y="9"/>
                    <a:pt x="66" y="9"/>
                    <a:pt x="66" y="9"/>
                  </a:cubicBezTo>
                  <a:cubicBezTo>
                    <a:pt x="60" y="15"/>
                    <a:pt x="60" y="15"/>
                    <a:pt x="60" y="15"/>
                  </a:cubicBezTo>
                  <a:cubicBezTo>
                    <a:pt x="56" y="12"/>
                    <a:pt x="50" y="10"/>
                    <a:pt x="45" y="9"/>
                  </a:cubicBezTo>
                  <a:cubicBezTo>
                    <a:pt x="45" y="0"/>
                    <a:pt x="45" y="0"/>
                    <a:pt x="45" y="0"/>
                  </a:cubicBezTo>
                  <a:cubicBezTo>
                    <a:pt x="36" y="0"/>
                    <a:pt x="36" y="0"/>
                    <a:pt x="36" y="0"/>
                  </a:cubicBezTo>
                  <a:cubicBezTo>
                    <a:pt x="36" y="9"/>
                    <a:pt x="36" y="9"/>
                    <a:pt x="36" y="9"/>
                  </a:cubicBezTo>
                  <a:cubicBezTo>
                    <a:pt x="31" y="10"/>
                    <a:pt x="25" y="12"/>
                    <a:pt x="21" y="15"/>
                  </a:cubicBezTo>
                  <a:cubicBezTo>
                    <a:pt x="15" y="9"/>
                    <a:pt x="15" y="9"/>
                    <a:pt x="15" y="9"/>
                  </a:cubicBezTo>
                  <a:cubicBezTo>
                    <a:pt x="9" y="15"/>
                    <a:pt x="9" y="15"/>
                    <a:pt x="9" y="15"/>
                  </a:cubicBezTo>
                  <a:cubicBezTo>
                    <a:pt x="15" y="21"/>
                    <a:pt x="15" y="21"/>
                    <a:pt x="15" y="21"/>
                  </a:cubicBezTo>
                  <a:cubicBezTo>
                    <a:pt x="12" y="26"/>
                    <a:pt x="10" y="31"/>
                    <a:pt x="9" y="36"/>
                  </a:cubicBezTo>
                  <a:cubicBezTo>
                    <a:pt x="0" y="36"/>
                    <a:pt x="0" y="36"/>
                    <a:pt x="0" y="36"/>
                  </a:cubicBezTo>
                  <a:cubicBezTo>
                    <a:pt x="0" y="45"/>
                    <a:pt x="0" y="45"/>
                    <a:pt x="0" y="45"/>
                  </a:cubicBezTo>
                  <a:cubicBezTo>
                    <a:pt x="9" y="45"/>
                    <a:pt x="9" y="45"/>
                    <a:pt x="9" y="45"/>
                  </a:cubicBezTo>
                  <a:cubicBezTo>
                    <a:pt x="10" y="50"/>
                    <a:pt x="12" y="56"/>
                    <a:pt x="15" y="60"/>
                  </a:cubicBezTo>
                  <a:cubicBezTo>
                    <a:pt x="9" y="66"/>
                    <a:pt x="9" y="66"/>
                    <a:pt x="9" y="66"/>
                  </a:cubicBezTo>
                  <a:cubicBezTo>
                    <a:pt x="15" y="72"/>
                    <a:pt x="15" y="72"/>
                    <a:pt x="15" y="72"/>
                  </a:cubicBezTo>
                  <a:cubicBezTo>
                    <a:pt x="21" y="66"/>
                    <a:pt x="21" y="66"/>
                    <a:pt x="21" y="66"/>
                  </a:cubicBezTo>
                  <a:cubicBezTo>
                    <a:pt x="25" y="69"/>
                    <a:pt x="31" y="72"/>
                    <a:pt x="36" y="72"/>
                  </a:cubicBezTo>
                  <a:cubicBezTo>
                    <a:pt x="36" y="81"/>
                    <a:pt x="36" y="81"/>
                    <a:pt x="36" y="81"/>
                  </a:cubicBezTo>
                  <a:cubicBezTo>
                    <a:pt x="45" y="81"/>
                    <a:pt x="45" y="81"/>
                    <a:pt x="45" y="81"/>
                  </a:cubicBezTo>
                  <a:cubicBezTo>
                    <a:pt x="45" y="72"/>
                    <a:pt x="45" y="72"/>
                    <a:pt x="45" y="72"/>
                  </a:cubicBezTo>
                  <a:cubicBezTo>
                    <a:pt x="50" y="72"/>
                    <a:pt x="56" y="69"/>
                    <a:pt x="60" y="66"/>
                  </a:cubicBezTo>
                  <a:cubicBezTo>
                    <a:pt x="66" y="72"/>
                    <a:pt x="66" y="72"/>
                    <a:pt x="66" y="72"/>
                  </a:cubicBezTo>
                  <a:cubicBezTo>
                    <a:pt x="72" y="66"/>
                    <a:pt x="72" y="66"/>
                    <a:pt x="72" y="66"/>
                  </a:cubicBezTo>
                  <a:cubicBezTo>
                    <a:pt x="66" y="60"/>
                    <a:pt x="66" y="60"/>
                    <a:pt x="66" y="60"/>
                  </a:cubicBezTo>
                  <a:cubicBezTo>
                    <a:pt x="69" y="56"/>
                    <a:pt x="71" y="50"/>
                    <a:pt x="72" y="45"/>
                  </a:cubicBezTo>
                  <a:lnTo>
                    <a:pt x="81" y="45"/>
                  </a:lnTo>
                  <a:close/>
                  <a:moveTo>
                    <a:pt x="40" y="56"/>
                  </a:moveTo>
                  <a:cubicBezTo>
                    <a:pt x="32" y="56"/>
                    <a:pt x="25" y="49"/>
                    <a:pt x="25" y="41"/>
                  </a:cubicBezTo>
                  <a:cubicBezTo>
                    <a:pt x="25" y="32"/>
                    <a:pt x="32" y="25"/>
                    <a:pt x="40" y="25"/>
                  </a:cubicBezTo>
                  <a:cubicBezTo>
                    <a:pt x="49" y="25"/>
                    <a:pt x="56" y="32"/>
                    <a:pt x="56" y="41"/>
                  </a:cubicBezTo>
                  <a:cubicBezTo>
                    <a:pt x="56" y="49"/>
                    <a:pt x="49" y="56"/>
                    <a:pt x="40" y="5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9" name="Freeform 11">
              <a:extLst>
                <a:ext uri="{FF2B5EF4-FFF2-40B4-BE49-F238E27FC236}">
                  <a16:creationId xmlns:a16="http://schemas.microsoft.com/office/drawing/2014/main" id="{BE1B40E4-ED69-450A-9C43-86B612A299E9}"/>
                </a:ext>
              </a:extLst>
            </p:cNvPr>
            <p:cNvSpPr>
              <a:spLocks/>
            </p:cNvSpPr>
            <p:nvPr/>
          </p:nvSpPr>
          <p:spPr bwMode="auto">
            <a:xfrm>
              <a:off x="475" y="989"/>
              <a:ext cx="54" cy="69"/>
            </a:xfrm>
            <a:custGeom>
              <a:avLst/>
              <a:gdLst>
                <a:gd name="T0" fmla="*/ 54 w 54"/>
                <a:gd name="T1" fmla="*/ 68 h 69"/>
                <a:gd name="T2" fmla="*/ 0 w 54"/>
                <a:gd name="T3" fmla="*/ 69 h 69"/>
                <a:gd name="T4" fmla="*/ 0 w 54"/>
                <a:gd name="T5" fmla="*/ 17 h 69"/>
                <a:gd name="T6" fmla="*/ 10 w 54"/>
                <a:gd name="T7" fmla="*/ 11 h 69"/>
                <a:gd name="T8" fmla="*/ 17 w 54"/>
                <a:gd name="T9" fmla="*/ 0 h 69"/>
                <a:gd name="T10" fmla="*/ 54 w 54"/>
                <a:gd name="T11" fmla="*/ 0 h 69"/>
                <a:gd name="T12" fmla="*/ 54 w 54"/>
                <a:gd name="T13" fmla="*/ 68 h 69"/>
              </a:gdLst>
              <a:ahLst/>
              <a:cxnLst>
                <a:cxn ang="0">
                  <a:pos x="T0" y="T1"/>
                </a:cxn>
                <a:cxn ang="0">
                  <a:pos x="T2" y="T3"/>
                </a:cxn>
                <a:cxn ang="0">
                  <a:pos x="T4" y="T5"/>
                </a:cxn>
                <a:cxn ang="0">
                  <a:pos x="T6" y="T7"/>
                </a:cxn>
                <a:cxn ang="0">
                  <a:pos x="T8" y="T9"/>
                </a:cxn>
                <a:cxn ang="0">
                  <a:pos x="T10" y="T11"/>
                </a:cxn>
                <a:cxn ang="0">
                  <a:pos x="T12" y="T13"/>
                </a:cxn>
              </a:cxnLst>
              <a:rect l="0" t="0" r="r" b="b"/>
              <a:pathLst>
                <a:path w="54" h="69">
                  <a:moveTo>
                    <a:pt x="54" y="68"/>
                  </a:moveTo>
                  <a:lnTo>
                    <a:pt x="0" y="69"/>
                  </a:lnTo>
                  <a:lnTo>
                    <a:pt x="0" y="17"/>
                  </a:lnTo>
                  <a:lnTo>
                    <a:pt x="10" y="11"/>
                  </a:lnTo>
                  <a:lnTo>
                    <a:pt x="17" y="0"/>
                  </a:lnTo>
                  <a:lnTo>
                    <a:pt x="54" y="0"/>
                  </a:lnTo>
                  <a:lnTo>
                    <a:pt x="54"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0" name="Freeform 12">
              <a:extLst>
                <a:ext uri="{FF2B5EF4-FFF2-40B4-BE49-F238E27FC236}">
                  <a16:creationId xmlns:a16="http://schemas.microsoft.com/office/drawing/2014/main" id="{24AE55A9-891E-43AA-B382-4B2A28B58CBE}"/>
                </a:ext>
              </a:extLst>
            </p:cNvPr>
            <p:cNvSpPr>
              <a:spLocks/>
            </p:cNvSpPr>
            <p:nvPr/>
          </p:nvSpPr>
          <p:spPr bwMode="auto">
            <a:xfrm>
              <a:off x="475" y="989"/>
              <a:ext cx="17" cy="17"/>
            </a:xfrm>
            <a:custGeom>
              <a:avLst/>
              <a:gdLst>
                <a:gd name="T0" fmla="*/ 17 w 17"/>
                <a:gd name="T1" fmla="*/ 0 h 17"/>
                <a:gd name="T2" fmla="*/ 17 w 17"/>
                <a:gd name="T3" fmla="*/ 17 h 17"/>
                <a:gd name="T4" fmla="*/ 0 w 17"/>
                <a:gd name="T5" fmla="*/ 17 h 17"/>
                <a:gd name="T6" fmla="*/ 17 w 17"/>
                <a:gd name="T7" fmla="*/ 0 h 17"/>
              </a:gdLst>
              <a:ahLst/>
              <a:cxnLst>
                <a:cxn ang="0">
                  <a:pos x="T0" y="T1"/>
                </a:cxn>
                <a:cxn ang="0">
                  <a:pos x="T2" y="T3"/>
                </a:cxn>
                <a:cxn ang="0">
                  <a:pos x="T4" y="T5"/>
                </a:cxn>
                <a:cxn ang="0">
                  <a:pos x="T6" y="T7"/>
                </a:cxn>
              </a:cxnLst>
              <a:rect l="0" t="0" r="r" b="b"/>
              <a:pathLst>
                <a:path w="17" h="17">
                  <a:moveTo>
                    <a:pt x="17" y="0"/>
                  </a:moveTo>
                  <a:lnTo>
                    <a:pt x="17" y="17"/>
                  </a:lnTo>
                  <a:lnTo>
                    <a:pt x="0" y="17"/>
                  </a:lnTo>
                  <a:lnTo>
                    <a:pt x="1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1" name="Rectangle 13">
              <a:extLst>
                <a:ext uri="{FF2B5EF4-FFF2-40B4-BE49-F238E27FC236}">
                  <a16:creationId xmlns:a16="http://schemas.microsoft.com/office/drawing/2014/main" id="{54877B98-AEB5-4AA9-B61D-5D25DB2808F6}"/>
                </a:ext>
              </a:extLst>
            </p:cNvPr>
            <p:cNvSpPr>
              <a:spLocks noChangeArrowheads="1"/>
            </p:cNvSpPr>
            <p:nvPr/>
          </p:nvSpPr>
          <p:spPr bwMode="auto">
            <a:xfrm>
              <a:off x="563" y="1003"/>
              <a:ext cx="70"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2" name="Freeform 14">
              <a:extLst>
                <a:ext uri="{FF2B5EF4-FFF2-40B4-BE49-F238E27FC236}">
                  <a16:creationId xmlns:a16="http://schemas.microsoft.com/office/drawing/2014/main" id="{231B9692-BB82-4C95-B68A-01973136C0FF}"/>
                </a:ext>
              </a:extLst>
            </p:cNvPr>
            <p:cNvSpPr>
              <a:spLocks/>
            </p:cNvSpPr>
            <p:nvPr/>
          </p:nvSpPr>
          <p:spPr bwMode="auto">
            <a:xfrm>
              <a:off x="563" y="989"/>
              <a:ext cx="70" cy="14"/>
            </a:xfrm>
            <a:custGeom>
              <a:avLst/>
              <a:gdLst>
                <a:gd name="T0" fmla="*/ 62 w 70"/>
                <a:gd name="T1" fmla="*/ 7 h 14"/>
                <a:gd name="T2" fmla="*/ 62 w 70"/>
                <a:gd name="T3" fmla="*/ 0 h 14"/>
                <a:gd name="T4" fmla="*/ 51 w 70"/>
                <a:gd name="T5" fmla="*/ 0 h 14"/>
                <a:gd name="T6" fmla="*/ 51 w 70"/>
                <a:gd name="T7" fmla="*/ 7 h 14"/>
                <a:gd name="T8" fmla="*/ 18 w 70"/>
                <a:gd name="T9" fmla="*/ 7 h 14"/>
                <a:gd name="T10" fmla="*/ 18 w 70"/>
                <a:gd name="T11" fmla="*/ 0 h 14"/>
                <a:gd name="T12" fmla="*/ 7 w 70"/>
                <a:gd name="T13" fmla="*/ 0 h 14"/>
                <a:gd name="T14" fmla="*/ 7 w 70"/>
                <a:gd name="T15" fmla="*/ 7 h 14"/>
                <a:gd name="T16" fmla="*/ 0 w 70"/>
                <a:gd name="T17" fmla="*/ 7 h 14"/>
                <a:gd name="T18" fmla="*/ 0 w 70"/>
                <a:gd name="T19" fmla="*/ 14 h 14"/>
                <a:gd name="T20" fmla="*/ 70 w 70"/>
                <a:gd name="T21" fmla="*/ 14 h 14"/>
                <a:gd name="T22" fmla="*/ 70 w 70"/>
                <a:gd name="T23" fmla="*/ 7 h 14"/>
                <a:gd name="T24" fmla="*/ 62 w 70"/>
                <a:gd name="T25"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4">
                  <a:moveTo>
                    <a:pt x="62" y="7"/>
                  </a:moveTo>
                  <a:lnTo>
                    <a:pt x="62" y="0"/>
                  </a:lnTo>
                  <a:lnTo>
                    <a:pt x="51" y="0"/>
                  </a:lnTo>
                  <a:lnTo>
                    <a:pt x="51" y="7"/>
                  </a:lnTo>
                  <a:lnTo>
                    <a:pt x="18" y="7"/>
                  </a:lnTo>
                  <a:lnTo>
                    <a:pt x="18" y="0"/>
                  </a:lnTo>
                  <a:lnTo>
                    <a:pt x="7" y="0"/>
                  </a:lnTo>
                  <a:lnTo>
                    <a:pt x="7" y="7"/>
                  </a:lnTo>
                  <a:lnTo>
                    <a:pt x="0" y="7"/>
                  </a:lnTo>
                  <a:lnTo>
                    <a:pt x="0" y="14"/>
                  </a:lnTo>
                  <a:lnTo>
                    <a:pt x="70" y="14"/>
                  </a:lnTo>
                  <a:lnTo>
                    <a:pt x="70" y="7"/>
                  </a:lnTo>
                  <a:lnTo>
                    <a:pt x="62"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3" name="Rectangle 15">
              <a:extLst>
                <a:ext uri="{FF2B5EF4-FFF2-40B4-BE49-F238E27FC236}">
                  <a16:creationId xmlns:a16="http://schemas.microsoft.com/office/drawing/2014/main" id="{A4B3DBAB-CE21-4D2D-BA94-1994C4298971}"/>
                </a:ext>
              </a:extLst>
            </p:cNvPr>
            <p:cNvSpPr>
              <a:spLocks noChangeArrowheads="1"/>
            </p:cNvSpPr>
            <p:nvPr/>
          </p:nvSpPr>
          <p:spPr bwMode="auto">
            <a:xfrm>
              <a:off x="649" y="1050"/>
              <a:ext cx="69" cy="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4" name="Rectangle 16">
              <a:extLst>
                <a:ext uri="{FF2B5EF4-FFF2-40B4-BE49-F238E27FC236}">
                  <a16:creationId xmlns:a16="http://schemas.microsoft.com/office/drawing/2014/main" id="{BFEA7BF1-7253-40F1-930A-6528F1AF1FE9}"/>
                </a:ext>
              </a:extLst>
            </p:cNvPr>
            <p:cNvSpPr>
              <a:spLocks noChangeArrowheads="1"/>
            </p:cNvSpPr>
            <p:nvPr/>
          </p:nvSpPr>
          <p:spPr bwMode="auto">
            <a:xfrm>
              <a:off x="679" y="1043"/>
              <a:ext cx="9" cy="1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5" name="Rectangle 17">
              <a:extLst>
                <a:ext uri="{FF2B5EF4-FFF2-40B4-BE49-F238E27FC236}">
                  <a16:creationId xmlns:a16="http://schemas.microsoft.com/office/drawing/2014/main" id="{56C7B4B4-494F-47B7-B298-5F089B64888A}"/>
                </a:ext>
              </a:extLst>
            </p:cNvPr>
            <p:cNvSpPr>
              <a:spLocks noChangeArrowheads="1"/>
            </p:cNvSpPr>
            <p:nvPr/>
          </p:nvSpPr>
          <p:spPr bwMode="auto">
            <a:xfrm>
              <a:off x="570" y="1014"/>
              <a:ext cx="15" cy="1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6" name="Rectangle 18">
              <a:extLst>
                <a:ext uri="{FF2B5EF4-FFF2-40B4-BE49-F238E27FC236}">
                  <a16:creationId xmlns:a16="http://schemas.microsoft.com/office/drawing/2014/main" id="{3BB59891-7364-4402-ACEB-5C8E309F28CD}"/>
                </a:ext>
              </a:extLst>
            </p:cNvPr>
            <p:cNvSpPr>
              <a:spLocks noChangeArrowheads="1"/>
            </p:cNvSpPr>
            <p:nvPr/>
          </p:nvSpPr>
          <p:spPr bwMode="auto">
            <a:xfrm>
              <a:off x="610" y="1014"/>
              <a:ext cx="15" cy="1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7" name="Freeform 19">
              <a:extLst>
                <a:ext uri="{FF2B5EF4-FFF2-40B4-BE49-F238E27FC236}">
                  <a16:creationId xmlns:a16="http://schemas.microsoft.com/office/drawing/2014/main" id="{A38F8CB3-7D1F-427D-AD91-542B3493B592}"/>
                </a:ext>
              </a:extLst>
            </p:cNvPr>
            <p:cNvSpPr>
              <a:spLocks/>
            </p:cNvSpPr>
            <p:nvPr/>
          </p:nvSpPr>
          <p:spPr bwMode="auto">
            <a:xfrm>
              <a:off x="591" y="1014"/>
              <a:ext cx="14" cy="15"/>
            </a:xfrm>
            <a:custGeom>
              <a:avLst/>
              <a:gdLst>
                <a:gd name="T0" fmla="*/ 14 w 14"/>
                <a:gd name="T1" fmla="*/ 0 h 15"/>
                <a:gd name="T2" fmla="*/ 0 w 14"/>
                <a:gd name="T3" fmla="*/ 0 h 15"/>
                <a:gd name="T4" fmla="*/ 0 w 14"/>
                <a:gd name="T5" fmla="*/ 15 h 15"/>
                <a:gd name="T6" fmla="*/ 14 w 14"/>
                <a:gd name="T7" fmla="*/ 15 h 15"/>
                <a:gd name="T8" fmla="*/ 14 w 14"/>
                <a:gd name="T9" fmla="*/ 0 h 15"/>
                <a:gd name="T10" fmla="*/ 14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14" y="0"/>
                  </a:moveTo>
                  <a:lnTo>
                    <a:pt x="0" y="0"/>
                  </a:lnTo>
                  <a:lnTo>
                    <a:pt x="0" y="15"/>
                  </a:lnTo>
                  <a:lnTo>
                    <a:pt x="14" y="15"/>
                  </a:lnTo>
                  <a:lnTo>
                    <a:pt x="14" y="0"/>
                  </a:lnTo>
                  <a:lnTo>
                    <a:pt x="1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8" name="Rectangle 20">
              <a:extLst>
                <a:ext uri="{FF2B5EF4-FFF2-40B4-BE49-F238E27FC236}">
                  <a16:creationId xmlns:a16="http://schemas.microsoft.com/office/drawing/2014/main" id="{FBA7F969-803B-4CE4-94BD-49684AFDC513}"/>
                </a:ext>
              </a:extLst>
            </p:cNvPr>
            <p:cNvSpPr>
              <a:spLocks noChangeArrowheads="1"/>
            </p:cNvSpPr>
            <p:nvPr/>
          </p:nvSpPr>
          <p:spPr bwMode="auto">
            <a:xfrm>
              <a:off x="570" y="1036"/>
              <a:ext cx="15" cy="1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9" name="Rectangle 21">
              <a:extLst>
                <a:ext uri="{FF2B5EF4-FFF2-40B4-BE49-F238E27FC236}">
                  <a16:creationId xmlns:a16="http://schemas.microsoft.com/office/drawing/2014/main" id="{BE5CD272-B562-402D-AAFC-F399D8BDD063}"/>
                </a:ext>
              </a:extLst>
            </p:cNvPr>
            <p:cNvSpPr>
              <a:spLocks noChangeArrowheads="1"/>
            </p:cNvSpPr>
            <p:nvPr/>
          </p:nvSpPr>
          <p:spPr bwMode="auto">
            <a:xfrm>
              <a:off x="610" y="1036"/>
              <a:ext cx="15" cy="1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0" name="Freeform 22">
              <a:extLst>
                <a:ext uri="{FF2B5EF4-FFF2-40B4-BE49-F238E27FC236}">
                  <a16:creationId xmlns:a16="http://schemas.microsoft.com/office/drawing/2014/main" id="{E3A2DDC2-21DF-4F99-84AE-2B8397237EE8}"/>
                </a:ext>
              </a:extLst>
            </p:cNvPr>
            <p:cNvSpPr>
              <a:spLocks/>
            </p:cNvSpPr>
            <p:nvPr/>
          </p:nvSpPr>
          <p:spPr bwMode="auto">
            <a:xfrm>
              <a:off x="591" y="1036"/>
              <a:ext cx="14" cy="14"/>
            </a:xfrm>
            <a:custGeom>
              <a:avLst/>
              <a:gdLst>
                <a:gd name="T0" fmla="*/ 14 w 14"/>
                <a:gd name="T1" fmla="*/ 0 h 14"/>
                <a:gd name="T2" fmla="*/ 0 w 14"/>
                <a:gd name="T3" fmla="*/ 0 h 14"/>
                <a:gd name="T4" fmla="*/ 0 w 14"/>
                <a:gd name="T5" fmla="*/ 14 h 14"/>
                <a:gd name="T6" fmla="*/ 14 w 14"/>
                <a:gd name="T7" fmla="*/ 14 h 14"/>
                <a:gd name="T8" fmla="*/ 14 w 14"/>
                <a:gd name="T9" fmla="*/ 0 h 14"/>
                <a:gd name="T10" fmla="*/ 14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14" y="0"/>
                  </a:moveTo>
                  <a:lnTo>
                    <a:pt x="0" y="0"/>
                  </a:lnTo>
                  <a:lnTo>
                    <a:pt x="0" y="14"/>
                  </a:lnTo>
                  <a:lnTo>
                    <a:pt x="14" y="14"/>
                  </a:lnTo>
                  <a:lnTo>
                    <a:pt x="14" y="0"/>
                  </a:lnTo>
                  <a:lnTo>
                    <a:pt x="1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1" name="Rectangle 23">
              <a:extLst>
                <a:ext uri="{FF2B5EF4-FFF2-40B4-BE49-F238E27FC236}">
                  <a16:creationId xmlns:a16="http://schemas.microsoft.com/office/drawing/2014/main" id="{4F893E03-A686-447A-857B-F4B07C21C1DD}"/>
                </a:ext>
              </a:extLst>
            </p:cNvPr>
            <p:cNvSpPr>
              <a:spLocks noChangeArrowheads="1"/>
            </p:cNvSpPr>
            <p:nvPr/>
          </p:nvSpPr>
          <p:spPr bwMode="auto">
            <a:xfrm>
              <a:off x="649" y="989"/>
              <a:ext cx="69" cy="5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2" name="Rectangle 24">
              <a:extLst>
                <a:ext uri="{FF2B5EF4-FFF2-40B4-BE49-F238E27FC236}">
                  <a16:creationId xmlns:a16="http://schemas.microsoft.com/office/drawing/2014/main" id="{BBF17E30-402B-4BE5-8081-7B80D2129B2B}"/>
                </a:ext>
              </a:extLst>
            </p:cNvPr>
            <p:cNvSpPr>
              <a:spLocks noChangeArrowheads="1"/>
            </p:cNvSpPr>
            <p:nvPr/>
          </p:nvSpPr>
          <p:spPr bwMode="auto">
            <a:xfrm>
              <a:off x="656" y="996"/>
              <a:ext cx="54" cy="4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3" name="Freeform 25">
              <a:extLst>
                <a:ext uri="{FF2B5EF4-FFF2-40B4-BE49-F238E27FC236}">
                  <a16:creationId xmlns:a16="http://schemas.microsoft.com/office/drawing/2014/main" id="{E3882432-BC19-42D7-9FBF-1FD6E379F9FA}"/>
                </a:ext>
              </a:extLst>
            </p:cNvPr>
            <p:cNvSpPr>
              <a:spLocks noEditPoints="1"/>
            </p:cNvSpPr>
            <p:nvPr/>
          </p:nvSpPr>
          <p:spPr bwMode="auto">
            <a:xfrm>
              <a:off x="649" y="989"/>
              <a:ext cx="69" cy="54"/>
            </a:xfrm>
            <a:custGeom>
              <a:avLst/>
              <a:gdLst>
                <a:gd name="T0" fmla="*/ 0 w 69"/>
                <a:gd name="T1" fmla="*/ 0 h 54"/>
                <a:gd name="T2" fmla="*/ 0 w 69"/>
                <a:gd name="T3" fmla="*/ 54 h 54"/>
                <a:gd name="T4" fmla="*/ 69 w 69"/>
                <a:gd name="T5" fmla="*/ 54 h 54"/>
                <a:gd name="T6" fmla="*/ 69 w 69"/>
                <a:gd name="T7" fmla="*/ 0 h 54"/>
                <a:gd name="T8" fmla="*/ 0 w 69"/>
                <a:gd name="T9" fmla="*/ 0 h 54"/>
                <a:gd name="T10" fmla="*/ 61 w 69"/>
                <a:gd name="T11" fmla="*/ 48 h 54"/>
                <a:gd name="T12" fmla="*/ 7 w 69"/>
                <a:gd name="T13" fmla="*/ 48 h 54"/>
                <a:gd name="T14" fmla="*/ 7 w 69"/>
                <a:gd name="T15" fmla="*/ 7 h 54"/>
                <a:gd name="T16" fmla="*/ 61 w 69"/>
                <a:gd name="T17" fmla="*/ 7 h 54"/>
                <a:gd name="T18" fmla="*/ 61 w 69"/>
                <a:gd name="T19"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54">
                  <a:moveTo>
                    <a:pt x="0" y="0"/>
                  </a:moveTo>
                  <a:lnTo>
                    <a:pt x="0" y="54"/>
                  </a:lnTo>
                  <a:lnTo>
                    <a:pt x="69" y="54"/>
                  </a:lnTo>
                  <a:lnTo>
                    <a:pt x="69" y="0"/>
                  </a:lnTo>
                  <a:lnTo>
                    <a:pt x="0" y="0"/>
                  </a:lnTo>
                  <a:close/>
                  <a:moveTo>
                    <a:pt x="61" y="48"/>
                  </a:moveTo>
                  <a:lnTo>
                    <a:pt x="7" y="48"/>
                  </a:lnTo>
                  <a:lnTo>
                    <a:pt x="7" y="7"/>
                  </a:lnTo>
                  <a:lnTo>
                    <a:pt x="61" y="7"/>
                  </a:lnTo>
                  <a:lnTo>
                    <a:pt x="61" y="4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4" name="Freeform 26">
              <a:extLst>
                <a:ext uri="{FF2B5EF4-FFF2-40B4-BE49-F238E27FC236}">
                  <a16:creationId xmlns:a16="http://schemas.microsoft.com/office/drawing/2014/main" id="{D69881B7-EA00-43D1-8F47-15007C2CA14E}"/>
                </a:ext>
              </a:extLst>
            </p:cNvPr>
            <p:cNvSpPr>
              <a:spLocks/>
            </p:cNvSpPr>
            <p:nvPr/>
          </p:nvSpPr>
          <p:spPr bwMode="auto">
            <a:xfrm>
              <a:off x="422" y="885"/>
              <a:ext cx="266" cy="88"/>
            </a:xfrm>
            <a:custGeom>
              <a:avLst/>
              <a:gdLst>
                <a:gd name="T0" fmla="*/ 137 w 266"/>
                <a:gd name="T1" fmla="*/ 35 h 88"/>
                <a:gd name="T2" fmla="*/ 137 w 266"/>
                <a:gd name="T3" fmla="*/ 0 h 88"/>
                <a:gd name="T4" fmla="*/ 128 w 266"/>
                <a:gd name="T5" fmla="*/ 0 h 88"/>
                <a:gd name="T6" fmla="*/ 128 w 266"/>
                <a:gd name="T7" fmla="*/ 35 h 88"/>
                <a:gd name="T8" fmla="*/ 0 w 266"/>
                <a:gd name="T9" fmla="*/ 35 h 88"/>
                <a:gd name="T10" fmla="*/ 0 w 266"/>
                <a:gd name="T11" fmla="*/ 88 h 88"/>
                <a:gd name="T12" fmla="*/ 10 w 266"/>
                <a:gd name="T13" fmla="*/ 88 h 88"/>
                <a:gd name="T14" fmla="*/ 10 w 266"/>
                <a:gd name="T15" fmla="*/ 43 h 88"/>
                <a:gd name="T16" fmla="*/ 257 w 266"/>
                <a:gd name="T17" fmla="*/ 43 h 88"/>
                <a:gd name="T18" fmla="*/ 257 w 266"/>
                <a:gd name="T19" fmla="*/ 88 h 88"/>
                <a:gd name="T20" fmla="*/ 266 w 266"/>
                <a:gd name="T21" fmla="*/ 88 h 88"/>
                <a:gd name="T22" fmla="*/ 266 w 266"/>
                <a:gd name="T23" fmla="*/ 35 h 88"/>
                <a:gd name="T24" fmla="*/ 137 w 266"/>
                <a:gd name="T25"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88">
                  <a:moveTo>
                    <a:pt x="137" y="35"/>
                  </a:moveTo>
                  <a:lnTo>
                    <a:pt x="137" y="0"/>
                  </a:lnTo>
                  <a:lnTo>
                    <a:pt x="128" y="0"/>
                  </a:lnTo>
                  <a:lnTo>
                    <a:pt x="128" y="35"/>
                  </a:lnTo>
                  <a:lnTo>
                    <a:pt x="0" y="35"/>
                  </a:lnTo>
                  <a:lnTo>
                    <a:pt x="0" y="88"/>
                  </a:lnTo>
                  <a:lnTo>
                    <a:pt x="10" y="88"/>
                  </a:lnTo>
                  <a:lnTo>
                    <a:pt x="10" y="43"/>
                  </a:lnTo>
                  <a:lnTo>
                    <a:pt x="257" y="43"/>
                  </a:lnTo>
                  <a:lnTo>
                    <a:pt x="257" y="88"/>
                  </a:lnTo>
                  <a:lnTo>
                    <a:pt x="266" y="88"/>
                  </a:lnTo>
                  <a:lnTo>
                    <a:pt x="266" y="35"/>
                  </a:lnTo>
                  <a:lnTo>
                    <a:pt x="137" y="3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nvGrpSpPr>
          <p:cNvPr id="115" name="Graphic 185" descr="data, profit, cost savings">
            <a:extLst>
              <a:ext uri="{FF2B5EF4-FFF2-40B4-BE49-F238E27FC236}">
                <a16:creationId xmlns:a16="http://schemas.microsoft.com/office/drawing/2014/main" id="{283F12B4-FBF0-4BD4-A3ED-D7917575CA6E}"/>
              </a:ext>
            </a:extLst>
          </p:cNvPr>
          <p:cNvGrpSpPr>
            <a:grpSpLocks noChangeAspect="1"/>
          </p:cNvGrpSpPr>
          <p:nvPr/>
        </p:nvGrpSpPr>
        <p:grpSpPr>
          <a:xfrm>
            <a:off x="4402393" y="1495345"/>
            <a:ext cx="433572" cy="433569"/>
            <a:chOff x="2631995" y="3078480"/>
            <a:chExt cx="374920" cy="374918"/>
          </a:xfrm>
        </p:grpSpPr>
        <p:sp>
          <p:nvSpPr>
            <p:cNvPr id="116" name="Freeform: Shape 115">
              <a:extLst>
                <a:ext uri="{FF2B5EF4-FFF2-40B4-BE49-F238E27FC236}">
                  <a16:creationId xmlns:a16="http://schemas.microsoft.com/office/drawing/2014/main" id="{7709FE89-5541-4618-9F66-97D190671B19}"/>
                </a:ext>
              </a:extLst>
            </p:cNvPr>
            <p:cNvSpPr/>
            <p:nvPr/>
          </p:nvSpPr>
          <p:spPr>
            <a:xfrm>
              <a:off x="2947497" y="3371850"/>
              <a:ext cx="38652" cy="77303"/>
            </a:xfrm>
            <a:custGeom>
              <a:avLst/>
              <a:gdLst>
                <a:gd name="connsiteX0" fmla="*/ 1166 w 38651"/>
                <a:gd name="connsiteY0" fmla="*/ 79769 h 77302"/>
                <a:gd name="connsiteX1" fmla="*/ 39946 w 38651"/>
                <a:gd name="connsiteY1" fmla="*/ 79769 h 77302"/>
                <a:gd name="connsiteX2" fmla="*/ 39946 w 38651"/>
                <a:gd name="connsiteY2" fmla="*/ 1166 h 77302"/>
                <a:gd name="connsiteX3" fmla="*/ 1166 w 38651"/>
                <a:gd name="connsiteY3" fmla="*/ 1166 h 77302"/>
                <a:gd name="connsiteX4" fmla="*/ 1166 w 38651"/>
                <a:gd name="connsiteY4" fmla="*/ 79769 h 77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77302">
                  <a:moveTo>
                    <a:pt x="1166" y="79769"/>
                  </a:moveTo>
                  <a:lnTo>
                    <a:pt x="39946" y="79769"/>
                  </a:lnTo>
                  <a:lnTo>
                    <a:pt x="39946" y="1166"/>
                  </a:lnTo>
                  <a:lnTo>
                    <a:pt x="1166" y="1166"/>
                  </a:lnTo>
                  <a:lnTo>
                    <a:pt x="1166" y="79769"/>
                  </a:lnTo>
                  <a:close/>
                </a:path>
              </a:pathLst>
            </a:custGeom>
            <a:solidFill>
              <a:srgbClr val="0078D4"/>
            </a:solidFill>
            <a:ln w="3830"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7" name="Freeform: Shape 116">
              <a:extLst>
                <a:ext uri="{FF2B5EF4-FFF2-40B4-BE49-F238E27FC236}">
                  <a16:creationId xmlns:a16="http://schemas.microsoft.com/office/drawing/2014/main" id="{1157F113-1915-4905-AAF7-B0EF81058B6C}"/>
                </a:ext>
              </a:extLst>
            </p:cNvPr>
            <p:cNvSpPr/>
            <p:nvPr/>
          </p:nvSpPr>
          <p:spPr>
            <a:xfrm>
              <a:off x="2868955" y="3333395"/>
              <a:ext cx="38652" cy="115954"/>
            </a:xfrm>
            <a:custGeom>
              <a:avLst/>
              <a:gdLst>
                <a:gd name="connsiteX0" fmla="*/ 1166 w 38651"/>
                <a:gd name="connsiteY0" fmla="*/ 118223 h 115954"/>
                <a:gd name="connsiteX1" fmla="*/ 39946 w 38651"/>
                <a:gd name="connsiteY1" fmla="*/ 118223 h 115954"/>
                <a:gd name="connsiteX2" fmla="*/ 39946 w 38651"/>
                <a:gd name="connsiteY2" fmla="*/ 1166 h 115954"/>
                <a:gd name="connsiteX3" fmla="*/ 1166 w 38651"/>
                <a:gd name="connsiteY3" fmla="*/ 1166 h 115954"/>
                <a:gd name="connsiteX4" fmla="*/ 1166 w 38651"/>
                <a:gd name="connsiteY4" fmla="*/ 118223 h 115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15954">
                  <a:moveTo>
                    <a:pt x="1166" y="118223"/>
                  </a:moveTo>
                  <a:lnTo>
                    <a:pt x="39946" y="118223"/>
                  </a:lnTo>
                  <a:lnTo>
                    <a:pt x="39946" y="1166"/>
                  </a:lnTo>
                  <a:lnTo>
                    <a:pt x="1166" y="1166"/>
                  </a:lnTo>
                  <a:lnTo>
                    <a:pt x="1166" y="118223"/>
                  </a:lnTo>
                  <a:close/>
                </a:path>
              </a:pathLst>
            </a:custGeom>
            <a:solidFill>
              <a:srgbClr val="0078D4"/>
            </a:solidFill>
            <a:ln w="3830"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8" name="Freeform: Shape 117">
              <a:extLst>
                <a:ext uri="{FF2B5EF4-FFF2-40B4-BE49-F238E27FC236}">
                  <a16:creationId xmlns:a16="http://schemas.microsoft.com/office/drawing/2014/main" id="{22AF7008-DB46-4E15-89AF-92305FB3663F}"/>
                </a:ext>
              </a:extLst>
            </p:cNvPr>
            <p:cNvSpPr/>
            <p:nvPr/>
          </p:nvSpPr>
          <p:spPr>
            <a:xfrm>
              <a:off x="2713119" y="3157093"/>
              <a:ext cx="38652" cy="293750"/>
            </a:xfrm>
            <a:custGeom>
              <a:avLst/>
              <a:gdLst>
                <a:gd name="connsiteX0" fmla="*/ 1166 w 38651"/>
                <a:gd name="connsiteY0" fmla="*/ 294527 h 293750"/>
                <a:gd name="connsiteX1" fmla="*/ 39946 w 38651"/>
                <a:gd name="connsiteY1" fmla="*/ 294527 h 293750"/>
                <a:gd name="connsiteX2" fmla="*/ 39946 w 38651"/>
                <a:gd name="connsiteY2" fmla="*/ 1166 h 293750"/>
                <a:gd name="connsiteX3" fmla="*/ 1166 w 38651"/>
                <a:gd name="connsiteY3" fmla="*/ 1166 h 293750"/>
                <a:gd name="connsiteX4" fmla="*/ 1166 w 38651"/>
                <a:gd name="connsiteY4" fmla="*/ 294527 h 2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293750">
                  <a:moveTo>
                    <a:pt x="1166" y="294527"/>
                  </a:moveTo>
                  <a:lnTo>
                    <a:pt x="39946" y="294527"/>
                  </a:lnTo>
                  <a:lnTo>
                    <a:pt x="39946" y="1166"/>
                  </a:lnTo>
                  <a:lnTo>
                    <a:pt x="1166" y="1166"/>
                  </a:lnTo>
                  <a:lnTo>
                    <a:pt x="1166" y="294527"/>
                  </a:lnTo>
                  <a:close/>
                </a:path>
              </a:pathLst>
            </a:custGeom>
            <a:solidFill>
              <a:srgbClr val="0078D4"/>
            </a:solidFill>
            <a:ln w="3830"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9" name="Freeform: Shape 118">
              <a:extLst>
                <a:ext uri="{FF2B5EF4-FFF2-40B4-BE49-F238E27FC236}">
                  <a16:creationId xmlns:a16="http://schemas.microsoft.com/office/drawing/2014/main" id="{1393A5A3-A129-42E7-AB43-1325DD27DDF4}"/>
                </a:ext>
              </a:extLst>
            </p:cNvPr>
            <p:cNvSpPr/>
            <p:nvPr/>
          </p:nvSpPr>
          <p:spPr>
            <a:xfrm>
              <a:off x="2791720" y="3254854"/>
              <a:ext cx="38652" cy="197122"/>
            </a:xfrm>
            <a:custGeom>
              <a:avLst/>
              <a:gdLst>
                <a:gd name="connsiteX0" fmla="*/ 1166 w 38651"/>
                <a:gd name="connsiteY0" fmla="*/ 196762 h 197121"/>
                <a:gd name="connsiteX1" fmla="*/ 39946 w 38651"/>
                <a:gd name="connsiteY1" fmla="*/ 196762 h 197121"/>
                <a:gd name="connsiteX2" fmla="*/ 39946 w 38651"/>
                <a:gd name="connsiteY2" fmla="*/ 1166 h 197121"/>
                <a:gd name="connsiteX3" fmla="*/ 1166 w 38651"/>
                <a:gd name="connsiteY3" fmla="*/ 1166 h 197121"/>
                <a:gd name="connsiteX4" fmla="*/ 1166 w 38651"/>
                <a:gd name="connsiteY4" fmla="*/ 196762 h 19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97121">
                  <a:moveTo>
                    <a:pt x="1166" y="196762"/>
                  </a:moveTo>
                  <a:lnTo>
                    <a:pt x="39946" y="196762"/>
                  </a:lnTo>
                  <a:lnTo>
                    <a:pt x="39946" y="1166"/>
                  </a:lnTo>
                  <a:lnTo>
                    <a:pt x="1166" y="1166"/>
                  </a:lnTo>
                  <a:lnTo>
                    <a:pt x="1166" y="196762"/>
                  </a:lnTo>
                  <a:close/>
                </a:path>
              </a:pathLst>
            </a:custGeom>
            <a:solidFill>
              <a:srgbClr val="0078D4"/>
            </a:solidFill>
            <a:ln w="3830"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0" name="Freeform: Shape 119">
              <a:extLst>
                <a:ext uri="{FF2B5EF4-FFF2-40B4-BE49-F238E27FC236}">
                  <a16:creationId xmlns:a16="http://schemas.microsoft.com/office/drawing/2014/main" id="{B8A391C2-BF18-4216-93C4-32C7B59E81A3}"/>
                </a:ext>
              </a:extLst>
            </p:cNvPr>
            <p:cNvSpPr/>
            <p:nvPr/>
          </p:nvSpPr>
          <p:spPr>
            <a:xfrm>
              <a:off x="2634513" y="3079730"/>
              <a:ext cx="38652" cy="371053"/>
            </a:xfrm>
            <a:custGeom>
              <a:avLst/>
              <a:gdLst>
                <a:gd name="connsiteX0" fmla="*/ 1166 w 38651"/>
                <a:gd name="connsiteY0" fmla="*/ 371893 h 371052"/>
                <a:gd name="connsiteX1" fmla="*/ 40142 w 38651"/>
                <a:gd name="connsiteY1" fmla="*/ 371893 h 371052"/>
                <a:gd name="connsiteX2" fmla="*/ 40142 w 38651"/>
                <a:gd name="connsiteY2" fmla="*/ 1166 h 371052"/>
                <a:gd name="connsiteX3" fmla="*/ 1166 w 38651"/>
                <a:gd name="connsiteY3" fmla="*/ 1166 h 371052"/>
                <a:gd name="connsiteX4" fmla="*/ 1166 w 38651"/>
                <a:gd name="connsiteY4" fmla="*/ 371893 h 371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371052">
                  <a:moveTo>
                    <a:pt x="1166" y="371893"/>
                  </a:moveTo>
                  <a:lnTo>
                    <a:pt x="40142" y="371893"/>
                  </a:lnTo>
                  <a:lnTo>
                    <a:pt x="40142" y="1166"/>
                  </a:lnTo>
                  <a:lnTo>
                    <a:pt x="1166" y="1166"/>
                  </a:lnTo>
                  <a:lnTo>
                    <a:pt x="1166" y="371893"/>
                  </a:lnTo>
                  <a:close/>
                </a:path>
              </a:pathLst>
            </a:custGeom>
            <a:solidFill>
              <a:srgbClr val="0078D4"/>
            </a:solidFill>
            <a:ln w="3830"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1" name="Freeform: Shape 120">
              <a:extLst>
                <a:ext uri="{FF2B5EF4-FFF2-40B4-BE49-F238E27FC236}">
                  <a16:creationId xmlns:a16="http://schemas.microsoft.com/office/drawing/2014/main" id="{7AC27FA7-5C49-4867-98B3-16824F0BF1A8}"/>
                </a:ext>
              </a:extLst>
            </p:cNvPr>
            <p:cNvSpPr/>
            <p:nvPr/>
          </p:nvSpPr>
          <p:spPr>
            <a:xfrm>
              <a:off x="2890399" y="3079730"/>
              <a:ext cx="88899" cy="177796"/>
            </a:xfrm>
            <a:custGeom>
              <a:avLst/>
              <a:gdLst>
                <a:gd name="connsiteX0" fmla="*/ 66148 w 88898"/>
                <a:gd name="connsiteY0" fmla="*/ 119136 h 177796"/>
                <a:gd name="connsiteX1" fmla="*/ 52721 w 88898"/>
                <a:gd name="connsiteY1" fmla="*/ 104145 h 177796"/>
                <a:gd name="connsiteX2" fmla="*/ 52721 w 88898"/>
                <a:gd name="connsiteY2" fmla="*/ 132562 h 177796"/>
                <a:gd name="connsiteX3" fmla="*/ 66148 w 88898"/>
                <a:gd name="connsiteY3" fmla="*/ 119136 h 177796"/>
                <a:gd name="connsiteX4" fmla="*/ 39034 w 88898"/>
                <a:gd name="connsiteY4" fmla="*/ 72404 h 177796"/>
                <a:gd name="connsiteX5" fmla="*/ 39034 w 88898"/>
                <a:gd name="connsiteY5" fmla="*/ 42683 h 177796"/>
                <a:gd name="connsiteX6" fmla="*/ 25998 w 88898"/>
                <a:gd name="connsiteY6" fmla="*/ 56305 h 177796"/>
                <a:gd name="connsiteX7" fmla="*/ 39034 w 88898"/>
                <a:gd name="connsiteY7" fmla="*/ 72404 h 177796"/>
                <a:gd name="connsiteX8" fmla="*/ 91110 w 88898"/>
                <a:gd name="connsiteY8" fmla="*/ 117832 h 177796"/>
                <a:gd name="connsiteX9" fmla="*/ 81334 w 88898"/>
                <a:gd name="connsiteY9" fmla="*/ 142861 h 177796"/>
                <a:gd name="connsiteX10" fmla="*/ 52786 w 88898"/>
                <a:gd name="connsiteY10" fmla="*/ 154462 h 177796"/>
                <a:gd name="connsiteX11" fmla="*/ 52786 w 88898"/>
                <a:gd name="connsiteY11" fmla="*/ 176752 h 177796"/>
                <a:gd name="connsiteX12" fmla="*/ 39099 w 88898"/>
                <a:gd name="connsiteY12" fmla="*/ 176752 h 177796"/>
                <a:gd name="connsiteX13" fmla="*/ 39099 w 88898"/>
                <a:gd name="connsiteY13" fmla="*/ 155048 h 177796"/>
                <a:gd name="connsiteX14" fmla="*/ 3642 w 88898"/>
                <a:gd name="connsiteY14" fmla="*/ 146445 h 177796"/>
                <a:gd name="connsiteX15" fmla="*/ 3642 w 88898"/>
                <a:gd name="connsiteY15" fmla="*/ 120439 h 177796"/>
                <a:gd name="connsiteX16" fmla="*/ 19806 w 88898"/>
                <a:gd name="connsiteY16" fmla="*/ 128456 h 177796"/>
                <a:gd name="connsiteX17" fmla="*/ 39099 w 88898"/>
                <a:gd name="connsiteY17" fmla="*/ 132889 h 177796"/>
                <a:gd name="connsiteX18" fmla="*/ 39099 w 88898"/>
                <a:gd name="connsiteY18" fmla="*/ 98735 h 177796"/>
                <a:gd name="connsiteX19" fmla="*/ 9769 w 88898"/>
                <a:gd name="connsiteY19" fmla="*/ 81920 h 177796"/>
                <a:gd name="connsiteX20" fmla="*/ 1166 w 88898"/>
                <a:gd name="connsiteY20" fmla="*/ 57869 h 177796"/>
                <a:gd name="connsiteX21" fmla="*/ 11790 w 88898"/>
                <a:gd name="connsiteY21" fmla="*/ 32711 h 177796"/>
                <a:gd name="connsiteX22" fmla="*/ 39164 w 88898"/>
                <a:gd name="connsiteY22" fmla="*/ 20784 h 177796"/>
                <a:gd name="connsiteX23" fmla="*/ 39164 w 88898"/>
                <a:gd name="connsiteY23" fmla="*/ 1166 h 177796"/>
                <a:gd name="connsiteX24" fmla="*/ 52852 w 88898"/>
                <a:gd name="connsiteY24" fmla="*/ 1166 h 177796"/>
                <a:gd name="connsiteX25" fmla="*/ 52852 w 88898"/>
                <a:gd name="connsiteY25" fmla="*/ 20393 h 177796"/>
                <a:gd name="connsiteX26" fmla="*/ 82377 w 88898"/>
                <a:gd name="connsiteY26" fmla="*/ 26780 h 177796"/>
                <a:gd name="connsiteX27" fmla="*/ 82377 w 88898"/>
                <a:gd name="connsiteY27" fmla="*/ 52069 h 177796"/>
                <a:gd name="connsiteX28" fmla="*/ 52852 w 88898"/>
                <a:gd name="connsiteY28" fmla="*/ 42292 h 177796"/>
                <a:gd name="connsiteX29" fmla="*/ 52852 w 88898"/>
                <a:gd name="connsiteY29" fmla="*/ 77814 h 177796"/>
                <a:gd name="connsiteX30" fmla="*/ 82377 w 88898"/>
                <a:gd name="connsiteY30" fmla="*/ 94694 h 177796"/>
                <a:gd name="connsiteX31" fmla="*/ 91110 w 88898"/>
                <a:gd name="connsiteY31" fmla="*/ 117832 h 17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898" h="177796">
                  <a:moveTo>
                    <a:pt x="66148" y="119136"/>
                  </a:moveTo>
                  <a:cubicBezTo>
                    <a:pt x="66148" y="113075"/>
                    <a:pt x="61650" y="108056"/>
                    <a:pt x="52721" y="104145"/>
                  </a:cubicBezTo>
                  <a:lnTo>
                    <a:pt x="52721" y="132562"/>
                  </a:lnTo>
                  <a:cubicBezTo>
                    <a:pt x="61716" y="131129"/>
                    <a:pt x="66148" y="126631"/>
                    <a:pt x="66148" y="119136"/>
                  </a:cubicBezTo>
                  <a:close/>
                  <a:moveTo>
                    <a:pt x="39034" y="72404"/>
                  </a:moveTo>
                  <a:lnTo>
                    <a:pt x="39034" y="42683"/>
                  </a:lnTo>
                  <a:cubicBezTo>
                    <a:pt x="30365" y="44247"/>
                    <a:pt x="25998" y="48745"/>
                    <a:pt x="25998" y="56305"/>
                  </a:cubicBezTo>
                  <a:cubicBezTo>
                    <a:pt x="25998" y="62888"/>
                    <a:pt x="30365" y="68233"/>
                    <a:pt x="39034" y="72404"/>
                  </a:cubicBezTo>
                  <a:close/>
                  <a:moveTo>
                    <a:pt x="91110" y="117832"/>
                  </a:moveTo>
                  <a:cubicBezTo>
                    <a:pt x="91110" y="128195"/>
                    <a:pt x="87852" y="136538"/>
                    <a:pt x="81334" y="142861"/>
                  </a:cubicBezTo>
                  <a:cubicBezTo>
                    <a:pt x="74816" y="149182"/>
                    <a:pt x="65300" y="153028"/>
                    <a:pt x="52786" y="154462"/>
                  </a:cubicBezTo>
                  <a:lnTo>
                    <a:pt x="52786" y="176752"/>
                  </a:lnTo>
                  <a:lnTo>
                    <a:pt x="39099" y="176752"/>
                  </a:lnTo>
                  <a:lnTo>
                    <a:pt x="39099" y="155048"/>
                  </a:lnTo>
                  <a:cubicBezTo>
                    <a:pt x="26194" y="154918"/>
                    <a:pt x="14397" y="152050"/>
                    <a:pt x="3642" y="146445"/>
                  </a:cubicBezTo>
                  <a:lnTo>
                    <a:pt x="3642" y="120439"/>
                  </a:lnTo>
                  <a:cubicBezTo>
                    <a:pt x="7032" y="123177"/>
                    <a:pt x="12441" y="125849"/>
                    <a:pt x="19806" y="128456"/>
                  </a:cubicBezTo>
                  <a:cubicBezTo>
                    <a:pt x="27237" y="131063"/>
                    <a:pt x="33624" y="132562"/>
                    <a:pt x="39099" y="132889"/>
                  </a:cubicBezTo>
                  <a:lnTo>
                    <a:pt x="39099" y="98735"/>
                  </a:lnTo>
                  <a:cubicBezTo>
                    <a:pt x="25281" y="93587"/>
                    <a:pt x="15505" y="87981"/>
                    <a:pt x="9769" y="81920"/>
                  </a:cubicBezTo>
                  <a:cubicBezTo>
                    <a:pt x="4033" y="75793"/>
                    <a:pt x="1166" y="67776"/>
                    <a:pt x="1166" y="57869"/>
                  </a:cubicBezTo>
                  <a:cubicBezTo>
                    <a:pt x="1166" y="47963"/>
                    <a:pt x="4685" y="39555"/>
                    <a:pt x="11790" y="32711"/>
                  </a:cubicBezTo>
                  <a:cubicBezTo>
                    <a:pt x="18829" y="25868"/>
                    <a:pt x="27954" y="21892"/>
                    <a:pt x="39164" y="20784"/>
                  </a:cubicBezTo>
                  <a:lnTo>
                    <a:pt x="39164" y="1166"/>
                  </a:lnTo>
                  <a:lnTo>
                    <a:pt x="52852" y="1166"/>
                  </a:lnTo>
                  <a:lnTo>
                    <a:pt x="52852" y="20393"/>
                  </a:lnTo>
                  <a:cubicBezTo>
                    <a:pt x="66017" y="21045"/>
                    <a:pt x="75859" y="23130"/>
                    <a:pt x="82377" y="26780"/>
                  </a:cubicBezTo>
                  <a:lnTo>
                    <a:pt x="82377" y="52069"/>
                  </a:lnTo>
                  <a:cubicBezTo>
                    <a:pt x="73708" y="46790"/>
                    <a:pt x="63866" y="43596"/>
                    <a:pt x="52852" y="42292"/>
                  </a:cubicBezTo>
                  <a:lnTo>
                    <a:pt x="52852" y="77814"/>
                  </a:lnTo>
                  <a:cubicBezTo>
                    <a:pt x="66669" y="82832"/>
                    <a:pt x="76511" y="88438"/>
                    <a:pt x="82377" y="94694"/>
                  </a:cubicBezTo>
                  <a:cubicBezTo>
                    <a:pt x="88178" y="101017"/>
                    <a:pt x="91110" y="108707"/>
                    <a:pt x="91110" y="117832"/>
                  </a:cubicBezTo>
                  <a:close/>
                </a:path>
              </a:pathLst>
            </a:custGeom>
            <a:solidFill>
              <a:srgbClr val="50E6FF"/>
            </a:solidFill>
            <a:ln w="3830"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sp>
        <p:nvSpPr>
          <p:cNvPr id="122" name="Rectangle 121">
            <a:extLst>
              <a:ext uri="{FF2B5EF4-FFF2-40B4-BE49-F238E27FC236}">
                <a16:creationId xmlns:a16="http://schemas.microsoft.com/office/drawing/2014/main" id="{ACDBF215-2101-472D-B04B-A62C0F4CABA8}"/>
              </a:ext>
            </a:extLst>
          </p:cNvPr>
          <p:cNvSpPr/>
          <p:nvPr/>
        </p:nvSpPr>
        <p:spPr>
          <a:xfrm>
            <a:off x="1027039" y="5435645"/>
            <a:ext cx="4544617" cy="606488"/>
          </a:xfrm>
          <a:prstGeom prst="rect">
            <a:avLst/>
          </a:prstGeom>
        </p:spPr>
        <p:txBody>
          <a:bodyPr wrap="square">
            <a:spAutoFit/>
          </a:bodyPr>
          <a:lstStyle/>
          <a:p>
            <a:pPr defTabSz="932597">
              <a:defRPr/>
            </a:pPr>
            <a:r>
              <a:rPr lang="en-US" sz="1632" b="1">
                <a:solidFill>
                  <a:srgbClr val="002050"/>
                </a:solidFill>
                <a:latin typeface="Segoe UI Light"/>
              </a:rPr>
              <a:t>Best for </a:t>
            </a:r>
            <a:r>
              <a:rPr lang="en-US" sz="1632">
                <a:solidFill>
                  <a:srgbClr val="002050"/>
                </a:solidFill>
                <a:latin typeface="Segoe UI Light"/>
              </a:rPr>
              <a:t>unpredictable and intermittent workloads on </a:t>
            </a:r>
            <a:r>
              <a:rPr lang="en-US" sz="1632" b="1">
                <a:solidFill>
                  <a:srgbClr val="002050"/>
                </a:solidFill>
                <a:latin typeface="Segoe UI Light"/>
              </a:rPr>
              <a:t>single databases, such as:</a:t>
            </a:r>
          </a:p>
        </p:txBody>
      </p:sp>
      <p:grpSp>
        <p:nvGrpSpPr>
          <p:cNvPr id="3" name="Group 2">
            <a:extLst>
              <a:ext uri="{FF2B5EF4-FFF2-40B4-BE49-F238E27FC236}">
                <a16:creationId xmlns:a16="http://schemas.microsoft.com/office/drawing/2014/main" id="{ABF575BB-EC5B-4DF4-BD55-C3DB5150B2B6}"/>
              </a:ext>
            </a:extLst>
          </p:cNvPr>
          <p:cNvGrpSpPr/>
          <p:nvPr/>
        </p:nvGrpSpPr>
        <p:grpSpPr>
          <a:xfrm>
            <a:off x="5735989" y="5397274"/>
            <a:ext cx="908825" cy="836654"/>
            <a:chOff x="5735989" y="5370114"/>
            <a:chExt cx="908825" cy="836654"/>
          </a:xfrm>
        </p:grpSpPr>
        <p:grpSp>
          <p:nvGrpSpPr>
            <p:cNvPr id="123" name="Group 122">
              <a:extLst>
                <a:ext uri="{FF2B5EF4-FFF2-40B4-BE49-F238E27FC236}">
                  <a16:creationId xmlns:a16="http://schemas.microsoft.com/office/drawing/2014/main" id="{DA608B19-6265-4122-AD2A-AD6895FF6905}"/>
                </a:ext>
              </a:extLst>
            </p:cNvPr>
            <p:cNvGrpSpPr/>
            <p:nvPr/>
          </p:nvGrpSpPr>
          <p:grpSpPr>
            <a:xfrm>
              <a:off x="5867267" y="5370114"/>
              <a:ext cx="653499" cy="653499"/>
              <a:chOff x="7298836" y="5485888"/>
              <a:chExt cx="704850" cy="704850"/>
            </a:xfrm>
          </p:grpSpPr>
          <p:sp>
            <p:nvSpPr>
              <p:cNvPr id="124" name="Rectangle 123">
                <a:extLst>
                  <a:ext uri="{FF2B5EF4-FFF2-40B4-BE49-F238E27FC236}">
                    <a16:creationId xmlns:a16="http://schemas.microsoft.com/office/drawing/2014/main" id="{0C7953E6-096F-4D93-B30B-566329255106}"/>
                  </a:ext>
                </a:extLst>
              </p:cNvPr>
              <p:cNvSpPr/>
              <p:nvPr/>
            </p:nvSpPr>
            <p:spPr bwMode="auto">
              <a:xfrm>
                <a:off x="7298836" y="5485888"/>
                <a:ext cx="704850" cy="7048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5" name="Graphic 116" descr="trial, testing, development">
                <a:extLst>
                  <a:ext uri="{FF2B5EF4-FFF2-40B4-BE49-F238E27FC236}">
                    <a16:creationId xmlns:a16="http://schemas.microsoft.com/office/drawing/2014/main" id="{CD7DE1BA-F7A9-424D-9CF1-93AFF7CE99FD}"/>
                  </a:ext>
                </a:extLst>
              </p:cNvPr>
              <p:cNvGrpSpPr/>
              <p:nvPr/>
            </p:nvGrpSpPr>
            <p:grpSpPr>
              <a:xfrm>
                <a:off x="7440033" y="5671261"/>
                <a:ext cx="416288" cy="329645"/>
                <a:chOff x="11039341" y="4833217"/>
                <a:chExt cx="416288" cy="329645"/>
              </a:xfrm>
            </p:grpSpPr>
            <p:sp>
              <p:nvSpPr>
                <p:cNvPr id="126" name="Freeform: Shape 125">
                  <a:extLst>
                    <a:ext uri="{FF2B5EF4-FFF2-40B4-BE49-F238E27FC236}">
                      <a16:creationId xmlns:a16="http://schemas.microsoft.com/office/drawing/2014/main" id="{1906707F-B641-4440-A4EF-8F607F72C611}"/>
                    </a:ext>
                  </a:extLst>
                </p:cNvPr>
                <p:cNvSpPr/>
                <p:nvPr/>
              </p:nvSpPr>
              <p:spPr>
                <a:xfrm>
                  <a:off x="11039341" y="4841974"/>
                  <a:ext cx="416288" cy="320888"/>
                </a:xfrm>
                <a:custGeom>
                  <a:avLst/>
                  <a:gdLst>
                    <a:gd name="connsiteX0" fmla="*/ 1475 w 416287"/>
                    <a:gd name="connsiteY0" fmla="*/ 322017 h 320888"/>
                    <a:gd name="connsiteX1" fmla="*/ 417763 w 416287"/>
                    <a:gd name="connsiteY1" fmla="*/ 322017 h 320888"/>
                    <a:gd name="connsiteX2" fmla="*/ 417763 w 416287"/>
                    <a:gd name="connsiteY2" fmla="*/ 1475 h 320888"/>
                    <a:gd name="connsiteX3" fmla="*/ 1475 w 416287"/>
                    <a:gd name="connsiteY3" fmla="*/ 1475 h 320888"/>
                    <a:gd name="connsiteX4" fmla="*/ 1475 w 416287"/>
                    <a:gd name="connsiteY4" fmla="*/ 322017 h 32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87" h="320888">
                      <a:moveTo>
                        <a:pt x="1475" y="322017"/>
                      </a:moveTo>
                      <a:lnTo>
                        <a:pt x="417763" y="322017"/>
                      </a:lnTo>
                      <a:lnTo>
                        <a:pt x="417763" y="1475"/>
                      </a:lnTo>
                      <a:lnTo>
                        <a:pt x="1475" y="1475"/>
                      </a:lnTo>
                      <a:lnTo>
                        <a:pt x="1475" y="322017"/>
                      </a:lnTo>
                      <a:close/>
                    </a:path>
                  </a:pathLst>
                </a:custGeom>
                <a:solidFill>
                  <a:srgbClr val="0078D4"/>
                </a:solidFill>
                <a:ln w="4321"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27" name="Freeform: Shape 126">
                  <a:extLst>
                    <a:ext uri="{FF2B5EF4-FFF2-40B4-BE49-F238E27FC236}">
                      <a16:creationId xmlns:a16="http://schemas.microsoft.com/office/drawing/2014/main" id="{2FAF3250-1D39-4F11-902D-9075D284C571}"/>
                    </a:ext>
                  </a:extLst>
                </p:cNvPr>
                <p:cNvSpPr/>
                <p:nvPr/>
              </p:nvSpPr>
              <p:spPr>
                <a:xfrm>
                  <a:off x="11039341" y="4833217"/>
                  <a:ext cx="416288" cy="43363"/>
                </a:xfrm>
                <a:custGeom>
                  <a:avLst/>
                  <a:gdLst>
                    <a:gd name="connsiteX0" fmla="*/ 1475 w 416287"/>
                    <a:gd name="connsiteY0" fmla="*/ 44857 h 43363"/>
                    <a:gd name="connsiteX1" fmla="*/ 417617 w 416287"/>
                    <a:gd name="connsiteY1" fmla="*/ 44857 h 43363"/>
                    <a:gd name="connsiteX2" fmla="*/ 417617 w 416287"/>
                    <a:gd name="connsiteY2" fmla="*/ 1475 h 43363"/>
                    <a:gd name="connsiteX3" fmla="*/ 1475 w 416287"/>
                    <a:gd name="connsiteY3" fmla="*/ 1475 h 43363"/>
                    <a:gd name="connsiteX4" fmla="*/ 1475 w 416287"/>
                    <a:gd name="connsiteY4" fmla="*/ 44857 h 43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87" h="43363">
                      <a:moveTo>
                        <a:pt x="1475" y="44857"/>
                      </a:moveTo>
                      <a:lnTo>
                        <a:pt x="417617" y="44857"/>
                      </a:lnTo>
                      <a:lnTo>
                        <a:pt x="417617" y="1475"/>
                      </a:lnTo>
                      <a:lnTo>
                        <a:pt x="1475" y="1475"/>
                      </a:lnTo>
                      <a:lnTo>
                        <a:pt x="1475" y="44857"/>
                      </a:lnTo>
                      <a:close/>
                    </a:path>
                  </a:pathLst>
                </a:custGeom>
                <a:solidFill>
                  <a:srgbClr val="50E6FF"/>
                </a:solidFill>
                <a:ln w="4321"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28" name="Freeform: Shape 127">
                  <a:extLst>
                    <a:ext uri="{FF2B5EF4-FFF2-40B4-BE49-F238E27FC236}">
                      <a16:creationId xmlns:a16="http://schemas.microsoft.com/office/drawing/2014/main" id="{63CA2CA6-0A4A-4AAA-BE35-A5388FE6D08E}"/>
                    </a:ext>
                  </a:extLst>
                </p:cNvPr>
                <p:cNvSpPr/>
                <p:nvPr/>
              </p:nvSpPr>
              <p:spPr>
                <a:xfrm>
                  <a:off x="11093604" y="4845193"/>
                  <a:ext cx="21682" cy="21682"/>
                </a:xfrm>
                <a:custGeom>
                  <a:avLst/>
                  <a:gdLst>
                    <a:gd name="connsiteX0" fmla="*/ 12065 w 21681"/>
                    <a:gd name="connsiteY0" fmla="*/ 22655 h 21681"/>
                    <a:gd name="connsiteX1" fmla="*/ 22655 w 21681"/>
                    <a:gd name="connsiteY1" fmla="*/ 12065 h 21681"/>
                    <a:gd name="connsiteX2" fmla="*/ 12065 w 21681"/>
                    <a:gd name="connsiteY2" fmla="*/ 1475 h 21681"/>
                    <a:gd name="connsiteX3" fmla="*/ 1475 w 21681"/>
                    <a:gd name="connsiteY3" fmla="*/ 12065 h 21681"/>
                    <a:gd name="connsiteX4" fmla="*/ 12065 w 21681"/>
                    <a:gd name="connsiteY4" fmla="*/ 22655 h 21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1" h="21681">
                      <a:moveTo>
                        <a:pt x="12065" y="22655"/>
                      </a:moveTo>
                      <a:cubicBezTo>
                        <a:pt x="17913" y="22655"/>
                        <a:pt x="22655" y="17914"/>
                        <a:pt x="22655" y="12065"/>
                      </a:cubicBezTo>
                      <a:cubicBezTo>
                        <a:pt x="22655" y="6217"/>
                        <a:pt x="17913" y="1475"/>
                        <a:pt x="12065" y="1475"/>
                      </a:cubicBezTo>
                      <a:cubicBezTo>
                        <a:pt x="6216" y="1475"/>
                        <a:pt x="1475" y="6217"/>
                        <a:pt x="1475" y="12065"/>
                      </a:cubicBezTo>
                      <a:cubicBezTo>
                        <a:pt x="1475" y="17914"/>
                        <a:pt x="6216" y="22655"/>
                        <a:pt x="12065" y="22655"/>
                      </a:cubicBezTo>
                      <a:close/>
                    </a:path>
                  </a:pathLst>
                </a:custGeom>
                <a:solidFill>
                  <a:srgbClr val="FFFFFF"/>
                </a:solidFill>
                <a:ln w="4321"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29" name="Freeform: Shape 128">
                  <a:extLst>
                    <a:ext uri="{FF2B5EF4-FFF2-40B4-BE49-F238E27FC236}">
                      <a16:creationId xmlns:a16="http://schemas.microsoft.com/office/drawing/2014/main" id="{4D815084-E001-412C-A90D-092E0EEE321F}"/>
                    </a:ext>
                  </a:extLst>
                </p:cNvPr>
                <p:cNvSpPr/>
                <p:nvPr/>
              </p:nvSpPr>
              <p:spPr>
                <a:xfrm>
                  <a:off x="11060739" y="4845193"/>
                  <a:ext cx="21682" cy="21682"/>
                </a:xfrm>
                <a:custGeom>
                  <a:avLst/>
                  <a:gdLst>
                    <a:gd name="connsiteX0" fmla="*/ 12065 w 21681"/>
                    <a:gd name="connsiteY0" fmla="*/ 22655 h 21681"/>
                    <a:gd name="connsiteX1" fmla="*/ 22655 w 21681"/>
                    <a:gd name="connsiteY1" fmla="*/ 12065 h 21681"/>
                    <a:gd name="connsiteX2" fmla="*/ 12065 w 21681"/>
                    <a:gd name="connsiteY2" fmla="*/ 1475 h 21681"/>
                    <a:gd name="connsiteX3" fmla="*/ 1475 w 21681"/>
                    <a:gd name="connsiteY3" fmla="*/ 12065 h 21681"/>
                    <a:gd name="connsiteX4" fmla="*/ 12065 w 21681"/>
                    <a:gd name="connsiteY4" fmla="*/ 22655 h 21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1" h="21681">
                      <a:moveTo>
                        <a:pt x="12065" y="22655"/>
                      </a:moveTo>
                      <a:cubicBezTo>
                        <a:pt x="17914" y="22655"/>
                        <a:pt x="22655" y="17914"/>
                        <a:pt x="22655" y="12065"/>
                      </a:cubicBezTo>
                      <a:cubicBezTo>
                        <a:pt x="22655" y="6217"/>
                        <a:pt x="17914" y="1475"/>
                        <a:pt x="12065" y="1475"/>
                      </a:cubicBezTo>
                      <a:cubicBezTo>
                        <a:pt x="6216" y="1475"/>
                        <a:pt x="1475" y="6217"/>
                        <a:pt x="1475" y="12065"/>
                      </a:cubicBezTo>
                      <a:cubicBezTo>
                        <a:pt x="1475" y="17914"/>
                        <a:pt x="6216" y="22655"/>
                        <a:pt x="12065" y="22655"/>
                      </a:cubicBezTo>
                      <a:close/>
                    </a:path>
                  </a:pathLst>
                </a:custGeom>
                <a:solidFill>
                  <a:srgbClr val="FFFFFF"/>
                </a:solidFill>
                <a:ln w="4321"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30" name="Freeform: Shape 129">
                  <a:extLst>
                    <a:ext uri="{FF2B5EF4-FFF2-40B4-BE49-F238E27FC236}">
                      <a16:creationId xmlns:a16="http://schemas.microsoft.com/office/drawing/2014/main" id="{72A3FDA2-EBBD-4F56-B9F5-BB9152414D3A}"/>
                    </a:ext>
                  </a:extLst>
                </p:cNvPr>
                <p:cNvSpPr/>
                <p:nvPr/>
              </p:nvSpPr>
              <p:spPr>
                <a:xfrm>
                  <a:off x="11127198" y="4845193"/>
                  <a:ext cx="21682" cy="21682"/>
                </a:xfrm>
                <a:custGeom>
                  <a:avLst/>
                  <a:gdLst>
                    <a:gd name="connsiteX0" fmla="*/ 12065 w 21681"/>
                    <a:gd name="connsiteY0" fmla="*/ 22655 h 21681"/>
                    <a:gd name="connsiteX1" fmla="*/ 22655 w 21681"/>
                    <a:gd name="connsiteY1" fmla="*/ 12065 h 21681"/>
                    <a:gd name="connsiteX2" fmla="*/ 12065 w 21681"/>
                    <a:gd name="connsiteY2" fmla="*/ 1475 h 21681"/>
                    <a:gd name="connsiteX3" fmla="*/ 1475 w 21681"/>
                    <a:gd name="connsiteY3" fmla="*/ 12065 h 21681"/>
                    <a:gd name="connsiteX4" fmla="*/ 12065 w 21681"/>
                    <a:gd name="connsiteY4" fmla="*/ 22655 h 21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1" h="21681">
                      <a:moveTo>
                        <a:pt x="12065" y="22655"/>
                      </a:moveTo>
                      <a:cubicBezTo>
                        <a:pt x="17914" y="22655"/>
                        <a:pt x="22655" y="17914"/>
                        <a:pt x="22655" y="12065"/>
                      </a:cubicBezTo>
                      <a:cubicBezTo>
                        <a:pt x="22655" y="6217"/>
                        <a:pt x="17914" y="1475"/>
                        <a:pt x="12065" y="1475"/>
                      </a:cubicBezTo>
                      <a:cubicBezTo>
                        <a:pt x="6217" y="1475"/>
                        <a:pt x="1475" y="6217"/>
                        <a:pt x="1475" y="12065"/>
                      </a:cubicBezTo>
                      <a:cubicBezTo>
                        <a:pt x="1475" y="17914"/>
                        <a:pt x="6217" y="22655"/>
                        <a:pt x="12065" y="22655"/>
                      </a:cubicBezTo>
                      <a:close/>
                    </a:path>
                  </a:pathLst>
                </a:custGeom>
                <a:solidFill>
                  <a:srgbClr val="FFFFFF"/>
                </a:solidFill>
                <a:ln w="4321"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31" name="Freeform: Shape 130">
                  <a:extLst>
                    <a:ext uri="{FF2B5EF4-FFF2-40B4-BE49-F238E27FC236}">
                      <a16:creationId xmlns:a16="http://schemas.microsoft.com/office/drawing/2014/main" id="{89B2CF2D-66F6-4685-A06F-C4632DF7058A}"/>
                    </a:ext>
                  </a:extLst>
                </p:cNvPr>
                <p:cNvSpPr/>
                <p:nvPr/>
              </p:nvSpPr>
              <p:spPr>
                <a:xfrm>
                  <a:off x="11224990" y="4997100"/>
                  <a:ext cx="43363" cy="43363"/>
                </a:xfrm>
                <a:custGeom>
                  <a:avLst/>
                  <a:gdLst>
                    <a:gd name="connsiteX0" fmla="*/ 45806 w 43363"/>
                    <a:gd name="connsiteY0" fmla="*/ 1475 h 43363"/>
                    <a:gd name="connsiteX1" fmla="*/ 1475 w 43363"/>
                    <a:gd name="connsiteY1" fmla="*/ 1475 h 43363"/>
                    <a:gd name="connsiteX2" fmla="*/ 1475 w 43363"/>
                    <a:gd name="connsiteY2" fmla="*/ 45806 h 43363"/>
                    <a:gd name="connsiteX3" fmla="*/ 45806 w 43363"/>
                    <a:gd name="connsiteY3" fmla="*/ 45806 h 43363"/>
                    <a:gd name="connsiteX4" fmla="*/ 45806 w 43363"/>
                    <a:gd name="connsiteY4" fmla="*/ 1475 h 43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3" h="43363">
                      <a:moveTo>
                        <a:pt x="45806" y="1475"/>
                      </a:moveTo>
                      <a:lnTo>
                        <a:pt x="1475" y="1475"/>
                      </a:lnTo>
                      <a:lnTo>
                        <a:pt x="1475" y="45806"/>
                      </a:lnTo>
                      <a:lnTo>
                        <a:pt x="45806" y="45806"/>
                      </a:lnTo>
                      <a:lnTo>
                        <a:pt x="45806" y="1475"/>
                      </a:lnTo>
                      <a:close/>
                    </a:path>
                  </a:pathLst>
                </a:custGeom>
                <a:solidFill>
                  <a:srgbClr val="50E6FF"/>
                </a:solidFill>
                <a:ln w="4321"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32" name="Freeform: Shape 131">
                  <a:extLst>
                    <a:ext uri="{FF2B5EF4-FFF2-40B4-BE49-F238E27FC236}">
                      <a16:creationId xmlns:a16="http://schemas.microsoft.com/office/drawing/2014/main" id="{363B5AC4-9100-420B-923B-91F0BA4E40A7}"/>
                    </a:ext>
                  </a:extLst>
                </p:cNvPr>
                <p:cNvSpPr/>
                <p:nvPr/>
              </p:nvSpPr>
              <p:spPr>
                <a:xfrm>
                  <a:off x="11297441" y="4953212"/>
                  <a:ext cx="82390" cy="134426"/>
                </a:xfrm>
                <a:custGeom>
                  <a:avLst/>
                  <a:gdLst>
                    <a:gd name="connsiteX0" fmla="*/ 17689 w 82390"/>
                    <a:gd name="connsiteY0" fmla="*/ 1475 h 134426"/>
                    <a:gd name="connsiteX1" fmla="*/ 2060 w 82390"/>
                    <a:gd name="connsiteY1" fmla="*/ 17104 h 134426"/>
                    <a:gd name="connsiteX2" fmla="*/ 52671 w 82390"/>
                    <a:gd name="connsiteY2" fmla="*/ 67716 h 134426"/>
                    <a:gd name="connsiteX3" fmla="*/ 1475 w 82390"/>
                    <a:gd name="connsiteY3" fmla="*/ 118912 h 134426"/>
                    <a:gd name="connsiteX4" fmla="*/ 17104 w 82390"/>
                    <a:gd name="connsiteY4" fmla="*/ 134541 h 134426"/>
                    <a:gd name="connsiteX5" fmla="*/ 83930 w 82390"/>
                    <a:gd name="connsiteY5" fmla="*/ 67716 h 134426"/>
                    <a:gd name="connsiteX6" fmla="*/ 17689 w 82390"/>
                    <a:gd name="connsiteY6" fmla="*/ 1475 h 13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0" h="134426">
                      <a:moveTo>
                        <a:pt x="17689" y="1475"/>
                      </a:moveTo>
                      <a:lnTo>
                        <a:pt x="2060" y="17104"/>
                      </a:lnTo>
                      <a:lnTo>
                        <a:pt x="52671" y="67716"/>
                      </a:lnTo>
                      <a:lnTo>
                        <a:pt x="1475" y="118912"/>
                      </a:lnTo>
                      <a:lnTo>
                        <a:pt x="17104" y="134541"/>
                      </a:lnTo>
                      <a:lnTo>
                        <a:pt x="83930" y="67716"/>
                      </a:lnTo>
                      <a:lnTo>
                        <a:pt x="17689" y="1475"/>
                      </a:lnTo>
                      <a:close/>
                    </a:path>
                  </a:pathLst>
                </a:custGeom>
                <a:solidFill>
                  <a:srgbClr val="50E6FF"/>
                </a:solidFill>
                <a:ln w="4321"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33" name="Freeform: Shape 132">
                  <a:extLst>
                    <a:ext uri="{FF2B5EF4-FFF2-40B4-BE49-F238E27FC236}">
                      <a16:creationId xmlns:a16="http://schemas.microsoft.com/office/drawing/2014/main" id="{38CA66CE-35A9-474C-9CD6-586051649696}"/>
                    </a:ext>
                  </a:extLst>
                </p:cNvPr>
                <p:cNvSpPr/>
                <p:nvPr/>
              </p:nvSpPr>
              <p:spPr>
                <a:xfrm>
                  <a:off x="11112957" y="4953212"/>
                  <a:ext cx="82390" cy="134426"/>
                </a:xfrm>
                <a:custGeom>
                  <a:avLst/>
                  <a:gdLst>
                    <a:gd name="connsiteX0" fmla="*/ 67716 w 82390"/>
                    <a:gd name="connsiteY0" fmla="*/ 134541 h 134426"/>
                    <a:gd name="connsiteX1" fmla="*/ 83418 w 82390"/>
                    <a:gd name="connsiteY1" fmla="*/ 118912 h 134426"/>
                    <a:gd name="connsiteX2" fmla="*/ 32806 w 82390"/>
                    <a:gd name="connsiteY2" fmla="*/ 68300 h 134426"/>
                    <a:gd name="connsiteX3" fmla="*/ 84002 w 82390"/>
                    <a:gd name="connsiteY3" fmla="*/ 17104 h 134426"/>
                    <a:gd name="connsiteX4" fmla="*/ 68373 w 82390"/>
                    <a:gd name="connsiteY4" fmla="*/ 1475 h 134426"/>
                    <a:gd name="connsiteX5" fmla="*/ 1475 w 82390"/>
                    <a:gd name="connsiteY5" fmla="*/ 68300 h 134426"/>
                    <a:gd name="connsiteX6" fmla="*/ 67716 w 82390"/>
                    <a:gd name="connsiteY6" fmla="*/ 134541 h 13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0" h="134426">
                      <a:moveTo>
                        <a:pt x="67716" y="134541"/>
                      </a:moveTo>
                      <a:lnTo>
                        <a:pt x="83418" y="118912"/>
                      </a:lnTo>
                      <a:lnTo>
                        <a:pt x="32806" y="68300"/>
                      </a:lnTo>
                      <a:lnTo>
                        <a:pt x="84002" y="17104"/>
                      </a:lnTo>
                      <a:lnTo>
                        <a:pt x="68373" y="1475"/>
                      </a:lnTo>
                      <a:lnTo>
                        <a:pt x="1475" y="68300"/>
                      </a:lnTo>
                      <a:lnTo>
                        <a:pt x="67716" y="134541"/>
                      </a:lnTo>
                      <a:close/>
                    </a:path>
                  </a:pathLst>
                </a:custGeom>
                <a:solidFill>
                  <a:srgbClr val="50E6FF"/>
                </a:solidFill>
                <a:ln w="4321"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grpSp>
        </p:grpSp>
        <p:sp>
          <p:nvSpPr>
            <p:cNvPr id="134" name="Rectangle 133">
              <a:extLst>
                <a:ext uri="{FF2B5EF4-FFF2-40B4-BE49-F238E27FC236}">
                  <a16:creationId xmlns:a16="http://schemas.microsoft.com/office/drawing/2014/main" id="{B66733A1-FDEF-4312-81B0-77DCF42050F3}"/>
                </a:ext>
              </a:extLst>
            </p:cNvPr>
            <p:cNvSpPr/>
            <p:nvPr/>
          </p:nvSpPr>
          <p:spPr>
            <a:xfrm>
              <a:off x="5735989" y="5939950"/>
              <a:ext cx="908825" cy="266818"/>
            </a:xfrm>
            <a:prstGeom prst="rect">
              <a:avLst/>
            </a:prstGeom>
          </p:spPr>
          <p:txBody>
            <a:bodyPr wrap="none">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rgbClr val="505050"/>
                  </a:solidFill>
                  <a:effectLst/>
                  <a:uLnTx/>
                  <a:uFillTx/>
                </a:rPr>
                <a:t>Dev/test</a:t>
              </a:r>
            </a:p>
          </p:txBody>
        </p:sp>
      </p:grpSp>
      <p:grpSp>
        <p:nvGrpSpPr>
          <p:cNvPr id="5" name="Group 4">
            <a:extLst>
              <a:ext uri="{FF2B5EF4-FFF2-40B4-BE49-F238E27FC236}">
                <a16:creationId xmlns:a16="http://schemas.microsoft.com/office/drawing/2014/main" id="{8A21914F-FD6E-4637-9A61-BACDD767AD94}"/>
              </a:ext>
            </a:extLst>
          </p:cNvPr>
          <p:cNvGrpSpPr/>
          <p:nvPr/>
        </p:nvGrpSpPr>
        <p:grpSpPr>
          <a:xfrm>
            <a:off x="8630108" y="5348875"/>
            <a:ext cx="1144024" cy="904830"/>
            <a:chOff x="8630108" y="5376313"/>
            <a:chExt cx="1144024" cy="904830"/>
          </a:xfrm>
        </p:grpSpPr>
        <p:grpSp>
          <p:nvGrpSpPr>
            <p:cNvPr id="135" name="Group 134">
              <a:extLst>
                <a:ext uri="{FF2B5EF4-FFF2-40B4-BE49-F238E27FC236}">
                  <a16:creationId xmlns:a16="http://schemas.microsoft.com/office/drawing/2014/main" id="{300587C1-56F7-4E61-91AE-5480031C2395}"/>
                </a:ext>
              </a:extLst>
            </p:cNvPr>
            <p:cNvGrpSpPr/>
            <p:nvPr/>
          </p:nvGrpSpPr>
          <p:grpSpPr>
            <a:xfrm>
              <a:off x="8857338" y="5376313"/>
              <a:ext cx="653499" cy="653499"/>
              <a:chOff x="8928193" y="5485888"/>
              <a:chExt cx="704850" cy="704850"/>
            </a:xfrm>
          </p:grpSpPr>
          <p:sp>
            <p:nvSpPr>
              <p:cNvPr id="136" name="Rectangle 135">
                <a:extLst>
                  <a:ext uri="{FF2B5EF4-FFF2-40B4-BE49-F238E27FC236}">
                    <a16:creationId xmlns:a16="http://schemas.microsoft.com/office/drawing/2014/main" id="{75FAECCA-7090-42C6-9566-F7D482C272F2}"/>
                  </a:ext>
                </a:extLst>
              </p:cNvPr>
              <p:cNvSpPr/>
              <p:nvPr/>
            </p:nvSpPr>
            <p:spPr bwMode="auto">
              <a:xfrm>
                <a:off x="8928193" y="5485888"/>
                <a:ext cx="704850" cy="7048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7" name="Graphic 282" descr="e-commerce, cloud, lock">
                <a:extLst>
                  <a:ext uri="{FF2B5EF4-FFF2-40B4-BE49-F238E27FC236}">
                    <a16:creationId xmlns:a16="http://schemas.microsoft.com/office/drawing/2014/main" id="{D23EF651-791C-4EE1-BC8F-A4D216A63563}"/>
                  </a:ext>
                </a:extLst>
              </p:cNvPr>
              <p:cNvGrpSpPr>
                <a:grpSpLocks noChangeAspect="1"/>
              </p:cNvGrpSpPr>
              <p:nvPr/>
            </p:nvGrpSpPr>
            <p:grpSpPr>
              <a:xfrm>
                <a:off x="9056590" y="5614285"/>
                <a:ext cx="448056" cy="448056"/>
                <a:chOff x="6341055" y="5683181"/>
                <a:chExt cx="471774" cy="471774"/>
              </a:xfrm>
            </p:grpSpPr>
            <p:sp>
              <p:nvSpPr>
                <p:cNvPr id="138" name="Freeform: Shape 137">
                  <a:extLst>
                    <a:ext uri="{FF2B5EF4-FFF2-40B4-BE49-F238E27FC236}">
                      <a16:creationId xmlns:a16="http://schemas.microsoft.com/office/drawing/2014/main" id="{96CAE2CD-8DEC-4CF9-8073-40D665751D64}"/>
                    </a:ext>
                  </a:extLst>
                </p:cNvPr>
                <p:cNvSpPr/>
                <p:nvPr/>
              </p:nvSpPr>
              <p:spPr>
                <a:xfrm>
                  <a:off x="6463763" y="5681908"/>
                  <a:ext cx="223728" cy="189682"/>
                </a:xfrm>
                <a:custGeom>
                  <a:avLst/>
                  <a:gdLst>
                    <a:gd name="connsiteX0" fmla="*/ 223291 w 223727"/>
                    <a:gd name="connsiteY0" fmla="*/ 101568 h 189682"/>
                    <a:gd name="connsiteX1" fmla="*/ 112813 w 223727"/>
                    <a:gd name="connsiteY1" fmla="*/ 1843 h 189682"/>
                    <a:gd name="connsiteX2" fmla="*/ 1843 w 223727"/>
                    <a:gd name="connsiteY2" fmla="*/ 111459 h 189682"/>
                    <a:gd name="connsiteX3" fmla="*/ 1843 w 223727"/>
                    <a:gd name="connsiteY3" fmla="*/ 191893 h 189682"/>
                    <a:gd name="connsiteX4" fmla="*/ 51181 w 223727"/>
                    <a:gd name="connsiteY4" fmla="*/ 192056 h 189682"/>
                    <a:gd name="connsiteX5" fmla="*/ 51181 w 223727"/>
                    <a:gd name="connsiteY5" fmla="*/ 111131 h 189682"/>
                    <a:gd name="connsiteX6" fmla="*/ 51099 w 223727"/>
                    <a:gd name="connsiteY6" fmla="*/ 111050 h 189682"/>
                    <a:gd name="connsiteX7" fmla="*/ 112567 w 223727"/>
                    <a:gd name="connsiteY7" fmla="*/ 51460 h 189682"/>
                    <a:gd name="connsiteX8" fmla="*/ 174035 w 223727"/>
                    <a:gd name="connsiteY8" fmla="*/ 111050 h 189682"/>
                    <a:gd name="connsiteX9" fmla="*/ 174035 w 223727"/>
                    <a:gd name="connsiteY9" fmla="*/ 191974 h 189682"/>
                    <a:gd name="connsiteX10" fmla="*/ 223045 w 223727"/>
                    <a:gd name="connsiteY10" fmla="*/ 191974 h 189682"/>
                    <a:gd name="connsiteX11" fmla="*/ 223045 w 223727"/>
                    <a:gd name="connsiteY11" fmla="*/ 111214 h 189682"/>
                    <a:gd name="connsiteX12" fmla="*/ 223291 w 223727"/>
                    <a:gd name="connsiteY12" fmla="*/ 101568 h 18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3727" h="189682">
                      <a:moveTo>
                        <a:pt x="223291" y="101568"/>
                      </a:moveTo>
                      <a:cubicBezTo>
                        <a:pt x="217800" y="45575"/>
                        <a:pt x="170429" y="1843"/>
                        <a:pt x="112813" y="1843"/>
                      </a:cubicBezTo>
                      <a:cubicBezTo>
                        <a:pt x="51918" y="1843"/>
                        <a:pt x="2417" y="50806"/>
                        <a:pt x="1843" y="111459"/>
                      </a:cubicBezTo>
                      <a:lnTo>
                        <a:pt x="1843" y="191893"/>
                      </a:lnTo>
                      <a:lnTo>
                        <a:pt x="51181" y="192056"/>
                      </a:lnTo>
                      <a:lnTo>
                        <a:pt x="51181" y="111131"/>
                      </a:lnTo>
                      <a:lnTo>
                        <a:pt x="51099" y="111050"/>
                      </a:lnTo>
                      <a:cubicBezTo>
                        <a:pt x="52082" y="78026"/>
                        <a:pt x="79210" y="51460"/>
                        <a:pt x="112567" y="51460"/>
                      </a:cubicBezTo>
                      <a:cubicBezTo>
                        <a:pt x="145923" y="51460"/>
                        <a:pt x="173051" y="77944"/>
                        <a:pt x="174035" y="111050"/>
                      </a:cubicBezTo>
                      <a:lnTo>
                        <a:pt x="174035" y="191974"/>
                      </a:lnTo>
                      <a:lnTo>
                        <a:pt x="223045" y="191974"/>
                      </a:lnTo>
                      <a:lnTo>
                        <a:pt x="223045" y="111214"/>
                      </a:lnTo>
                      <a:cubicBezTo>
                        <a:pt x="223209" y="107371"/>
                        <a:pt x="223455" y="103366"/>
                        <a:pt x="223291" y="101568"/>
                      </a:cubicBezTo>
                      <a:close/>
                    </a:path>
                  </a:pathLst>
                </a:custGeom>
                <a:solidFill>
                  <a:srgbClr val="50E6FF"/>
                </a:solidFill>
                <a:ln w="4812"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39" name="Freeform: Shape 138">
                  <a:extLst>
                    <a:ext uri="{FF2B5EF4-FFF2-40B4-BE49-F238E27FC236}">
                      <a16:creationId xmlns:a16="http://schemas.microsoft.com/office/drawing/2014/main" id="{380EED48-D2B8-4DC2-B76B-832430976854}"/>
                    </a:ext>
                  </a:extLst>
                </p:cNvPr>
                <p:cNvSpPr/>
                <p:nvPr/>
              </p:nvSpPr>
              <p:spPr>
                <a:xfrm>
                  <a:off x="6415078" y="5853561"/>
                  <a:ext cx="321001" cy="296683"/>
                </a:xfrm>
                <a:custGeom>
                  <a:avLst/>
                  <a:gdLst>
                    <a:gd name="connsiteX0" fmla="*/ 321148 w 321000"/>
                    <a:gd name="connsiteY0" fmla="*/ 296195 h 296682"/>
                    <a:gd name="connsiteX1" fmla="*/ 1843 w 321000"/>
                    <a:gd name="connsiteY1" fmla="*/ 296195 h 296682"/>
                    <a:gd name="connsiteX2" fmla="*/ 1843 w 321000"/>
                    <a:gd name="connsiteY2" fmla="*/ 1843 h 296682"/>
                    <a:gd name="connsiteX3" fmla="*/ 321148 w 321000"/>
                    <a:gd name="connsiteY3" fmla="*/ 1843 h 296682"/>
                    <a:gd name="connsiteX4" fmla="*/ 321148 w 321000"/>
                    <a:gd name="connsiteY4" fmla="*/ 296195 h 296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00" h="296682">
                      <a:moveTo>
                        <a:pt x="321148" y="296195"/>
                      </a:moveTo>
                      <a:lnTo>
                        <a:pt x="1843" y="296195"/>
                      </a:lnTo>
                      <a:lnTo>
                        <a:pt x="1843" y="1843"/>
                      </a:lnTo>
                      <a:lnTo>
                        <a:pt x="321148" y="1843"/>
                      </a:lnTo>
                      <a:lnTo>
                        <a:pt x="321148" y="296195"/>
                      </a:lnTo>
                      <a:close/>
                    </a:path>
                  </a:pathLst>
                </a:custGeom>
                <a:solidFill>
                  <a:srgbClr val="0078D4"/>
                </a:solidFill>
                <a:ln w="4812"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40" name="Freeform: Shape 139">
                  <a:extLst>
                    <a:ext uri="{FF2B5EF4-FFF2-40B4-BE49-F238E27FC236}">
                      <a16:creationId xmlns:a16="http://schemas.microsoft.com/office/drawing/2014/main" id="{53468FFE-EFCB-47D6-B4D8-8F3B60ED606E}"/>
                    </a:ext>
                  </a:extLst>
                </p:cNvPr>
                <p:cNvSpPr/>
                <p:nvPr/>
              </p:nvSpPr>
              <p:spPr>
                <a:xfrm>
                  <a:off x="6461958" y="5924445"/>
                  <a:ext cx="223728" cy="126455"/>
                </a:xfrm>
                <a:custGeom>
                  <a:avLst/>
                  <a:gdLst>
                    <a:gd name="connsiteX0" fmla="*/ 200507 w 223727"/>
                    <a:gd name="connsiteY0" fmla="*/ 81051 h 126454"/>
                    <a:gd name="connsiteX1" fmla="*/ 199605 w 223727"/>
                    <a:gd name="connsiteY1" fmla="*/ 81051 h 126454"/>
                    <a:gd name="connsiteX2" fmla="*/ 200425 w 223727"/>
                    <a:gd name="connsiteY2" fmla="*/ 73203 h 126454"/>
                    <a:gd name="connsiteX3" fmla="*/ 160676 w 223727"/>
                    <a:gd name="connsiteY3" fmla="*/ 33559 h 126454"/>
                    <a:gd name="connsiteX4" fmla="*/ 139367 w 223727"/>
                    <a:gd name="connsiteY4" fmla="*/ 39689 h 126454"/>
                    <a:gd name="connsiteX5" fmla="*/ 81177 w 223727"/>
                    <a:gd name="connsiteY5" fmla="*/ 1843 h 126454"/>
                    <a:gd name="connsiteX6" fmla="*/ 17579 w 223727"/>
                    <a:gd name="connsiteY6" fmla="*/ 65274 h 126454"/>
                    <a:gd name="connsiteX7" fmla="*/ 19791 w 223727"/>
                    <a:gd name="connsiteY7" fmla="*/ 81786 h 126454"/>
                    <a:gd name="connsiteX8" fmla="*/ 1843 w 223727"/>
                    <a:gd name="connsiteY8" fmla="*/ 104837 h 126454"/>
                    <a:gd name="connsiteX9" fmla="*/ 25692 w 223727"/>
                    <a:gd name="connsiteY9" fmla="*/ 128624 h 126454"/>
                    <a:gd name="connsiteX10" fmla="*/ 78145 w 223727"/>
                    <a:gd name="connsiteY10" fmla="*/ 128624 h 126454"/>
                    <a:gd name="connsiteX11" fmla="*/ 81095 w 223727"/>
                    <a:gd name="connsiteY11" fmla="*/ 128706 h 126454"/>
                    <a:gd name="connsiteX12" fmla="*/ 84046 w 223727"/>
                    <a:gd name="connsiteY12" fmla="*/ 128624 h 126454"/>
                    <a:gd name="connsiteX13" fmla="*/ 200425 w 223727"/>
                    <a:gd name="connsiteY13" fmla="*/ 128624 h 126454"/>
                    <a:gd name="connsiteX14" fmla="*/ 224274 w 223727"/>
                    <a:gd name="connsiteY14" fmla="*/ 104837 h 126454"/>
                    <a:gd name="connsiteX15" fmla="*/ 200507 w 223727"/>
                    <a:gd name="connsiteY15" fmla="*/ 81051 h 126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3727" h="126454">
                      <a:moveTo>
                        <a:pt x="200507" y="81051"/>
                      </a:moveTo>
                      <a:lnTo>
                        <a:pt x="199605" y="81051"/>
                      </a:lnTo>
                      <a:cubicBezTo>
                        <a:pt x="200097" y="78517"/>
                        <a:pt x="200425" y="75900"/>
                        <a:pt x="200425" y="73203"/>
                      </a:cubicBezTo>
                      <a:cubicBezTo>
                        <a:pt x="200425" y="51296"/>
                        <a:pt x="182641" y="33559"/>
                        <a:pt x="160676" y="33559"/>
                      </a:cubicBezTo>
                      <a:cubicBezTo>
                        <a:pt x="152808" y="33559"/>
                        <a:pt x="145514" y="35847"/>
                        <a:pt x="139367" y="39689"/>
                      </a:cubicBezTo>
                      <a:cubicBezTo>
                        <a:pt x="129532" y="17373"/>
                        <a:pt x="107158" y="1843"/>
                        <a:pt x="81177" y="1843"/>
                      </a:cubicBezTo>
                      <a:cubicBezTo>
                        <a:pt x="46099" y="1843"/>
                        <a:pt x="17579" y="30207"/>
                        <a:pt x="17579" y="65274"/>
                      </a:cubicBezTo>
                      <a:cubicBezTo>
                        <a:pt x="17579" y="70996"/>
                        <a:pt x="18316" y="76555"/>
                        <a:pt x="19791" y="81786"/>
                      </a:cubicBezTo>
                      <a:cubicBezTo>
                        <a:pt x="9464" y="84402"/>
                        <a:pt x="1843" y="93720"/>
                        <a:pt x="1843" y="104837"/>
                      </a:cubicBezTo>
                      <a:cubicBezTo>
                        <a:pt x="1843" y="117998"/>
                        <a:pt x="12497" y="128624"/>
                        <a:pt x="25692" y="128624"/>
                      </a:cubicBezTo>
                      <a:lnTo>
                        <a:pt x="78145" y="128624"/>
                      </a:lnTo>
                      <a:cubicBezTo>
                        <a:pt x="79128" y="128706"/>
                        <a:pt x="80112" y="128706"/>
                        <a:pt x="81095" y="128706"/>
                      </a:cubicBezTo>
                      <a:cubicBezTo>
                        <a:pt x="82079" y="128706"/>
                        <a:pt x="83062" y="128706"/>
                        <a:pt x="84046" y="128624"/>
                      </a:cubicBezTo>
                      <a:lnTo>
                        <a:pt x="200425" y="128624"/>
                      </a:lnTo>
                      <a:cubicBezTo>
                        <a:pt x="213620" y="128624"/>
                        <a:pt x="224274" y="117998"/>
                        <a:pt x="224274" y="104837"/>
                      </a:cubicBezTo>
                      <a:cubicBezTo>
                        <a:pt x="224357" y="91677"/>
                        <a:pt x="213620" y="81051"/>
                        <a:pt x="200507" y="81051"/>
                      </a:cubicBezTo>
                      <a:close/>
                    </a:path>
                  </a:pathLst>
                </a:custGeom>
                <a:solidFill>
                  <a:srgbClr val="FFFFFF"/>
                </a:solidFill>
                <a:ln w="4812"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grpSp>
        </p:grpSp>
        <p:sp>
          <p:nvSpPr>
            <p:cNvPr id="141" name="Rectangle 140">
              <a:extLst>
                <a:ext uri="{FF2B5EF4-FFF2-40B4-BE49-F238E27FC236}">
                  <a16:creationId xmlns:a16="http://schemas.microsoft.com/office/drawing/2014/main" id="{2857A800-F8D2-4BAD-875D-7A136668CF39}"/>
                </a:ext>
              </a:extLst>
            </p:cNvPr>
            <p:cNvSpPr/>
            <p:nvPr/>
          </p:nvSpPr>
          <p:spPr>
            <a:xfrm>
              <a:off x="8630108" y="6014325"/>
              <a:ext cx="1144024" cy="266818"/>
            </a:xfrm>
            <a:prstGeom prst="rect">
              <a:avLst/>
            </a:prstGeom>
          </p:spPr>
          <p:txBody>
            <a:bodyPr wrap="none">
              <a:noAutofit/>
            </a:bodyPr>
            <a:lstStyle/>
            <a:p>
              <a:pPr algn="ctr" defTabSz="932597">
                <a:defRPr/>
              </a:pPr>
              <a:r>
                <a:rPr lang="en-US" sz="1122" kern="0" dirty="0">
                  <a:solidFill>
                    <a:srgbClr val="505050"/>
                  </a:solidFill>
                  <a:cs typeface="Segoe UI" panose="020B0502040204020203" pitchFamily="34" charset="0"/>
                </a:rPr>
                <a:t>E-commerce</a:t>
              </a:r>
            </a:p>
          </p:txBody>
        </p:sp>
      </p:grpSp>
      <p:cxnSp>
        <p:nvCxnSpPr>
          <p:cNvPr id="142" name="Straight Connector 141">
            <a:extLst>
              <a:ext uri="{FF2B5EF4-FFF2-40B4-BE49-F238E27FC236}">
                <a16:creationId xmlns:a16="http://schemas.microsoft.com/office/drawing/2014/main" id="{C36C51C8-CC7C-49EF-811B-022D3B33BBA4}"/>
              </a:ext>
            </a:extLst>
          </p:cNvPr>
          <p:cNvCxnSpPr>
            <a:cxnSpLocks/>
          </p:cNvCxnSpPr>
          <p:nvPr/>
        </p:nvCxnSpPr>
        <p:spPr>
          <a:xfrm>
            <a:off x="4173793" y="1534254"/>
            <a:ext cx="0" cy="2672564"/>
          </a:xfrm>
          <a:prstGeom prst="line">
            <a:avLst/>
          </a:prstGeom>
          <a:noFill/>
          <a:ln w="6350" cap="flat" cmpd="sng" algn="ctr">
            <a:solidFill>
              <a:srgbClr val="002050"/>
            </a:solidFill>
            <a:prstDash val="solid"/>
            <a:headEnd type="none"/>
            <a:tailEnd type="none"/>
          </a:ln>
          <a:effectLst/>
        </p:spPr>
      </p:cxnSp>
      <p:grpSp>
        <p:nvGrpSpPr>
          <p:cNvPr id="4" name="Group 3">
            <a:extLst>
              <a:ext uri="{FF2B5EF4-FFF2-40B4-BE49-F238E27FC236}">
                <a16:creationId xmlns:a16="http://schemas.microsoft.com/office/drawing/2014/main" id="{4995B934-49E2-43A4-9403-A5B8103EBCBB}"/>
              </a:ext>
            </a:extLst>
          </p:cNvPr>
          <p:cNvGrpSpPr/>
          <p:nvPr/>
        </p:nvGrpSpPr>
        <p:grpSpPr>
          <a:xfrm>
            <a:off x="7039166" y="5368653"/>
            <a:ext cx="1433179" cy="893897"/>
            <a:chOff x="7039166" y="5350059"/>
            <a:chExt cx="1433179" cy="893897"/>
          </a:xfrm>
        </p:grpSpPr>
        <p:sp>
          <p:nvSpPr>
            <p:cNvPr id="143" name="Rectangle 142">
              <a:extLst>
                <a:ext uri="{FF2B5EF4-FFF2-40B4-BE49-F238E27FC236}">
                  <a16:creationId xmlns:a16="http://schemas.microsoft.com/office/drawing/2014/main" id="{30C9A96D-40B6-4769-BD26-1A5624D0C928}"/>
                </a:ext>
              </a:extLst>
            </p:cNvPr>
            <p:cNvSpPr/>
            <p:nvPr/>
          </p:nvSpPr>
          <p:spPr>
            <a:xfrm>
              <a:off x="7039166" y="5977138"/>
              <a:ext cx="1433179" cy="266818"/>
            </a:xfrm>
            <a:prstGeom prst="rect">
              <a:avLst/>
            </a:prstGeom>
          </p:spPr>
          <p:txBody>
            <a:bodyPr wrap="none">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rgbClr val="505050"/>
                  </a:solidFill>
                  <a:effectLst/>
                  <a:uLnTx/>
                  <a:uFillTx/>
                </a:rPr>
                <a:t>Line of Business</a:t>
              </a:r>
            </a:p>
          </p:txBody>
        </p:sp>
        <p:grpSp>
          <p:nvGrpSpPr>
            <p:cNvPr id="144" name="Group 143">
              <a:extLst>
                <a:ext uri="{FF2B5EF4-FFF2-40B4-BE49-F238E27FC236}">
                  <a16:creationId xmlns:a16="http://schemas.microsoft.com/office/drawing/2014/main" id="{B210184B-9A3B-411F-AF59-351F4197EBC9}"/>
                </a:ext>
              </a:extLst>
            </p:cNvPr>
            <p:cNvGrpSpPr/>
            <p:nvPr/>
          </p:nvGrpSpPr>
          <p:grpSpPr>
            <a:xfrm>
              <a:off x="7414303" y="5350059"/>
              <a:ext cx="653499" cy="653499"/>
              <a:chOff x="9841330" y="5574423"/>
              <a:chExt cx="640743" cy="640743"/>
            </a:xfrm>
          </p:grpSpPr>
          <p:sp>
            <p:nvSpPr>
              <p:cNvPr id="145" name="Rectangle 144">
                <a:extLst>
                  <a:ext uri="{FF2B5EF4-FFF2-40B4-BE49-F238E27FC236}">
                    <a16:creationId xmlns:a16="http://schemas.microsoft.com/office/drawing/2014/main" id="{0F30ED80-FF71-40D6-AF29-C0589836C44A}"/>
                  </a:ext>
                </a:extLst>
              </p:cNvPr>
              <p:cNvSpPr/>
              <p:nvPr/>
            </p:nvSpPr>
            <p:spPr bwMode="auto">
              <a:xfrm>
                <a:off x="9841330" y="5574423"/>
                <a:ext cx="640743" cy="640743"/>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6" name="Group 4">
                <a:extLst>
                  <a:ext uri="{FF2B5EF4-FFF2-40B4-BE49-F238E27FC236}">
                    <a16:creationId xmlns:a16="http://schemas.microsoft.com/office/drawing/2014/main" id="{AB75F4D1-0E6E-46D1-9BC9-B5CB59429D56}"/>
                  </a:ext>
                </a:extLst>
              </p:cNvPr>
              <p:cNvGrpSpPr>
                <a:grpSpLocks noChangeAspect="1"/>
              </p:cNvGrpSpPr>
              <p:nvPr/>
            </p:nvGrpSpPr>
            <p:grpSpPr bwMode="auto">
              <a:xfrm>
                <a:off x="9935367" y="5658338"/>
                <a:ext cx="434940" cy="434940"/>
                <a:chOff x="6240" y="3330"/>
                <a:chExt cx="302" cy="302"/>
              </a:xfrm>
            </p:grpSpPr>
            <p:sp>
              <p:nvSpPr>
                <p:cNvPr id="147" name="AutoShape 3">
                  <a:extLst>
                    <a:ext uri="{FF2B5EF4-FFF2-40B4-BE49-F238E27FC236}">
                      <a16:creationId xmlns:a16="http://schemas.microsoft.com/office/drawing/2014/main" id="{E0BCC269-A0B1-475C-B8CB-CED62F0664A2}"/>
                    </a:ext>
                  </a:extLst>
                </p:cNvPr>
                <p:cNvSpPr>
                  <a:spLocks noChangeAspect="1" noChangeArrowheads="1" noTextEdit="1"/>
                </p:cNvSpPr>
                <p:nvPr/>
              </p:nvSpPr>
              <p:spPr bwMode="auto">
                <a:xfrm>
                  <a:off x="6240" y="3330"/>
                  <a:ext cx="302" cy="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48" name="Freeform 5">
                  <a:extLst>
                    <a:ext uri="{FF2B5EF4-FFF2-40B4-BE49-F238E27FC236}">
                      <a16:creationId xmlns:a16="http://schemas.microsoft.com/office/drawing/2014/main" id="{0B68936A-D053-4D24-99D6-A70924B457A4}"/>
                    </a:ext>
                  </a:extLst>
                </p:cNvPr>
                <p:cNvSpPr>
                  <a:spLocks noEditPoints="1"/>
                </p:cNvSpPr>
                <p:nvPr/>
              </p:nvSpPr>
              <p:spPr bwMode="auto">
                <a:xfrm>
                  <a:off x="6277" y="3401"/>
                  <a:ext cx="119" cy="209"/>
                </a:xfrm>
                <a:custGeom>
                  <a:avLst/>
                  <a:gdLst>
                    <a:gd name="T0" fmla="*/ 54 w 163"/>
                    <a:gd name="T1" fmla="*/ 54 h 285"/>
                    <a:gd name="T2" fmla="*/ 54 w 163"/>
                    <a:gd name="T3" fmla="*/ 54 h 285"/>
                    <a:gd name="T4" fmla="*/ 27 w 163"/>
                    <a:gd name="T5" fmla="*/ 54 h 285"/>
                    <a:gd name="T6" fmla="*/ 27 w 163"/>
                    <a:gd name="T7" fmla="*/ 27 h 285"/>
                    <a:gd name="T8" fmla="*/ 54 w 163"/>
                    <a:gd name="T9" fmla="*/ 27 h 285"/>
                    <a:gd name="T10" fmla="*/ 54 w 163"/>
                    <a:gd name="T11" fmla="*/ 54 h 285"/>
                    <a:gd name="T12" fmla="*/ 54 w 163"/>
                    <a:gd name="T13" fmla="*/ 108 h 285"/>
                    <a:gd name="T14" fmla="*/ 54 w 163"/>
                    <a:gd name="T15" fmla="*/ 108 h 285"/>
                    <a:gd name="T16" fmla="*/ 27 w 163"/>
                    <a:gd name="T17" fmla="*/ 108 h 285"/>
                    <a:gd name="T18" fmla="*/ 27 w 163"/>
                    <a:gd name="T19" fmla="*/ 81 h 285"/>
                    <a:gd name="T20" fmla="*/ 54 w 163"/>
                    <a:gd name="T21" fmla="*/ 81 h 285"/>
                    <a:gd name="T22" fmla="*/ 54 w 163"/>
                    <a:gd name="T23" fmla="*/ 108 h 285"/>
                    <a:gd name="T24" fmla="*/ 54 w 163"/>
                    <a:gd name="T25" fmla="*/ 163 h 285"/>
                    <a:gd name="T26" fmla="*/ 54 w 163"/>
                    <a:gd name="T27" fmla="*/ 163 h 285"/>
                    <a:gd name="T28" fmla="*/ 27 w 163"/>
                    <a:gd name="T29" fmla="*/ 163 h 285"/>
                    <a:gd name="T30" fmla="*/ 27 w 163"/>
                    <a:gd name="T31" fmla="*/ 135 h 285"/>
                    <a:gd name="T32" fmla="*/ 54 w 163"/>
                    <a:gd name="T33" fmla="*/ 135 h 285"/>
                    <a:gd name="T34" fmla="*/ 54 w 163"/>
                    <a:gd name="T35" fmla="*/ 163 h 285"/>
                    <a:gd name="T36" fmla="*/ 54 w 163"/>
                    <a:gd name="T37" fmla="*/ 217 h 285"/>
                    <a:gd name="T38" fmla="*/ 54 w 163"/>
                    <a:gd name="T39" fmla="*/ 217 h 285"/>
                    <a:gd name="T40" fmla="*/ 27 w 163"/>
                    <a:gd name="T41" fmla="*/ 217 h 285"/>
                    <a:gd name="T42" fmla="*/ 27 w 163"/>
                    <a:gd name="T43" fmla="*/ 190 h 285"/>
                    <a:gd name="T44" fmla="*/ 54 w 163"/>
                    <a:gd name="T45" fmla="*/ 190 h 285"/>
                    <a:gd name="T46" fmla="*/ 54 w 163"/>
                    <a:gd name="T47" fmla="*/ 217 h 285"/>
                    <a:gd name="T48" fmla="*/ 54 w 163"/>
                    <a:gd name="T49" fmla="*/ 271 h 285"/>
                    <a:gd name="T50" fmla="*/ 54 w 163"/>
                    <a:gd name="T51" fmla="*/ 271 h 285"/>
                    <a:gd name="T52" fmla="*/ 27 w 163"/>
                    <a:gd name="T53" fmla="*/ 271 h 285"/>
                    <a:gd name="T54" fmla="*/ 27 w 163"/>
                    <a:gd name="T55" fmla="*/ 244 h 285"/>
                    <a:gd name="T56" fmla="*/ 54 w 163"/>
                    <a:gd name="T57" fmla="*/ 244 h 285"/>
                    <a:gd name="T58" fmla="*/ 54 w 163"/>
                    <a:gd name="T59" fmla="*/ 271 h 285"/>
                    <a:gd name="T60" fmla="*/ 81 w 163"/>
                    <a:gd name="T61" fmla="*/ 27 h 285"/>
                    <a:gd name="T62" fmla="*/ 81 w 163"/>
                    <a:gd name="T63" fmla="*/ 27 h 285"/>
                    <a:gd name="T64" fmla="*/ 163 w 163"/>
                    <a:gd name="T65" fmla="*/ 27 h 285"/>
                    <a:gd name="T66" fmla="*/ 163 w 163"/>
                    <a:gd name="T67" fmla="*/ 0 h 285"/>
                    <a:gd name="T68" fmla="*/ 0 w 163"/>
                    <a:gd name="T69" fmla="*/ 0 h 285"/>
                    <a:gd name="T70" fmla="*/ 0 w 163"/>
                    <a:gd name="T71" fmla="*/ 285 h 285"/>
                    <a:gd name="T72" fmla="*/ 81 w 163"/>
                    <a:gd name="T73" fmla="*/ 285 h 285"/>
                    <a:gd name="T74" fmla="*/ 81 w 163"/>
                    <a:gd name="T75" fmla="*/ 2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3" h="285">
                      <a:moveTo>
                        <a:pt x="54" y="54"/>
                      </a:moveTo>
                      <a:lnTo>
                        <a:pt x="54" y="54"/>
                      </a:lnTo>
                      <a:lnTo>
                        <a:pt x="27" y="54"/>
                      </a:lnTo>
                      <a:lnTo>
                        <a:pt x="27" y="27"/>
                      </a:lnTo>
                      <a:lnTo>
                        <a:pt x="54" y="27"/>
                      </a:lnTo>
                      <a:lnTo>
                        <a:pt x="54" y="54"/>
                      </a:lnTo>
                      <a:close/>
                      <a:moveTo>
                        <a:pt x="54" y="108"/>
                      </a:moveTo>
                      <a:lnTo>
                        <a:pt x="54" y="108"/>
                      </a:lnTo>
                      <a:lnTo>
                        <a:pt x="27" y="108"/>
                      </a:lnTo>
                      <a:lnTo>
                        <a:pt x="27" y="81"/>
                      </a:lnTo>
                      <a:lnTo>
                        <a:pt x="54" y="81"/>
                      </a:lnTo>
                      <a:lnTo>
                        <a:pt x="54" y="108"/>
                      </a:lnTo>
                      <a:close/>
                      <a:moveTo>
                        <a:pt x="54" y="163"/>
                      </a:moveTo>
                      <a:lnTo>
                        <a:pt x="54" y="163"/>
                      </a:lnTo>
                      <a:lnTo>
                        <a:pt x="27" y="163"/>
                      </a:lnTo>
                      <a:lnTo>
                        <a:pt x="27" y="135"/>
                      </a:lnTo>
                      <a:lnTo>
                        <a:pt x="54" y="135"/>
                      </a:lnTo>
                      <a:lnTo>
                        <a:pt x="54" y="163"/>
                      </a:lnTo>
                      <a:close/>
                      <a:moveTo>
                        <a:pt x="54" y="217"/>
                      </a:moveTo>
                      <a:lnTo>
                        <a:pt x="54" y="217"/>
                      </a:lnTo>
                      <a:lnTo>
                        <a:pt x="27" y="217"/>
                      </a:lnTo>
                      <a:lnTo>
                        <a:pt x="27" y="190"/>
                      </a:lnTo>
                      <a:lnTo>
                        <a:pt x="54" y="190"/>
                      </a:lnTo>
                      <a:lnTo>
                        <a:pt x="54" y="217"/>
                      </a:lnTo>
                      <a:close/>
                      <a:moveTo>
                        <a:pt x="54" y="271"/>
                      </a:moveTo>
                      <a:lnTo>
                        <a:pt x="54" y="271"/>
                      </a:lnTo>
                      <a:lnTo>
                        <a:pt x="27" y="271"/>
                      </a:lnTo>
                      <a:lnTo>
                        <a:pt x="27" y="244"/>
                      </a:lnTo>
                      <a:lnTo>
                        <a:pt x="54" y="244"/>
                      </a:lnTo>
                      <a:lnTo>
                        <a:pt x="54" y="271"/>
                      </a:lnTo>
                      <a:close/>
                      <a:moveTo>
                        <a:pt x="81" y="27"/>
                      </a:moveTo>
                      <a:lnTo>
                        <a:pt x="81" y="27"/>
                      </a:lnTo>
                      <a:lnTo>
                        <a:pt x="163" y="27"/>
                      </a:lnTo>
                      <a:lnTo>
                        <a:pt x="163" y="0"/>
                      </a:lnTo>
                      <a:lnTo>
                        <a:pt x="0" y="0"/>
                      </a:lnTo>
                      <a:lnTo>
                        <a:pt x="0" y="285"/>
                      </a:lnTo>
                      <a:lnTo>
                        <a:pt x="81" y="285"/>
                      </a:lnTo>
                      <a:lnTo>
                        <a:pt x="81" y="27"/>
                      </a:lnTo>
                      <a:close/>
                    </a:path>
                  </a:pathLst>
                </a:custGeom>
                <a:solidFill>
                  <a:srgbClr val="0078D4"/>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49" name="Freeform 6">
                  <a:extLst>
                    <a:ext uri="{FF2B5EF4-FFF2-40B4-BE49-F238E27FC236}">
                      <a16:creationId xmlns:a16="http://schemas.microsoft.com/office/drawing/2014/main" id="{80BB4ED3-69E1-43DA-AA1B-AB49EFA9F183}"/>
                    </a:ext>
                  </a:extLst>
                </p:cNvPr>
                <p:cNvSpPr>
                  <a:spLocks noEditPoints="1"/>
                </p:cNvSpPr>
                <p:nvPr/>
              </p:nvSpPr>
              <p:spPr bwMode="auto">
                <a:xfrm>
                  <a:off x="6356" y="3441"/>
                  <a:ext cx="99" cy="169"/>
                </a:xfrm>
                <a:custGeom>
                  <a:avLst/>
                  <a:gdLst>
                    <a:gd name="T0" fmla="*/ 82 w 136"/>
                    <a:gd name="T1" fmla="*/ 81 h 231"/>
                    <a:gd name="T2" fmla="*/ 82 w 136"/>
                    <a:gd name="T3" fmla="*/ 81 h 231"/>
                    <a:gd name="T4" fmla="*/ 109 w 136"/>
                    <a:gd name="T5" fmla="*/ 81 h 231"/>
                    <a:gd name="T6" fmla="*/ 109 w 136"/>
                    <a:gd name="T7" fmla="*/ 109 h 231"/>
                    <a:gd name="T8" fmla="*/ 82 w 136"/>
                    <a:gd name="T9" fmla="*/ 109 h 231"/>
                    <a:gd name="T10" fmla="*/ 82 w 136"/>
                    <a:gd name="T11" fmla="*/ 81 h 231"/>
                    <a:gd name="T12" fmla="*/ 55 w 136"/>
                    <a:gd name="T13" fmla="*/ 54 h 231"/>
                    <a:gd name="T14" fmla="*/ 55 w 136"/>
                    <a:gd name="T15" fmla="*/ 54 h 231"/>
                    <a:gd name="T16" fmla="*/ 28 w 136"/>
                    <a:gd name="T17" fmla="*/ 54 h 231"/>
                    <a:gd name="T18" fmla="*/ 28 w 136"/>
                    <a:gd name="T19" fmla="*/ 27 h 231"/>
                    <a:gd name="T20" fmla="*/ 55 w 136"/>
                    <a:gd name="T21" fmla="*/ 27 h 231"/>
                    <a:gd name="T22" fmla="*/ 55 w 136"/>
                    <a:gd name="T23" fmla="*/ 54 h 231"/>
                    <a:gd name="T24" fmla="*/ 55 w 136"/>
                    <a:gd name="T25" fmla="*/ 109 h 231"/>
                    <a:gd name="T26" fmla="*/ 55 w 136"/>
                    <a:gd name="T27" fmla="*/ 109 h 231"/>
                    <a:gd name="T28" fmla="*/ 28 w 136"/>
                    <a:gd name="T29" fmla="*/ 109 h 231"/>
                    <a:gd name="T30" fmla="*/ 28 w 136"/>
                    <a:gd name="T31" fmla="*/ 81 h 231"/>
                    <a:gd name="T32" fmla="*/ 55 w 136"/>
                    <a:gd name="T33" fmla="*/ 81 h 231"/>
                    <a:gd name="T34" fmla="*/ 55 w 136"/>
                    <a:gd name="T35" fmla="*/ 109 h 231"/>
                    <a:gd name="T36" fmla="*/ 82 w 136"/>
                    <a:gd name="T37" fmla="*/ 27 h 231"/>
                    <a:gd name="T38" fmla="*/ 82 w 136"/>
                    <a:gd name="T39" fmla="*/ 27 h 231"/>
                    <a:gd name="T40" fmla="*/ 109 w 136"/>
                    <a:gd name="T41" fmla="*/ 27 h 231"/>
                    <a:gd name="T42" fmla="*/ 109 w 136"/>
                    <a:gd name="T43" fmla="*/ 54 h 231"/>
                    <a:gd name="T44" fmla="*/ 82 w 136"/>
                    <a:gd name="T45" fmla="*/ 54 h 231"/>
                    <a:gd name="T46" fmla="*/ 82 w 136"/>
                    <a:gd name="T47" fmla="*/ 27 h 231"/>
                    <a:gd name="T48" fmla="*/ 136 w 136"/>
                    <a:gd name="T49" fmla="*/ 231 h 231"/>
                    <a:gd name="T50" fmla="*/ 136 w 136"/>
                    <a:gd name="T51" fmla="*/ 231 h 231"/>
                    <a:gd name="T52" fmla="*/ 136 w 136"/>
                    <a:gd name="T53" fmla="*/ 0 h 231"/>
                    <a:gd name="T54" fmla="*/ 0 w 136"/>
                    <a:gd name="T55" fmla="*/ 0 h 231"/>
                    <a:gd name="T56" fmla="*/ 0 w 136"/>
                    <a:gd name="T57" fmla="*/ 231 h 231"/>
                    <a:gd name="T58" fmla="*/ 28 w 136"/>
                    <a:gd name="T59" fmla="*/ 231 h 231"/>
                    <a:gd name="T60" fmla="*/ 28 w 136"/>
                    <a:gd name="T61" fmla="*/ 136 h 231"/>
                    <a:gd name="T62" fmla="*/ 109 w 136"/>
                    <a:gd name="T63" fmla="*/ 136 h 231"/>
                    <a:gd name="T64" fmla="*/ 109 w 136"/>
                    <a:gd name="T65" fmla="*/ 231 h 231"/>
                    <a:gd name="T66" fmla="*/ 136 w 136"/>
                    <a:gd name="T67"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 h="231">
                      <a:moveTo>
                        <a:pt x="82" y="81"/>
                      </a:moveTo>
                      <a:lnTo>
                        <a:pt x="82" y="81"/>
                      </a:lnTo>
                      <a:lnTo>
                        <a:pt x="109" y="81"/>
                      </a:lnTo>
                      <a:lnTo>
                        <a:pt x="109" y="109"/>
                      </a:lnTo>
                      <a:lnTo>
                        <a:pt x="82" y="109"/>
                      </a:lnTo>
                      <a:lnTo>
                        <a:pt x="82" y="81"/>
                      </a:lnTo>
                      <a:close/>
                      <a:moveTo>
                        <a:pt x="55" y="54"/>
                      </a:moveTo>
                      <a:lnTo>
                        <a:pt x="55" y="54"/>
                      </a:lnTo>
                      <a:lnTo>
                        <a:pt x="28" y="54"/>
                      </a:lnTo>
                      <a:lnTo>
                        <a:pt x="28" y="27"/>
                      </a:lnTo>
                      <a:lnTo>
                        <a:pt x="55" y="27"/>
                      </a:lnTo>
                      <a:lnTo>
                        <a:pt x="55" y="54"/>
                      </a:lnTo>
                      <a:close/>
                      <a:moveTo>
                        <a:pt x="55" y="109"/>
                      </a:moveTo>
                      <a:lnTo>
                        <a:pt x="55" y="109"/>
                      </a:lnTo>
                      <a:lnTo>
                        <a:pt x="28" y="109"/>
                      </a:lnTo>
                      <a:lnTo>
                        <a:pt x="28" y="81"/>
                      </a:lnTo>
                      <a:lnTo>
                        <a:pt x="55" y="81"/>
                      </a:lnTo>
                      <a:lnTo>
                        <a:pt x="55" y="109"/>
                      </a:lnTo>
                      <a:close/>
                      <a:moveTo>
                        <a:pt x="82" y="27"/>
                      </a:moveTo>
                      <a:lnTo>
                        <a:pt x="82" y="27"/>
                      </a:lnTo>
                      <a:lnTo>
                        <a:pt x="109" y="27"/>
                      </a:lnTo>
                      <a:lnTo>
                        <a:pt x="109" y="54"/>
                      </a:lnTo>
                      <a:lnTo>
                        <a:pt x="82" y="54"/>
                      </a:lnTo>
                      <a:lnTo>
                        <a:pt x="82" y="27"/>
                      </a:lnTo>
                      <a:close/>
                      <a:moveTo>
                        <a:pt x="136" y="231"/>
                      </a:moveTo>
                      <a:lnTo>
                        <a:pt x="136" y="231"/>
                      </a:lnTo>
                      <a:lnTo>
                        <a:pt x="136" y="0"/>
                      </a:lnTo>
                      <a:lnTo>
                        <a:pt x="0" y="0"/>
                      </a:lnTo>
                      <a:lnTo>
                        <a:pt x="0" y="231"/>
                      </a:lnTo>
                      <a:lnTo>
                        <a:pt x="28" y="231"/>
                      </a:lnTo>
                      <a:lnTo>
                        <a:pt x="28" y="136"/>
                      </a:lnTo>
                      <a:lnTo>
                        <a:pt x="109" y="136"/>
                      </a:lnTo>
                      <a:lnTo>
                        <a:pt x="109" y="231"/>
                      </a:lnTo>
                      <a:lnTo>
                        <a:pt x="136" y="231"/>
                      </a:lnTo>
                      <a:close/>
                    </a:path>
                  </a:pathLst>
                </a:custGeom>
                <a:solidFill>
                  <a:srgbClr val="0078D4"/>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50" name="Freeform 7">
                  <a:extLst>
                    <a:ext uri="{FF2B5EF4-FFF2-40B4-BE49-F238E27FC236}">
                      <a16:creationId xmlns:a16="http://schemas.microsoft.com/office/drawing/2014/main" id="{A918BF2B-9043-4A1C-9838-FDA40C2A1CA1}"/>
                    </a:ext>
                  </a:extLst>
                </p:cNvPr>
                <p:cNvSpPr>
                  <a:spLocks/>
                </p:cNvSpPr>
                <p:nvPr/>
              </p:nvSpPr>
              <p:spPr bwMode="auto">
                <a:xfrm>
                  <a:off x="6396" y="3560"/>
                  <a:ext cx="20" cy="50"/>
                </a:xfrm>
                <a:custGeom>
                  <a:avLst/>
                  <a:gdLst>
                    <a:gd name="T0" fmla="*/ 27 w 27"/>
                    <a:gd name="T1" fmla="*/ 0 h 68"/>
                    <a:gd name="T2" fmla="*/ 27 w 27"/>
                    <a:gd name="T3" fmla="*/ 0 h 68"/>
                    <a:gd name="T4" fmla="*/ 0 w 27"/>
                    <a:gd name="T5" fmla="*/ 0 h 68"/>
                    <a:gd name="T6" fmla="*/ 0 w 27"/>
                    <a:gd name="T7" fmla="*/ 68 h 68"/>
                    <a:gd name="T8" fmla="*/ 27 w 27"/>
                    <a:gd name="T9" fmla="*/ 68 h 68"/>
                    <a:gd name="T10" fmla="*/ 27 w 27"/>
                    <a:gd name="T11" fmla="*/ 0 h 68"/>
                  </a:gdLst>
                  <a:ahLst/>
                  <a:cxnLst>
                    <a:cxn ang="0">
                      <a:pos x="T0" y="T1"/>
                    </a:cxn>
                    <a:cxn ang="0">
                      <a:pos x="T2" y="T3"/>
                    </a:cxn>
                    <a:cxn ang="0">
                      <a:pos x="T4" y="T5"/>
                    </a:cxn>
                    <a:cxn ang="0">
                      <a:pos x="T6" y="T7"/>
                    </a:cxn>
                    <a:cxn ang="0">
                      <a:pos x="T8" y="T9"/>
                    </a:cxn>
                    <a:cxn ang="0">
                      <a:pos x="T10" y="T11"/>
                    </a:cxn>
                  </a:cxnLst>
                  <a:rect l="0" t="0" r="r" b="b"/>
                  <a:pathLst>
                    <a:path w="27" h="68">
                      <a:moveTo>
                        <a:pt x="27" y="0"/>
                      </a:moveTo>
                      <a:lnTo>
                        <a:pt x="27" y="0"/>
                      </a:lnTo>
                      <a:lnTo>
                        <a:pt x="0" y="0"/>
                      </a:lnTo>
                      <a:lnTo>
                        <a:pt x="0" y="68"/>
                      </a:lnTo>
                      <a:lnTo>
                        <a:pt x="27" y="68"/>
                      </a:lnTo>
                      <a:lnTo>
                        <a:pt x="27" y="0"/>
                      </a:lnTo>
                      <a:close/>
                    </a:path>
                  </a:pathLst>
                </a:custGeom>
                <a:solidFill>
                  <a:srgbClr val="0078D4"/>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51" name="Freeform 8">
                  <a:extLst>
                    <a:ext uri="{FF2B5EF4-FFF2-40B4-BE49-F238E27FC236}">
                      <a16:creationId xmlns:a16="http://schemas.microsoft.com/office/drawing/2014/main" id="{14D8E7F1-8827-477F-AFAF-7E8976EB1C58}"/>
                    </a:ext>
                  </a:extLst>
                </p:cNvPr>
                <p:cNvSpPr>
                  <a:spLocks/>
                </p:cNvSpPr>
                <p:nvPr/>
              </p:nvSpPr>
              <p:spPr bwMode="auto">
                <a:xfrm>
                  <a:off x="6455" y="3355"/>
                  <a:ext cx="60" cy="255"/>
                </a:xfrm>
                <a:custGeom>
                  <a:avLst/>
                  <a:gdLst>
                    <a:gd name="T0" fmla="*/ 82 w 82"/>
                    <a:gd name="T1" fmla="*/ 348 h 348"/>
                    <a:gd name="T2" fmla="*/ 82 w 82"/>
                    <a:gd name="T3" fmla="*/ 348 h 348"/>
                    <a:gd name="T4" fmla="*/ 82 w 82"/>
                    <a:gd name="T5" fmla="*/ 82 h 348"/>
                    <a:gd name="T6" fmla="*/ 0 w 82"/>
                    <a:gd name="T7" fmla="*/ 0 h 348"/>
                    <a:gd name="T8" fmla="*/ 0 w 82"/>
                    <a:gd name="T9" fmla="*/ 90 h 348"/>
                    <a:gd name="T10" fmla="*/ 27 w 82"/>
                    <a:gd name="T11" fmla="*/ 90 h 348"/>
                    <a:gd name="T12" fmla="*/ 27 w 82"/>
                    <a:gd name="T13" fmla="*/ 348 h 348"/>
                    <a:gd name="T14" fmla="*/ 82 w 82"/>
                    <a:gd name="T15" fmla="*/ 348 h 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348">
                      <a:moveTo>
                        <a:pt x="82" y="348"/>
                      </a:moveTo>
                      <a:lnTo>
                        <a:pt x="82" y="348"/>
                      </a:lnTo>
                      <a:lnTo>
                        <a:pt x="82" y="82"/>
                      </a:lnTo>
                      <a:lnTo>
                        <a:pt x="0" y="0"/>
                      </a:lnTo>
                      <a:lnTo>
                        <a:pt x="0" y="90"/>
                      </a:lnTo>
                      <a:lnTo>
                        <a:pt x="27" y="90"/>
                      </a:lnTo>
                      <a:lnTo>
                        <a:pt x="27" y="348"/>
                      </a:lnTo>
                      <a:lnTo>
                        <a:pt x="82" y="348"/>
                      </a:lnTo>
                      <a:close/>
                    </a:path>
                  </a:pathLst>
                </a:custGeom>
                <a:solidFill>
                  <a:srgbClr val="0078D4"/>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52" name="Freeform 9">
                  <a:extLst>
                    <a:ext uri="{FF2B5EF4-FFF2-40B4-BE49-F238E27FC236}">
                      <a16:creationId xmlns:a16="http://schemas.microsoft.com/office/drawing/2014/main" id="{076B87BE-740F-46F7-B1ED-6919019BC44D}"/>
                    </a:ext>
                  </a:extLst>
                </p:cNvPr>
                <p:cNvSpPr>
                  <a:spLocks/>
                </p:cNvSpPr>
                <p:nvPr/>
              </p:nvSpPr>
              <p:spPr bwMode="auto">
                <a:xfrm>
                  <a:off x="6296" y="3460"/>
                  <a:ext cx="20" cy="2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rgbClr val="50E6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53" name="Freeform 10">
                  <a:extLst>
                    <a:ext uri="{FF2B5EF4-FFF2-40B4-BE49-F238E27FC236}">
                      <a16:creationId xmlns:a16="http://schemas.microsoft.com/office/drawing/2014/main" id="{CA0F4D32-5E34-48DA-9B9D-D83B0D4606D8}"/>
                    </a:ext>
                  </a:extLst>
                </p:cNvPr>
                <p:cNvSpPr>
                  <a:spLocks/>
                </p:cNvSpPr>
                <p:nvPr/>
              </p:nvSpPr>
              <p:spPr bwMode="auto">
                <a:xfrm>
                  <a:off x="6376" y="3500"/>
                  <a:ext cx="20" cy="20"/>
                </a:xfrm>
                <a:custGeom>
                  <a:avLst/>
                  <a:gdLst>
                    <a:gd name="T0" fmla="*/ 0 w 27"/>
                    <a:gd name="T1" fmla="*/ 28 h 28"/>
                    <a:gd name="T2" fmla="*/ 0 w 27"/>
                    <a:gd name="T3" fmla="*/ 28 h 28"/>
                    <a:gd name="T4" fmla="*/ 27 w 27"/>
                    <a:gd name="T5" fmla="*/ 28 h 28"/>
                    <a:gd name="T6" fmla="*/ 27 w 27"/>
                    <a:gd name="T7" fmla="*/ 0 h 28"/>
                    <a:gd name="T8" fmla="*/ 0 w 27"/>
                    <a:gd name="T9" fmla="*/ 0 h 28"/>
                    <a:gd name="T10" fmla="*/ 0 w 27"/>
                    <a:gd name="T11" fmla="*/ 28 h 28"/>
                  </a:gdLst>
                  <a:ahLst/>
                  <a:cxnLst>
                    <a:cxn ang="0">
                      <a:pos x="T0" y="T1"/>
                    </a:cxn>
                    <a:cxn ang="0">
                      <a:pos x="T2" y="T3"/>
                    </a:cxn>
                    <a:cxn ang="0">
                      <a:pos x="T4" y="T5"/>
                    </a:cxn>
                    <a:cxn ang="0">
                      <a:pos x="T6" y="T7"/>
                    </a:cxn>
                    <a:cxn ang="0">
                      <a:pos x="T8" y="T9"/>
                    </a:cxn>
                    <a:cxn ang="0">
                      <a:pos x="T10" y="T11"/>
                    </a:cxn>
                  </a:cxnLst>
                  <a:rect l="0" t="0" r="r" b="b"/>
                  <a:pathLst>
                    <a:path w="27" h="28">
                      <a:moveTo>
                        <a:pt x="0" y="28"/>
                      </a:moveTo>
                      <a:lnTo>
                        <a:pt x="0" y="28"/>
                      </a:lnTo>
                      <a:lnTo>
                        <a:pt x="27" y="28"/>
                      </a:lnTo>
                      <a:lnTo>
                        <a:pt x="27" y="0"/>
                      </a:lnTo>
                      <a:lnTo>
                        <a:pt x="0" y="0"/>
                      </a:lnTo>
                      <a:lnTo>
                        <a:pt x="0" y="28"/>
                      </a:lnTo>
                      <a:close/>
                    </a:path>
                  </a:pathLst>
                </a:custGeom>
                <a:solidFill>
                  <a:srgbClr val="50E6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54" name="Freeform 11">
                  <a:extLst>
                    <a:ext uri="{FF2B5EF4-FFF2-40B4-BE49-F238E27FC236}">
                      <a16:creationId xmlns:a16="http://schemas.microsoft.com/office/drawing/2014/main" id="{3964DAB5-17C9-4A94-A12A-659C7A6FE71A}"/>
                    </a:ext>
                  </a:extLst>
                </p:cNvPr>
                <p:cNvSpPr>
                  <a:spLocks/>
                </p:cNvSpPr>
                <p:nvPr/>
              </p:nvSpPr>
              <p:spPr bwMode="auto">
                <a:xfrm>
                  <a:off x="6416" y="3460"/>
                  <a:ext cx="20" cy="20"/>
                </a:xfrm>
                <a:custGeom>
                  <a:avLst/>
                  <a:gdLst>
                    <a:gd name="T0" fmla="*/ 27 w 27"/>
                    <a:gd name="T1" fmla="*/ 0 h 27"/>
                    <a:gd name="T2" fmla="*/ 27 w 27"/>
                    <a:gd name="T3" fmla="*/ 0 h 27"/>
                    <a:gd name="T4" fmla="*/ 0 w 27"/>
                    <a:gd name="T5" fmla="*/ 0 h 27"/>
                    <a:gd name="T6" fmla="*/ 0 w 27"/>
                    <a:gd name="T7" fmla="*/ 27 h 27"/>
                    <a:gd name="T8" fmla="*/ 27 w 27"/>
                    <a:gd name="T9" fmla="*/ 27 h 27"/>
                    <a:gd name="T10" fmla="*/ 27 w 27"/>
                    <a:gd name="T11" fmla="*/ 0 h 27"/>
                  </a:gdLst>
                  <a:ahLst/>
                  <a:cxnLst>
                    <a:cxn ang="0">
                      <a:pos x="T0" y="T1"/>
                    </a:cxn>
                    <a:cxn ang="0">
                      <a:pos x="T2" y="T3"/>
                    </a:cxn>
                    <a:cxn ang="0">
                      <a:pos x="T4" y="T5"/>
                    </a:cxn>
                    <a:cxn ang="0">
                      <a:pos x="T6" y="T7"/>
                    </a:cxn>
                    <a:cxn ang="0">
                      <a:pos x="T8" y="T9"/>
                    </a:cxn>
                    <a:cxn ang="0">
                      <a:pos x="T10" y="T11"/>
                    </a:cxn>
                  </a:cxnLst>
                  <a:rect l="0" t="0" r="r" b="b"/>
                  <a:pathLst>
                    <a:path w="27" h="27">
                      <a:moveTo>
                        <a:pt x="27" y="0"/>
                      </a:moveTo>
                      <a:lnTo>
                        <a:pt x="27" y="0"/>
                      </a:lnTo>
                      <a:lnTo>
                        <a:pt x="0" y="0"/>
                      </a:lnTo>
                      <a:lnTo>
                        <a:pt x="0" y="27"/>
                      </a:lnTo>
                      <a:lnTo>
                        <a:pt x="27" y="27"/>
                      </a:lnTo>
                      <a:lnTo>
                        <a:pt x="27" y="0"/>
                      </a:lnTo>
                      <a:close/>
                    </a:path>
                  </a:pathLst>
                </a:custGeom>
                <a:solidFill>
                  <a:srgbClr val="50E6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grpSp>
      <p:cxnSp>
        <p:nvCxnSpPr>
          <p:cNvPr id="155" name="Straight Connector 154">
            <a:extLst>
              <a:ext uri="{FF2B5EF4-FFF2-40B4-BE49-F238E27FC236}">
                <a16:creationId xmlns:a16="http://schemas.microsoft.com/office/drawing/2014/main" id="{B1A7A6F9-B73E-4E45-B883-98ED00305FAF}"/>
              </a:ext>
            </a:extLst>
          </p:cNvPr>
          <p:cNvCxnSpPr>
            <a:cxnSpLocks/>
          </p:cNvCxnSpPr>
          <p:nvPr/>
        </p:nvCxnSpPr>
        <p:spPr>
          <a:xfrm>
            <a:off x="8013159" y="1534254"/>
            <a:ext cx="0" cy="2672564"/>
          </a:xfrm>
          <a:prstGeom prst="line">
            <a:avLst/>
          </a:prstGeom>
          <a:noFill/>
          <a:ln w="6350" cap="flat" cmpd="sng" algn="ctr">
            <a:solidFill>
              <a:srgbClr val="002050"/>
            </a:solidFill>
            <a:prstDash val="solid"/>
            <a:headEnd type="none"/>
            <a:tailEnd type="none"/>
          </a:ln>
          <a:effectLst/>
        </p:spPr>
      </p:cxnSp>
      <p:cxnSp>
        <p:nvCxnSpPr>
          <p:cNvPr id="156" name="Straight Connector 155">
            <a:extLst>
              <a:ext uri="{FF2B5EF4-FFF2-40B4-BE49-F238E27FC236}">
                <a16:creationId xmlns:a16="http://schemas.microsoft.com/office/drawing/2014/main" id="{E8F39CC5-7401-4DDE-AEE0-8EF1114EE8A5}"/>
              </a:ext>
            </a:extLst>
          </p:cNvPr>
          <p:cNvCxnSpPr>
            <a:cxnSpLocks/>
          </p:cNvCxnSpPr>
          <p:nvPr/>
        </p:nvCxnSpPr>
        <p:spPr>
          <a:xfrm flipH="1" flipV="1">
            <a:off x="482615" y="4932149"/>
            <a:ext cx="11509717" cy="590"/>
          </a:xfrm>
          <a:prstGeom prst="line">
            <a:avLst/>
          </a:prstGeom>
          <a:noFill/>
          <a:ln w="6350" cap="flat" cmpd="sng" algn="ctr">
            <a:solidFill>
              <a:srgbClr val="002050"/>
            </a:solidFill>
            <a:prstDash val="solid"/>
            <a:headEnd type="none"/>
            <a:tailEnd type="none"/>
          </a:ln>
          <a:effectLst/>
        </p:spPr>
      </p:cxnSp>
    </p:spTree>
    <p:extLst>
      <p:ext uri="{BB962C8B-B14F-4D97-AF65-F5344CB8AC3E}">
        <p14:creationId xmlns:p14="http://schemas.microsoft.com/office/powerpoint/2010/main" val="15618793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Provisioned compute and serverless meet different need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Optimize compute provisioning and billing for your workload</a:t>
            </a:r>
          </a:p>
          <a:p>
            <a:endParaRPr lang="en-US"/>
          </a:p>
        </p:txBody>
      </p:sp>
      <p:grpSp>
        <p:nvGrpSpPr>
          <p:cNvPr id="23" name="Group 22">
            <a:extLst>
              <a:ext uri="{FF2B5EF4-FFF2-40B4-BE49-F238E27FC236}">
                <a16:creationId xmlns:a16="http://schemas.microsoft.com/office/drawing/2014/main" id="{0DFE7833-72FD-4803-9E99-35F14784A02F}"/>
              </a:ext>
            </a:extLst>
          </p:cNvPr>
          <p:cNvGrpSpPr/>
          <p:nvPr/>
        </p:nvGrpSpPr>
        <p:grpSpPr>
          <a:xfrm>
            <a:off x="752160" y="1587987"/>
            <a:ext cx="4986304" cy="4450708"/>
            <a:chOff x="6647881" y="1544537"/>
            <a:chExt cx="4986304" cy="4450708"/>
          </a:xfrm>
        </p:grpSpPr>
        <p:sp>
          <p:nvSpPr>
            <p:cNvPr id="11" name="Text Placeholder 4">
              <a:extLst>
                <a:ext uri="{FF2B5EF4-FFF2-40B4-BE49-F238E27FC236}">
                  <a16:creationId xmlns:a16="http://schemas.microsoft.com/office/drawing/2014/main" id="{EF7E51C9-97A0-4CB6-9B96-851447BE2000}"/>
                </a:ext>
              </a:extLst>
            </p:cNvPr>
            <p:cNvSpPr txBox="1">
              <a:spLocks/>
            </p:cNvSpPr>
            <p:nvPr/>
          </p:nvSpPr>
          <p:spPr>
            <a:xfrm>
              <a:off x="7082812" y="4112502"/>
              <a:ext cx="4224846" cy="1553169"/>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spcAft>
                  <a:spcPts val="1299"/>
                </a:spcAft>
                <a:defRPr/>
              </a:pPr>
              <a:r>
                <a:rPr lang="en-US" sz="1632">
                  <a:cs typeface="Segoe UI" panose="020B0502040204020203" pitchFamily="34" charset="0"/>
                </a:rPr>
                <a:t>Workloads with regular and substantial compute utilization.</a:t>
              </a:r>
            </a:p>
            <a:p>
              <a:pPr defTabSz="932563">
                <a:spcAft>
                  <a:spcPts val="1299"/>
                </a:spcAft>
                <a:defRPr/>
              </a:pPr>
              <a:r>
                <a:rPr lang="en-US" sz="1632">
                  <a:cs typeface="Segoe UI" panose="020B0502040204020203" pitchFamily="34" charset="0"/>
                </a:rPr>
                <a:t>Multiple databases with </a:t>
              </a:r>
              <a:r>
                <a:rPr lang="en-US" sz="1632" err="1">
                  <a:cs typeface="Segoe UI" panose="020B0502040204020203" pitchFamily="34" charset="0"/>
                </a:rPr>
                <a:t>bursty</a:t>
              </a:r>
              <a:r>
                <a:rPr lang="en-US" sz="1632">
                  <a:cs typeface="Segoe UI" panose="020B0502040204020203" pitchFamily="34" charset="0"/>
                </a:rPr>
                <a:t> usage </a:t>
              </a:r>
              <a:br>
                <a:rPr lang="en-US" sz="1632">
                  <a:cs typeface="Segoe UI" panose="020B0502040204020203" pitchFamily="34" charset="0"/>
                </a:rPr>
              </a:br>
              <a:r>
                <a:rPr lang="en-US" sz="1632">
                  <a:cs typeface="Segoe UI" panose="020B0502040204020203" pitchFamily="34" charset="0"/>
                </a:rPr>
                <a:t>patterns that can be consolidated into a </a:t>
              </a:r>
              <a:br>
                <a:rPr lang="en-US" sz="1632">
                  <a:cs typeface="Segoe UI" panose="020B0502040204020203" pitchFamily="34" charset="0"/>
                </a:rPr>
              </a:br>
              <a:r>
                <a:rPr lang="en-US" sz="1632">
                  <a:cs typeface="Segoe UI" panose="020B0502040204020203" pitchFamily="34" charset="0"/>
                </a:rPr>
                <a:t>single server and use </a:t>
              </a:r>
              <a:r>
                <a:rPr lang="en-US" sz="1632" i="1">
                  <a:cs typeface="Segoe UI" panose="020B0502040204020203" pitchFamily="34" charset="0"/>
                </a:rPr>
                <a:t>elastic pools </a:t>
              </a:r>
              <a:r>
                <a:rPr lang="en-US" sz="1632">
                  <a:cs typeface="Segoe UI" panose="020B0502040204020203" pitchFamily="34" charset="0"/>
                </a:rPr>
                <a:t>for </a:t>
              </a:r>
              <a:br>
                <a:rPr lang="en-US" sz="1632">
                  <a:cs typeface="Segoe UI" panose="020B0502040204020203" pitchFamily="34" charset="0"/>
                </a:rPr>
              </a:br>
              <a:r>
                <a:rPr lang="en-US" sz="1632">
                  <a:cs typeface="Segoe UI" panose="020B0502040204020203" pitchFamily="34" charset="0"/>
                </a:rPr>
                <a:t>better price optimization.</a:t>
              </a:r>
            </a:p>
          </p:txBody>
        </p:sp>
        <p:sp>
          <p:nvSpPr>
            <p:cNvPr id="12" name="Text Placeholder 4">
              <a:extLst>
                <a:ext uri="{FF2B5EF4-FFF2-40B4-BE49-F238E27FC236}">
                  <a16:creationId xmlns:a16="http://schemas.microsoft.com/office/drawing/2014/main" id="{CE3117BB-2D4A-4742-AFB1-E57C2D4357B4}"/>
                </a:ext>
              </a:extLst>
            </p:cNvPr>
            <p:cNvSpPr txBox="1">
              <a:spLocks/>
            </p:cNvSpPr>
            <p:nvPr/>
          </p:nvSpPr>
          <p:spPr>
            <a:xfrm>
              <a:off x="7082812" y="3702971"/>
              <a:ext cx="4499044" cy="230524"/>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spcAft>
                  <a:spcPts val="1299"/>
                </a:spcAft>
                <a:defRPr/>
              </a:pPr>
              <a:r>
                <a:rPr lang="en-US" sz="1632" b="1">
                  <a:solidFill>
                    <a:srgbClr val="0078D4"/>
                  </a:solidFill>
                  <a:latin typeface="Segoe UI Semibold"/>
                </a:rPr>
                <a:t>Common scenarios  </a:t>
              </a:r>
            </a:p>
          </p:txBody>
        </p:sp>
        <p:sp>
          <p:nvSpPr>
            <p:cNvPr id="13" name="Text Placeholder 4">
              <a:extLst>
                <a:ext uri="{FF2B5EF4-FFF2-40B4-BE49-F238E27FC236}">
                  <a16:creationId xmlns:a16="http://schemas.microsoft.com/office/drawing/2014/main" id="{BA28DA39-E18C-484E-83ED-01A92ED4457E}"/>
                </a:ext>
              </a:extLst>
            </p:cNvPr>
            <p:cNvSpPr txBox="1">
              <a:spLocks/>
            </p:cNvSpPr>
            <p:nvPr/>
          </p:nvSpPr>
          <p:spPr>
            <a:xfrm>
              <a:off x="7082812" y="2364542"/>
              <a:ext cx="3536166" cy="631077"/>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1299"/>
                </a:spcAft>
                <a:buClrTx/>
                <a:buSzPct val="90000"/>
                <a:buFont typeface="Wingdings" panose="05000000000000000000" pitchFamily="2" charset="2"/>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mn-cs"/>
                </a:rPr>
                <a:t>Provision compute resources upfront.</a:t>
              </a:r>
            </a:p>
            <a:p>
              <a:pPr marL="0" marR="0" lvl="0" indent="0" algn="l" defTabSz="932563" rtl="0" eaLnBrk="1" fontAlgn="auto" latinLnBrk="0" hangingPunct="1">
                <a:lnSpc>
                  <a:spcPct val="90000"/>
                </a:lnSpc>
                <a:spcBef>
                  <a:spcPts val="0"/>
                </a:spcBef>
                <a:spcAft>
                  <a:spcPts val="1299"/>
                </a:spcAft>
                <a:buClrTx/>
                <a:buSzPct val="90000"/>
                <a:buFont typeface="Wingdings" panose="05000000000000000000" pitchFamily="2" charset="2"/>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mn-cs"/>
                </a:rPr>
                <a:t>Bill on an hourly basis.</a:t>
              </a:r>
              <a:endParaRPr kumimoji="0" lang="en-US" sz="1632" b="1" i="0" u="none" strike="noStrike" kern="1200" cap="none" spc="0" normalizeH="0" baseline="0" noProof="0">
                <a:ln>
                  <a:noFill/>
                </a:ln>
                <a:solidFill>
                  <a:srgbClr val="000000"/>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B609B650-4DF8-4A46-94AC-7AB92DD0DD0A}"/>
                </a:ext>
              </a:extLst>
            </p:cNvPr>
            <p:cNvSpPr/>
            <p:nvPr/>
          </p:nvSpPr>
          <p:spPr bwMode="auto">
            <a:xfrm>
              <a:off x="6647881" y="1544537"/>
              <a:ext cx="4986304" cy="565027"/>
            </a:xfrm>
            <a:prstGeom prst="rect">
              <a:avLst/>
            </a:prstGeom>
            <a:solidFill>
              <a:srgbClr val="0078D7"/>
            </a:solid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040" b="1" i="0" u="none" strike="noStrike" kern="0" cap="none" spc="0" normalizeH="0" baseline="0" noProof="0">
                  <a:ln>
                    <a:noFill/>
                  </a:ln>
                  <a:solidFill>
                    <a:srgbClr val="FFFFFF"/>
                  </a:solidFill>
                  <a:effectLst/>
                  <a:uLnTx/>
                  <a:uFillTx/>
                  <a:latin typeface="Segoe UI Semibold" panose="020B0502040204020203" pitchFamily="34" charset="0"/>
                  <a:ea typeface="Segoe UI" pitchFamily="34" charset="0"/>
                  <a:cs typeface="Segoe UI Semibold" panose="020B0502040204020203" pitchFamily="34" charset="0"/>
                </a:rPr>
                <a:t> </a:t>
              </a:r>
              <a:endParaRPr kumimoji="0" lang="en-US" sz="2040" b="1" i="0" u="none" strike="noStrike" kern="0" cap="none" spc="0" normalizeH="0" baseline="30000" noProof="0">
                <a:ln>
                  <a:noFill/>
                </a:ln>
                <a:solidFill>
                  <a:srgbClr val="FFFFFF"/>
                </a:solidFill>
                <a:effectLst/>
                <a:uLnTx/>
                <a:uFillTx/>
                <a:latin typeface="Segoe UI"/>
                <a:ea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3C464D10-9567-4B14-8189-0DE2B7DAF07F}"/>
                </a:ext>
              </a:extLst>
            </p:cNvPr>
            <p:cNvSpPr/>
            <p:nvPr/>
          </p:nvSpPr>
          <p:spPr>
            <a:xfrm>
              <a:off x="6979195" y="1654403"/>
              <a:ext cx="4551373" cy="350330"/>
            </a:xfrm>
            <a:prstGeom prst="rect">
              <a:avLst/>
            </a:prstGeom>
          </p:spPr>
          <p:txBody>
            <a:bodyPr wrap="square">
              <a:spAutoFit/>
            </a:bodyPr>
            <a:lstStyle/>
            <a:p>
              <a:pPr defTabSz="932597">
                <a:defRPr/>
              </a:pPr>
              <a:r>
                <a:rPr lang="en-US" sz="1632">
                  <a:solidFill>
                    <a:srgbClr val="FFFFFF"/>
                  </a:solidFill>
                  <a:latin typeface="Segoe UI Semibold" panose="020B0502040204020203" pitchFamily="34" charset="0"/>
                  <a:cs typeface="Segoe UI Semibold" panose="020B0502040204020203" pitchFamily="34" charset="0"/>
                </a:rPr>
                <a:t>Databases with provisioned compute…</a:t>
              </a:r>
            </a:p>
          </p:txBody>
        </p:sp>
        <p:sp>
          <p:nvSpPr>
            <p:cNvPr id="16" name="Rectangle 15">
              <a:extLst>
                <a:ext uri="{FF2B5EF4-FFF2-40B4-BE49-F238E27FC236}">
                  <a16:creationId xmlns:a16="http://schemas.microsoft.com/office/drawing/2014/main" id="{D98DF606-3F54-495A-A4A7-0BB443098D6F}"/>
                </a:ext>
              </a:extLst>
            </p:cNvPr>
            <p:cNvSpPr/>
            <p:nvPr/>
          </p:nvSpPr>
          <p:spPr bwMode="auto">
            <a:xfrm>
              <a:off x="6647881" y="1544537"/>
              <a:ext cx="4986304" cy="445070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987B2E9A-BBD2-453E-A030-7EF4917AC83A}"/>
                </a:ext>
              </a:extLst>
            </p:cNvPr>
            <p:cNvGrpSpPr/>
            <p:nvPr/>
          </p:nvGrpSpPr>
          <p:grpSpPr>
            <a:xfrm>
              <a:off x="10690457" y="5313463"/>
              <a:ext cx="617201" cy="621736"/>
              <a:chOff x="1195754" y="1309635"/>
              <a:chExt cx="605154" cy="609600"/>
            </a:xfrm>
          </p:grpSpPr>
          <p:sp>
            <p:nvSpPr>
              <p:cNvPr id="18" name="Freeform 11">
                <a:extLst>
                  <a:ext uri="{FF2B5EF4-FFF2-40B4-BE49-F238E27FC236}">
                    <a16:creationId xmlns:a16="http://schemas.microsoft.com/office/drawing/2014/main" id="{23612D97-E6BA-48A9-BFCD-53ED15708185}"/>
                  </a:ext>
                </a:extLst>
              </p:cNvPr>
              <p:cNvSpPr/>
              <p:nvPr/>
            </p:nvSpPr>
            <p:spPr bwMode="auto">
              <a:xfrm>
                <a:off x="1195754" y="1309635"/>
                <a:ext cx="605154" cy="609600"/>
              </a:xfrm>
              <a:custGeom>
                <a:avLst/>
                <a:gdLst>
                  <a:gd name="connsiteX0" fmla="*/ 0 w 669890"/>
                  <a:gd name="connsiteY0" fmla="*/ 0 h 609600"/>
                  <a:gd name="connsiteX1" fmla="*/ 0 w 669890"/>
                  <a:gd name="connsiteY1" fmla="*/ 609600 h 609600"/>
                  <a:gd name="connsiteX2" fmla="*/ 669890 w 669890"/>
                  <a:gd name="connsiteY2" fmla="*/ 609600 h 609600"/>
                  <a:gd name="connsiteX0" fmla="*/ 0 w 605154"/>
                  <a:gd name="connsiteY0" fmla="*/ 0 h 609600"/>
                  <a:gd name="connsiteX1" fmla="*/ 0 w 605154"/>
                  <a:gd name="connsiteY1" fmla="*/ 609600 h 609600"/>
                  <a:gd name="connsiteX2" fmla="*/ 605154 w 605154"/>
                  <a:gd name="connsiteY2" fmla="*/ 605554 h 609600"/>
                </a:gdLst>
                <a:ahLst/>
                <a:cxnLst>
                  <a:cxn ang="0">
                    <a:pos x="connsiteX0" y="connsiteY0"/>
                  </a:cxn>
                  <a:cxn ang="0">
                    <a:pos x="connsiteX1" y="connsiteY1"/>
                  </a:cxn>
                  <a:cxn ang="0">
                    <a:pos x="connsiteX2" y="connsiteY2"/>
                  </a:cxn>
                </a:cxnLst>
                <a:rect l="l" t="t" r="r" b="b"/>
                <a:pathLst>
                  <a:path w="605154" h="609600">
                    <a:moveTo>
                      <a:pt x="0" y="0"/>
                    </a:moveTo>
                    <a:lnTo>
                      <a:pt x="0" y="609600"/>
                    </a:lnTo>
                    <a:lnTo>
                      <a:pt x="605154" y="605554"/>
                    </a:lnTo>
                  </a:path>
                </a:pathLst>
              </a:custGeom>
              <a:noFill/>
              <a:ln w="25400" cap="flat" cmpd="sng" algn="ctr">
                <a:solidFill>
                  <a:srgbClr val="002050"/>
                </a:solidFill>
                <a:prstDash val="solid"/>
                <a:headEnd type="none" w="med" len="med"/>
                <a:tailEnd type="non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19" name="Freeform 13">
                <a:extLst>
                  <a:ext uri="{FF2B5EF4-FFF2-40B4-BE49-F238E27FC236}">
                    <a16:creationId xmlns:a16="http://schemas.microsoft.com/office/drawing/2014/main" id="{B6C34BA0-8C02-4E1F-AA9E-5502753B5E58}"/>
                  </a:ext>
                </a:extLst>
              </p:cNvPr>
              <p:cNvSpPr/>
              <p:nvPr/>
            </p:nvSpPr>
            <p:spPr bwMode="auto">
              <a:xfrm>
                <a:off x="1256165" y="1387724"/>
                <a:ext cx="544743" cy="45719"/>
              </a:xfrm>
              <a:custGeom>
                <a:avLst/>
                <a:gdLst>
                  <a:gd name="connsiteX0" fmla="*/ 0 w 415332"/>
                  <a:gd name="connsiteY0" fmla="*/ 36890 h 43822"/>
                  <a:gd name="connsiteX1" fmla="*/ 137327 w 415332"/>
                  <a:gd name="connsiteY1" fmla="*/ 46 h 43822"/>
                  <a:gd name="connsiteX2" fmla="*/ 264606 w 415332"/>
                  <a:gd name="connsiteY2" fmla="*/ 43588 h 43822"/>
                  <a:gd name="connsiteX3" fmla="*/ 388536 w 415332"/>
                  <a:gd name="connsiteY3" fmla="*/ 16793 h 43822"/>
                  <a:gd name="connsiteX4" fmla="*/ 415332 w 415332"/>
                  <a:gd name="connsiteY4" fmla="*/ 3395 h 43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332" h="43822">
                    <a:moveTo>
                      <a:pt x="0" y="36890"/>
                    </a:moveTo>
                    <a:cubicBezTo>
                      <a:pt x="46613" y="17910"/>
                      <a:pt x="93226" y="-1070"/>
                      <a:pt x="137327" y="46"/>
                    </a:cubicBezTo>
                    <a:cubicBezTo>
                      <a:pt x="181428" y="1162"/>
                      <a:pt x="222738" y="40797"/>
                      <a:pt x="264606" y="43588"/>
                    </a:cubicBezTo>
                    <a:cubicBezTo>
                      <a:pt x="306474" y="46379"/>
                      <a:pt x="363415" y="23492"/>
                      <a:pt x="388536" y="16793"/>
                    </a:cubicBezTo>
                    <a:cubicBezTo>
                      <a:pt x="413657" y="10094"/>
                      <a:pt x="414494" y="6744"/>
                      <a:pt x="415332" y="3395"/>
                    </a:cubicBezTo>
                  </a:path>
                </a:pathLst>
              </a:custGeom>
              <a:noFill/>
              <a:ln w="25400" cap="flat" cmpd="sng" algn="ctr">
                <a:solidFill>
                  <a:srgbClr val="002050"/>
                </a:solidFill>
                <a:prstDash val="solid"/>
                <a:headEnd type="none" w="med" len="med"/>
                <a:tailEnd type="triangl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grpSp>
        <p:nvGrpSpPr>
          <p:cNvPr id="4" name="Group 3">
            <a:extLst>
              <a:ext uri="{FF2B5EF4-FFF2-40B4-BE49-F238E27FC236}">
                <a16:creationId xmlns:a16="http://schemas.microsoft.com/office/drawing/2014/main" id="{957ED5CB-6464-41BF-9339-7EFE0C076FE7}"/>
              </a:ext>
            </a:extLst>
          </p:cNvPr>
          <p:cNvGrpSpPr/>
          <p:nvPr/>
        </p:nvGrpSpPr>
        <p:grpSpPr>
          <a:xfrm>
            <a:off x="6449941" y="1600864"/>
            <a:ext cx="4989899" cy="4450708"/>
            <a:chOff x="923390" y="1544537"/>
            <a:chExt cx="4989899" cy="4450708"/>
          </a:xfrm>
        </p:grpSpPr>
        <p:sp>
          <p:nvSpPr>
            <p:cNvPr id="5" name="Rectangle 4">
              <a:extLst>
                <a:ext uri="{FF2B5EF4-FFF2-40B4-BE49-F238E27FC236}">
                  <a16:creationId xmlns:a16="http://schemas.microsoft.com/office/drawing/2014/main" id="{5E5054A8-068C-4039-9AD0-83B203203CF3}"/>
                </a:ext>
              </a:extLst>
            </p:cNvPr>
            <p:cNvSpPr/>
            <p:nvPr/>
          </p:nvSpPr>
          <p:spPr bwMode="auto">
            <a:xfrm>
              <a:off x="926985" y="1551778"/>
              <a:ext cx="4986304" cy="565027"/>
            </a:xfrm>
            <a:prstGeom prst="rect">
              <a:avLst/>
            </a:prstGeom>
            <a:solidFill>
              <a:srgbClr val="0078D4"/>
            </a:solid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040" b="1" i="0" u="none" strike="noStrike" kern="0" cap="none" spc="0" normalizeH="0" baseline="0" noProof="0">
                  <a:ln>
                    <a:noFill/>
                  </a:ln>
                  <a:solidFill>
                    <a:srgbClr val="50E6FF"/>
                  </a:solidFill>
                  <a:effectLst/>
                  <a:uLnTx/>
                  <a:uFillTx/>
                  <a:latin typeface="Segoe UI Semibold" panose="020B0502040204020203" pitchFamily="34" charset="0"/>
                  <a:ea typeface="Segoe UI" pitchFamily="34" charset="0"/>
                  <a:cs typeface="Segoe UI Semibold" panose="020B0502040204020203" pitchFamily="34" charset="0"/>
                </a:rPr>
                <a:t> </a:t>
              </a:r>
              <a:endParaRPr kumimoji="0" lang="en-US" sz="2040" b="1" i="0" u="none" strike="noStrike" kern="0" cap="none" spc="0" normalizeH="0" baseline="30000" noProof="0">
                <a:ln>
                  <a:noFill/>
                </a:ln>
                <a:solidFill>
                  <a:srgbClr val="50E6FF"/>
                </a:solidFill>
                <a:effectLst/>
                <a:uLnTx/>
                <a:uFillTx/>
                <a:latin typeface="Segoe UI"/>
                <a:ea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9354CD68-1845-414D-9177-CF6F27DEE6C8}"/>
                </a:ext>
              </a:extLst>
            </p:cNvPr>
            <p:cNvSpPr/>
            <p:nvPr/>
          </p:nvSpPr>
          <p:spPr bwMode="auto">
            <a:xfrm>
              <a:off x="923390" y="1544537"/>
              <a:ext cx="4986304" cy="4450708"/>
            </a:xfrm>
            <a:prstGeom prst="rect">
              <a:avLst/>
            </a:prstGeom>
            <a:no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EB1C2D44-8D47-49D0-A313-EE015A33F673}"/>
                </a:ext>
              </a:extLst>
            </p:cNvPr>
            <p:cNvSpPr txBox="1">
              <a:spLocks/>
            </p:cNvSpPr>
            <p:nvPr/>
          </p:nvSpPr>
          <p:spPr>
            <a:xfrm>
              <a:off x="1260486" y="4104576"/>
              <a:ext cx="4399210" cy="1322647"/>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spcAft>
                  <a:spcPts val="1299"/>
                </a:spcAft>
                <a:defRPr/>
              </a:pPr>
              <a:r>
                <a:rPr lang="en-US" sz="1632">
                  <a:cs typeface="Segoe UI" panose="020B0502040204020203" pitchFamily="34" charset="0"/>
                </a:rPr>
                <a:t>Workloads with unpredictable and intermittent usage patterns or performance requirements .</a:t>
              </a:r>
            </a:p>
            <a:p>
              <a:pPr defTabSz="932563">
                <a:spcAft>
                  <a:spcPts val="1299"/>
                </a:spcAft>
                <a:defRPr/>
              </a:pPr>
              <a:r>
                <a:rPr lang="en-US" sz="1632">
                  <a:cs typeface="Segoe UI" panose="020B0502040204020203" pitchFamily="34" charset="0"/>
                </a:rPr>
                <a:t>Workloads where the requirements are unknown, and you can delegate compute sizing to the service. </a:t>
              </a:r>
            </a:p>
          </p:txBody>
        </p:sp>
        <p:sp>
          <p:nvSpPr>
            <p:cNvPr id="8" name="Text Placeholder 4">
              <a:extLst>
                <a:ext uri="{FF2B5EF4-FFF2-40B4-BE49-F238E27FC236}">
                  <a16:creationId xmlns:a16="http://schemas.microsoft.com/office/drawing/2014/main" id="{F5D37C52-D790-4006-9F4E-701747614A1F}"/>
                </a:ext>
              </a:extLst>
            </p:cNvPr>
            <p:cNvSpPr txBox="1">
              <a:spLocks/>
            </p:cNvSpPr>
            <p:nvPr/>
          </p:nvSpPr>
          <p:spPr>
            <a:xfrm>
              <a:off x="1260486" y="3706552"/>
              <a:ext cx="4399211" cy="230524"/>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spcAft>
                  <a:spcPts val="1299"/>
                </a:spcAft>
                <a:defRPr/>
              </a:pPr>
              <a:r>
                <a:rPr lang="en-US" sz="1632" b="1">
                  <a:solidFill>
                    <a:srgbClr val="0078D4"/>
                  </a:solidFill>
                  <a:latin typeface="Segoe UI Semibold"/>
                </a:rPr>
                <a:t>Common scenarios  </a:t>
              </a:r>
            </a:p>
          </p:txBody>
        </p:sp>
        <p:sp>
          <p:nvSpPr>
            <p:cNvPr id="9" name="Text Placeholder 4">
              <a:extLst>
                <a:ext uri="{FF2B5EF4-FFF2-40B4-BE49-F238E27FC236}">
                  <a16:creationId xmlns:a16="http://schemas.microsoft.com/office/drawing/2014/main" id="{737B506D-E62B-44EA-A77C-B6A7A1075A01}"/>
                </a:ext>
              </a:extLst>
            </p:cNvPr>
            <p:cNvSpPr txBox="1">
              <a:spLocks/>
            </p:cNvSpPr>
            <p:nvPr/>
          </p:nvSpPr>
          <p:spPr>
            <a:xfrm>
              <a:off x="1260486" y="2362575"/>
              <a:ext cx="4399211" cy="861600"/>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1299"/>
                </a:spcAft>
                <a:buClrTx/>
                <a:buSzPct val="90000"/>
                <a:buFont typeface="Wingdings" panose="05000000000000000000" pitchFamily="2" charset="2"/>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mn-cs"/>
                </a:rPr>
                <a:t>Scale up or down to meet workload requirements, instead of pre-provisioning.  </a:t>
              </a:r>
            </a:p>
            <a:p>
              <a:pPr marL="0" marR="0" lvl="0" indent="0" algn="l" defTabSz="932563" rtl="0" eaLnBrk="1" fontAlgn="auto" latinLnBrk="0" hangingPunct="1">
                <a:lnSpc>
                  <a:spcPct val="90000"/>
                </a:lnSpc>
                <a:spcBef>
                  <a:spcPts val="0"/>
                </a:spcBef>
                <a:spcAft>
                  <a:spcPts val="1299"/>
                </a:spcAft>
                <a:buClrTx/>
                <a:buSzPct val="90000"/>
                <a:buFont typeface="Wingdings" panose="05000000000000000000" pitchFamily="2" charset="2"/>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mn-cs"/>
                </a:rPr>
                <a:t>Bill on a per-second basis.</a:t>
              </a:r>
            </a:p>
          </p:txBody>
        </p:sp>
        <p:sp>
          <p:nvSpPr>
            <p:cNvPr id="10" name="Rectangle 9">
              <a:extLst>
                <a:ext uri="{FF2B5EF4-FFF2-40B4-BE49-F238E27FC236}">
                  <a16:creationId xmlns:a16="http://schemas.microsoft.com/office/drawing/2014/main" id="{ECF33CC8-CA5C-409F-8DCB-4EDBC558CD57}"/>
                </a:ext>
              </a:extLst>
            </p:cNvPr>
            <p:cNvSpPr/>
            <p:nvPr/>
          </p:nvSpPr>
          <p:spPr>
            <a:xfrm>
              <a:off x="1169189" y="1656193"/>
              <a:ext cx="2347541" cy="350330"/>
            </a:xfrm>
            <a:prstGeom prst="rect">
              <a:avLst/>
            </a:prstGeom>
          </p:spPr>
          <p:txBody>
            <a:bodyPr wrap="none">
              <a:spAutoFit/>
            </a:bodyPr>
            <a:lstStyle/>
            <a:p>
              <a:pPr defTabSz="932597">
                <a:defRPr/>
              </a:pPr>
              <a:r>
                <a:rPr lang="en-US" sz="1632" b="1" dirty="0">
                  <a:solidFill>
                    <a:prstClr val="white"/>
                  </a:solidFill>
                  <a:latin typeface="Segoe UI Semibold"/>
                </a:rPr>
                <a:t>Serverless databases…</a:t>
              </a:r>
            </a:p>
          </p:txBody>
        </p:sp>
        <p:grpSp>
          <p:nvGrpSpPr>
            <p:cNvPr id="20" name="Group 19">
              <a:extLst>
                <a:ext uri="{FF2B5EF4-FFF2-40B4-BE49-F238E27FC236}">
                  <a16:creationId xmlns:a16="http://schemas.microsoft.com/office/drawing/2014/main" id="{F61796CB-F8EC-4E8C-A600-74A83002B88C}"/>
                </a:ext>
              </a:extLst>
            </p:cNvPr>
            <p:cNvGrpSpPr/>
            <p:nvPr/>
          </p:nvGrpSpPr>
          <p:grpSpPr>
            <a:xfrm>
              <a:off x="4814267" y="5283855"/>
              <a:ext cx="617201" cy="621736"/>
              <a:chOff x="3015398" y="3511975"/>
              <a:chExt cx="605154" cy="609600"/>
            </a:xfrm>
          </p:grpSpPr>
          <p:sp>
            <p:nvSpPr>
              <p:cNvPr id="21" name="Freeform 33">
                <a:extLst>
                  <a:ext uri="{FF2B5EF4-FFF2-40B4-BE49-F238E27FC236}">
                    <a16:creationId xmlns:a16="http://schemas.microsoft.com/office/drawing/2014/main" id="{6577D0C0-EF74-4344-B022-E0522975E589}"/>
                  </a:ext>
                </a:extLst>
              </p:cNvPr>
              <p:cNvSpPr/>
              <p:nvPr/>
            </p:nvSpPr>
            <p:spPr bwMode="auto">
              <a:xfrm>
                <a:off x="3015398" y="3511975"/>
                <a:ext cx="605154" cy="609600"/>
              </a:xfrm>
              <a:custGeom>
                <a:avLst/>
                <a:gdLst>
                  <a:gd name="connsiteX0" fmla="*/ 0 w 669890"/>
                  <a:gd name="connsiteY0" fmla="*/ 0 h 609600"/>
                  <a:gd name="connsiteX1" fmla="*/ 0 w 669890"/>
                  <a:gd name="connsiteY1" fmla="*/ 609600 h 609600"/>
                  <a:gd name="connsiteX2" fmla="*/ 669890 w 669890"/>
                  <a:gd name="connsiteY2" fmla="*/ 609600 h 609600"/>
                  <a:gd name="connsiteX0" fmla="*/ 0 w 605154"/>
                  <a:gd name="connsiteY0" fmla="*/ 0 h 609600"/>
                  <a:gd name="connsiteX1" fmla="*/ 0 w 605154"/>
                  <a:gd name="connsiteY1" fmla="*/ 609600 h 609600"/>
                  <a:gd name="connsiteX2" fmla="*/ 605154 w 605154"/>
                  <a:gd name="connsiteY2" fmla="*/ 605554 h 609600"/>
                </a:gdLst>
                <a:ahLst/>
                <a:cxnLst>
                  <a:cxn ang="0">
                    <a:pos x="connsiteX0" y="connsiteY0"/>
                  </a:cxn>
                  <a:cxn ang="0">
                    <a:pos x="connsiteX1" y="connsiteY1"/>
                  </a:cxn>
                  <a:cxn ang="0">
                    <a:pos x="connsiteX2" y="connsiteY2"/>
                  </a:cxn>
                </a:cxnLst>
                <a:rect l="l" t="t" r="r" b="b"/>
                <a:pathLst>
                  <a:path w="605154" h="609600">
                    <a:moveTo>
                      <a:pt x="0" y="0"/>
                    </a:moveTo>
                    <a:lnTo>
                      <a:pt x="0" y="609600"/>
                    </a:lnTo>
                    <a:lnTo>
                      <a:pt x="605154" y="605554"/>
                    </a:lnTo>
                  </a:path>
                </a:pathLst>
              </a:custGeom>
              <a:noFill/>
              <a:ln w="25400" cap="flat" cmpd="sng" algn="ctr">
                <a:solidFill>
                  <a:srgbClr val="002050"/>
                </a:solidFill>
                <a:prstDash val="solid"/>
                <a:headEnd type="none" w="med" len="med"/>
                <a:tailEnd type="non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22" name="Freeform 34">
                <a:extLst>
                  <a:ext uri="{FF2B5EF4-FFF2-40B4-BE49-F238E27FC236}">
                    <a16:creationId xmlns:a16="http://schemas.microsoft.com/office/drawing/2014/main" id="{5C534CA9-B87C-4580-A005-41AD9EAD923B}"/>
                  </a:ext>
                </a:extLst>
              </p:cNvPr>
              <p:cNvSpPr/>
              <p:nvPr/>
            </p:nvSpPr>
            <p:spPr bwMode="auto">
              <a:xfrm>
                <a:off x="3046677" y="3561500"/>
                <a:ext cx="542596" cy="527938"/>
              </a:xfrm>
              <a:custGeom>
                <a:avLst/>
                <a:gdLst>
                  <a:gd name="connsiteX0" fmla="*/ 0 w 485523"/>
                  <a:gd name="connsiteY0" fmla="*/ 525982 h 525982"/>
                  <a:gd name="connsiteX1" fmla="*/ 84967 w 485523"/>
                  <a:gd name="connsiteY1" fmla="*/ 0 h 525982"/>
                  <a:gd name="connsiteX2" fmla="*/ 149703 w 485523"/>
                  <a:gd name="connsiteY2" fmla="*/ 428878 h 525982"/>
                  <a:gd name="connsiteX3" fmla="*/ 206347 w 485523"/>
                  <a:gd name="connsiteY3" fmla="*/ 267037 h 525982"/>
                  <a:gd name="connsiteX4" fmla="*/ 262992 w 485523"/>
                  <a:gd name="connsiteY4" fmla="*/ 445062 h 525982"/>
                  <a:gd name="connsiteX5" fmla="*/ 331774 w 485523"/>
                  <a:gd name="connsiteY5" fmla="*/ 137564 h 525982"/>
                  <a:gd name="connsiteX6" fmla="*/ 400556 w 485523"/>
                  <a:gd name="connsiteY6" fmla="*/ 364141 h 525982"/>
                  <a:gd name="connsiteX7" fmla="*/ 485523 w 485523"/>
                  <a:gd name="connsiteY7" fmla="*/ 218485 h 525982"/>
                  <a:gd name="connsiteX0" fmla="*/ 0 w 468071"/>
                  <a:gd name="connsiteY0" fmla="*/ 521936 h 521936"/>
                  <a:gd name="connsiteX1" fmla="*/ 67515 w 468071"/>
                  <a:gd name="connsiteY1" fmla="*/ 0 h 521936"/>
                  <a:gd name="connsiteX2" fmla="*/ 132251 w 468071"/>
                  <a:gd name="connsiteY2" fmla="*/ 428878 h 521936"/>
                  <a:gd name="connsiteX3" fmla="*/ 188895 w 468071"/>
                  <a:gd name="connsiteY3" fmla="*/ 267037 h 521936"/>
                  <a:gd name="connsiteX4" fmla="*/ 245540 w 468071"/>
                  <a:gd name="connsiteY4" fmla="*/ 445062 h 521936"/>
                  <a:gd name="connsiteX5" fmla="*/ 314322 w 468071"/>
                  <a:gd name="connsiteY5" fmla="*/ 137564 h 521936"/>
                  <a:gd name="connsiteX6" fmla="*/ 383104 w 468071"/>
                  <a:gd name="connsiteY6" fmla="*/ 364141 h 521936"/>
                  <a:gd name="connsiteX7" fmla="*/ 468071 w 468071"/>
                  <a:gd name="connsiteY7" fmla="*/ 218485 h 521936"/>
                  <a:gd name="connsiteX0" fmla="*/ 0 w 468071"/>
                  <a:gd name="connsiteY0" fmla="*/ 521936 h 527938"/>
                  <a:gd name="connsiteX1" fmla="*/ 67515 w 468071"/>
                  <a:gd name="connsiteY1" fmla="*/ 0 h 527938"/>
                  <a:gd name="connsiteX2" fmla="*/ 145398 w 468071"/>
                  <a:gd name="connsiteY2" fmla="*/ 527938 h 527938"/>
                  <a:gd name="connsiteX3" fmla="*/ 188895 w 468071"/>
                  <a:gd name="connsiteY3" fmla="*/ 267037 h 527938"/>
                  <a:gd name="connsiteX4" fmla="*/ 245540 w 468071"/>
                  <a:gd name="connsiteY4" fmla="*/ 445062 h 527938"/>
                  <a:gd name="connsiteX5" fmla="*/ 314322 w 468071"/>
                  <a:gd name="connsiteY5" fmla="*/ 137564 h 527938"/>
                  <a:gd name="connsiteX6" fmla="*/ 383104 w 468071"/>
                  <a:gd name="connsiteY6" fmla="*/ 364141 h 527938"/>
                  <a:gd name="connsiteX7" fmla="*/ 468071 w 468071"/>
                  <a:gd name="connsiteY7" fmla="*/ 218485 h 527938"/>
                  <a:gd name="connsiteX0" fmla="*/ 0 w 468071"/>
                  <a:gd name="connsiteY0" fmla="*/ 521936 h 537547"/>
                  <a:gd name="connsiteX1" fmla="*/ 67515 w 468071"/>
                  <a:gd name="connsiteY1" fmla="*/ 0 h 537547"/>
                  <a:gd name="connsiteX2" fmla="*/ 145398 w 468071"/>
                  <a:gd name="connsiteY2" fmla="*/ 527938 h 537547"/>
                  <a:gd name="connsiteX3" fmla="*/ 238195 w 468071"/>
                  <a:gd name="connsiteY3" fmla="*/ 537547 h 537547"/>
                  <a:gd name="connsiteX4" fmla="*/ 245540 w 468071"/>
                  <a:gd name="connsiteY4" fmla="*/ 445062 h 537547"/>
                  <a:gd name="connsiteX5" fmla="*/ 314322 w 468071"/>
                  <a:gd name="connsiteY5" fmla="*/ 137564 h 537547"/>
                  <a:gd name="connsiteX6" fmla="*/ 383104 w 468071"/>
                  <a:gd name="connsiteY6" fmla="*/ 364141 h 537547"/>
                  <a:gd name="connsiteX7" fmla="*/ 468071 w 468071"/>
                  <a:gd name="connsiteY7" fmla="*/ 218485 h 537547"/>
                  <a:gd name="connsiteX0" fmla="*/ 0 w 468071"/>
                  <a:gd name="connsiteY0" fmla="*/ 521936 h 527938"/>
                  <a:gd name="connsiteX1" fmla="*/ 67515 w 468071"/>
                  <a:gd name="connsiteY1" fmla="*/ 0 h 527938"/>
                  <a:gd name="connsiteX2" fmla="*/ 145398 w 468071"/>
                  <a:gd name="connsiteY2" fmla="*/ 527938 h 527938"/>
                  <a:gd name="connsiteX3" fmla="*/ 238195 w 468071"/>
                  <a:gd name="connsiteY3" fmla="*/ 522307 h 527938"/>
                  <a:gd name="connsiteX4" fmla="*/ 245540 w 468071"/>
                  <a:gd name="connsiteY4" fmla="*/ 445062 h 527938"/>
                  <a:gd name="connsiteX5" fmla="*/ 314322 w 468071"/>
                  <a:gd name="connsiteY5" fmla="*/ 137564 h 527938"/>
                  <a:gd name="connsiteX6" fmla="*/ 383104 w 468071"/>
                  <a:gd name="connsiteY6" fmla="*/ 364141 h 527938"/>
                  <a:gd name="connsiteX7" fmla="*/ 468071 w 468071"/>
                  <a:gd name="connsiteY7" fmla="*/ 218485 h 527938"/>
                  <a:gd name="connsiteX0" fmla="*/ 0 w 468071"/>
                  <a:gd name="connsiteY0" fmla="*/ 521936 h 527938"/>
                  <a:gd name="connsiteX1" fmla="*/ 67515 w 468071"/>
                  <a:gd name="connsiteY1" fmla="*/ 0 h 527938"/>
                  <a:gd name="connsiteX2" fmla="*/ 145398 w 468071"/>
                  <a:gd name="connsiteY2" fmla="*/ 527938 h 527938"/>
                  <a:gd name="connsiteX3" fmla="*/ 238195 w 468071"/>
                  <a:gd name="connsiteY3" fmla="*/ 522307 h 527938"/>
                  <a:gd name="connsiteX4" fmla="*/ 255400 w 468071"/>
                  <a:gd name="connsiteY4" fmla="*/ 433632 h 527938"/>
                  <a:gd name="connsiteX5" fmla="*/ 314322 w 468071"/>
                  <a:gd name="connsiteY5" fmla="*/ 137564 h 527938"/>
                  <a:gd name="connsiteX6" fmla="*/ 383104 w 468071"/>
                  <a:gd name="connsiteY6" fmla="*/ 364141 h 527938"/>
                  <a:gd name="connsiteX7" fmla="*/ 468071 w 468071"/>
                  <a:gd name="connsiteY7" fmla="*/ 218485 h 527938"/>
                  <a:gd name="connsiteX0" fmla="*/ 0 w 468071"/>
                  <a:gd name="connsiteY0" fmla="*/ 521936 h 527938"/>
                  <a:gd name="connsiteX1" fmla="*/ 67515 w 468071"/>
                  <a:gd name="connsiteY1" fmla="*/ 0 h 527938"/>
                  <a:gd name="connsiteX2" fmla="*/ 145398 w 468071"/>
                  <a:gd name="connsiteY2" fmla="*/ 527938 h 527938"/>
                  <a:gd name="connsiteX3" fmla="*/ 241482 w 468071"/>
                  <a:gd name="connsiteY3" fmla="*/ 522307 h 527938"/>
                  <a:gd name="connsiteX4" fmla="*/ 255400 w 468071"/>
                  <a:gd name="connsiteY4" fmla="*/ 433632 h 527938"/>
                  <a:gd name="connsiteX5" fmla="*/ 314322 w 468071"/>
                  <a:gd name="connsiteY5" fmla="*/ 137564 h 527938"/>
                  <a:gd name="connsiteX6" fmla="*/ 383104 w 468071"/>
                  <a:gd name="connsiteY6" fmla="*/ 364141 h 527938"/>
                  <a:gd name="connsiteX7" fmla="*/ 468071 w 468071"/>
                  <a:gd name="connsiteY7" fmla="*/ 218485 h 527938"/>
                  <a:gd name="connsiteX0" fmla="*/ 0 w 468071"/>
                  <a:gd name="connsiteY0" fmla="*/ 521936 h 527938"/>
                  <a:gd name="connsiteX1" fmla="*/ 67515 w 468071"/>
                  <a:gd name="connsiteY1" fmla="*/ 0 h 527938"/>
                  <a:gd name="connsiteX2" fmla="*/ 145398 w 468071"/>
                  <a:gd name="connsiteY2" fmla="*/ 527938 h 527938"/>
                  <a:gd name="connsiteX3" fmla="*/ 241482 w 468071"/>
                  <a:gd name="connsiteY3" fmla="*/ 526117 h 527938"/>
                  <a:gd name="connsiteX4" fmla="*/ 255400 w 468071"/>
                  <a:gd name="connsiteY4" fmla="*/ 433632 h 527938"/>
                  <a:gd name="connsiteX5" fmla="*/ 314322 w 468071"/>
                  <a:gd name="connsiteY5" fmla="*/ 137564 h 527938"/>
                  <a:gd name="connsiteX6" fmla="*/ 383104 w 468071"/>
                  <a:gd name="connsiteY6" fmla="*/ 364141 h 527938"/>
                  <a:gd name="connsiteX7" fmla="*/ 468071 w 468071"/>
                  <a:gd name="connsiteY7" fmla="*/ 218485 h 5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8071" h="527938">
                    <a:moveTo>
                      <a:pt x="0" y="521936"/>
                    </a:moveTo>
                    <a:lnTo>
                      <a:pt x="67515" y="0"/>
                    </a:lnTo>
                    <a:lnTo>
                      <a:pt x="145398" y="527938"/>
                    </a:lnTo>
                    <a:lnTo>
                      <a:pt x="241482" y="526117"/>
                    </a:lnTo>
                    <a:lnTo>
                      <a:pt x="255400" y="433632"/>
                    </a:lnTo>
                    <a:lnTo>
                      <a:pt x="314322" y="137564"/>
                    </a:lnTo>
                    <a:lnTo>
                      <a:pt x="383104" y="364141"/>
                    </a:lnTo>
                    <a:lnTo>
                      <a:pt x="468071" y="218485"/>
                    </a:lnTo>
                  </a:path>
                </a:pathLst>
              </a:custGeom>
              <a:noFill/>
              <a:ln w="25400" cap="flat" cmpd="sng" algn="ctr">
                <a:solidFill>
                  <a:srgbClr val="002050"/>
                </a:solidFill>
                <a:prstDash val="solid"/>
                <a:headEnd type="none" w="med" len="med"/>
                <a:tailEnd type="triangl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spTree>
    <p:extLst>
      <p:ext uri="{BB962C8B-B14F-4D97-AF65-F5344CB8AC3E}">
        <p14:creationId xmlns:p14="http://schemas.microsoft.com/office/powerpoint/2010/main" val="29913616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a:lstStyle/>
          <a:p>
            <a:r>
              <a:rPr lang="en-US" dirty="0"/>
              <a:t>Serverless price to performance with per-second billing </a:t>
            </a:r>
          </a:p>
        </p:txBody>
      </p:sp>
      <p:grpSp>
        <p:nvGrpSpPr>
          <p:cNvPr id="5" name="Group 4">
            <a:extLst>
              <a:ext uri="{FF2B5EF4-FFF2-40B4-BE49-F238E27FC236}">
                <a16:creationId xmlns:a16="http://schemas.microsoft.com/office/drawing/2014/main" id="{8CA8FB75-65B7-4971-A08C-9BA868E0CBF3}"/>
              </a:ext>
            </a:extLst>
          </p:cNvPr>
          <p:cNvGrpSpPr/>
          <p:nvPr/>
        </p:nvGrpSpPr>
        <p:grpSpPr>
          <a:xfrm>
            <a:off x="6755130" y="1360291"/>
            <a:ext cx="5033069" cy="4789159"/>
            <a:chOff x="6649201" y="878026"/>
            <a:chExt cx="4934829" cy="4695680"/>
          </a:xfrm>
        </p:grpSpPr>
        <p:grpSp>
          <p:nvGrpSpPr>
            <p:cNvPr id="6" name="Group 5">
              <a:extLst>
                <a:ext uri="{FF2B5EF4-FFF2-40B4-BE49-F238E27FC236}">
                  <a16:creationId xmlns:a16="http://schemas.microsoft.com/office/drawing/2014/main" id="{5B63D1FC-7386-4891-A598-8FC902C9588B}"/>
                </a:ext>
              </a:extLst>
            </p:cNvPr>
            <p:cNvGrpSpPr/>
            <p:nvPr/>
          </p:nvGrpSpPr>
          <p:grpSpPr>
            <a:xfrm>
              <a:off x="7309642" y="4418763"/>
              <a:ext cx="4183606" cy="460299"/>
              <a:chOff x="7309642" y="4418763"/>
              <a:chExt cx="4183606" cy="460299"/>
            </a:xfrm>
          </p:grpSpPr>
          <p:sp>
            <p:nvSpPr>
              <p:cNvPr id="62" name="TextBox 61">
                <a:extLst>
                  <a:ext uri="{FF2B5EF4-FFF2-40B4-BE49-F238E27FC236}">
                    <a16:creationId xmlns:a16="http://schemas.microsoft.com/office/drawing/2014/main" id="{9C28CF78-9A03-4F4E-BFD7-5F0555936EC2}"/>
                  </a:ext>
                </a:extLst>
              </p:cNvPr>
              <p:cNvSpPr txBox="1"/>
              <p:nvPr/>
            </p:nvSpPr>
            <p:spPr>
              <a:xfrm flipH="1">
                <a:off x="7309642" y="4531858"/>
                <a:ext cx="169306" cy="263539"/>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8:00</a:t>
                </a:r>
              </a:p>
            </p:txBody>
          </p:sp>
          <p:sp>
            <p:nvSpPr>
              <p:cNvPr id="63" name="TextBox 62">
                <a:extLst>
                  <a:ext uri="{FF2B5EF4-FFF2-40B4-BE49-F238E27FC236}">
                    <a16:creationId xmlns:a16="http://schemas.microsoft.com/office/drawing/2014/main" id="{5BC32AC0-43E9-47DE-9032-313A166F9D92}"/>
                  </a:ext>
                </a:extLst>
              </p:cNvPr>
              <p:cNvSpPr txBox="1"/>
              <p:nvPr/>
            </p:nvSpPr>
            <p:spPr>
              <a:xfrm flipH="1">
                <a:off x="7476905" y="4537783"/>
                <a:ext cx="169306" cy="263539"/>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9:00</a:t>
                </a:r>
              </a:p>
            </p:txBody>
          </p:sp>
          <p:sp>
            <p:nvSpPr>
              <p:cNvPr id="64" name="TextBox 63">
                <a:extLst>
                  <a:ext uri="{FF2B5EF4-FFF2-40B4-BE49-F238E27FC236}">
                    <a16:creationId xmlns:a16="http://schemas.microsoft.com/office/drawing/2014/main" id="{EB42C8E2-AAB9-44EE-89B6-9E02A7494953}"/>
                  </a:ext>
                </a:extLst>
              </p:cNvPr>
              <p:cNvSpPr txBox="1"/>
              <p:nvPr/>
            </p:nvSpPr>
            <p:spPr>
              <a:xfrm flipH="1">
                <a:off x="7644168" y="4486948"/>
                <a:ext cx="169306" cy="388377"/>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0:00</a:t>
                </a:r>
              </a:p>
            </p:txBody>
          </p:sp>
          <p:sp>
            <p:nvSpPr>
              <p:cNvPr id="65" name="TextBox 64">
                <a:extLst>
                  <a:ext uri="{FF2B5EF4-FFF2-40B4-BE49-F238E27FC236}">
                    <a16:creationId xmlns:a16="http://schemas.microsoft.com/office/drawing/2014/main" id="{3C0B1E59-0167-4F0E-8E2E-55D6181C8CBD}"/>
                  </a:ext>
                </a:extLst>
              </p:cNvPr>
              <p:cNvSpPr txBox="1"/>
              <p:nvPr/>
            </p:nvSpPr>
            <p:spPr>
              <a:xfrm flipH="1">
                <a:off x="7811431" y="4502802"/>
                <a:ext cx="169306" cy="372523"/>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1:00</a:t>
                </a:r>
              </a:p>
            </p:txBody>
          </p:sp>
          <p:sp>
            <p:nvSpPr>
              <p:cNvPr id="66" name="TextBox 65">
                <a:extLst>
                  <a:ext uri="{FF2B5EF4-FFF2-40B4-BE49-F238E27FC236}">
                    <a16:creationId xmlns:a16="http://schemas.microsoft.com/office/drawing/2014/main" id="{968B6524-AF81-4A91-A3F8-B9EED95E6425}"/>
                  </a:ext>
                </a:extLst>
              </p:cNvPr>
              <p:cNvSpPr txBox="1"/>
              <p:nvPr/>
            </p:nvSpPr>
            <p:spPr>
              <a:xfrm flipH="1">
                <a:off x="7978694" y="4500553"/>
                <a:ext cx="169306" cy="378196"/>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2:00</a:t>
                </a:r>
              </a:p>
            </p:txBody>
          </p:sp>
          <p:sp>
            <p:nvSpPr>
              <p:cNvPr id="67" name="TextBox 66">
                <a:extLst>
                  <a:ext uri="{FF2B5EF4-FFF2-40B4-BE49-F238E27FC236}">
                    <a16:creationId xmlns:a16="http://schemas.microsoft.com/office/drawing/2014/main" id="{1042AD6E-EAB2-45C3-B4E7-E9071C0FCB8D}"/>
                  </a:ext>
                </a:extLst>
              </p:cNvPr>
              <p:cNvSpPr txBox="1"/>
              <p:nvPr/>
            </p:nvSpPr>
            <p:spPr>
              <a:xfrm flipH="1">
                <a:off x="8145957" y="4499622"/>
                <a:ext cx="169306" cy="378881"/>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3:00</a:t>
                </a:r>
              </a:p>
            </p:txBody>
          </p:sp>
          <p:sp>
            <p:nvSpPr>
              <p:cNvPr id="68" name="TextBox 67">
                <a:extLst>
                  <a:ext uri="{FF2B5EF4-FFF2-40B4-BE49-F238E27FC236}">
                    <a16:creationId xmlns:a16="http://schemas.microsoft.com/office/drawing/2014/main" id="{643CA4CC-77EE-442F-B2EE-B51C24CF3723}"/>
                  </a:ext>
                </a:extLst>
              </p:cNvPr>
              <p:cNvSpPr txBox="1"/>
              <p:nvPr/>
            </p:nvSpPr>
            <p:spPr>
              <a:xfrm flipH="1">
                <a:off x="8313220" y="4490519"/>
                <a:ext cx="169306" cy="384806"/>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4:00</a:t>
                </a:r>
              </a:p>
            </p:txBody>
          </p:sp>
          <p:sp>
            <p:nvSpPr>
              <p:cNvPr id="69" name="TextBox 68">
                <a:extLst>
                  <a:ext uri="{FF2B5EF4-FFF2-40B4-BE49-F238E27FC236}">
                    <a16:creationId xmlns:a16="http://schemas.microsoft.com/office/drawing/2014/main" id="{55121D4D-7BBD-4AC4-B063-7C77D83FA74B}"/>
                  </a:ext>
                </a:extLst>
              </p:cNvPr>
              <p:cNvSpPr txBox="1"/>
              <p:nvPr/>
            </p:nvSpPr>
            <p:spPr>
              <a:xfrm flipH="1">
                <a:off x="8480483" y="4486948"/>
                <a:ext cx="169306" cy="388377"/>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5:00</a:t>
                </a:r>
              </a:p>
            </p:txBody>
          </p:sp>
          <p:sp>
            <p:nvSpPr>
              <p:cNvPr id="70" name="TextBox 69">
                <a:extLst>
                  <a:ext uri="{FF2B5EF4-FFF2-40B4-BE49-F238E27FC236}">
                    <a16:creationId xmlns:a16="http://schemas.microsoft.com/office/drawing/2014/main" id="{A66C0862-89EE-4597-873B-5491691299EE}"/>
                  </a:ext>
                </a:extLst>
              </p:cNvPr>
              <p:cNvSpPr txBox="1"/>
              <p:nvPr/>
            </p:nvSpPr>
            <p:spPr>
              <a:xfrm flipH="1">
                <a:off x="8647746" y="4492873"/>
                <a:ext cx="169306" cy="382452"/>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6:00</a:t>
                </a:r>
              </a:p>
            </p:txBody>
          </p:sp>
          <p:sp>
            <p:nvSpPr>
              <p:cNvPr id="71" name="TextBox 70">
                <a:extLst>
                  <a:ext uri="{FF2B5EF4-FFF2-40B4-BE49-F238E27FC236}">
                    <a16:creationId xmlns:a16="http://schemas.microsoft.com/office/drawing/2014/main" id="{358E9343-4C02-4D3F-90AD-766D5CE12749}"/>
                  </a:ext>
                </a:extLst>
              </p:cNvPr>
              <p:cNvSpPr txBox="1"/>
              <p:nvPr/>
            </p:nvSpPr>
            <p:spPr>
              <a:xfrm flipH="1">
                <a:off x="8815009" y="4492871"/>
                <a:ext cx="169306" cy="382454"/>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7:00</a:t>
                </a:r>
              </a:p>
            </p:txBody>
          </p:sp>
          <p:sp>
            <p:nvSpPr>
              <p:cNvPr id="72" name="TextBox 71">
                <a:extLst>
                  <a:ext uri="{FF2B5EF4-FFF2-40B4-BE49-F238E27FC236}">
                    <a16:creationId xmlns:a16="http://schemas.microsoft.com/office/drawing/2014/main" id="{D290F568-F8E0-437D-983B-75398E7C7FB8}"/>
                  </a:ext>
                </a:extLst>
              </p:cNvPr>
              <p:cNvSpPr txBox="1"/>
              <p:nvPr/>
            </p:nvSpPr>
            <p:spPr>
              <a:xfrm flipH="1">
                <a:off x="8982272" y="4502613"/>
                <a:ext cx="169306" cy="376095"/>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8:00</a:t>
                </a:r>
              </a:p>
            </p:txBody>
          </p:sp>
          <p:sp>
            <p:nvSpPr>
              <p:cNvPr id="73" name="TextBox 72">
                <a:extLst>
                  <a:ext uri="{FF2B5EF4-FFF2-40B4-BE49-F238E27FC236}">
                    <a16:creationId xmlns:a16="http://schemas.microsoft.com/office/drawing/2014/main" id="{3F41AA2F-4646-40C3-ABB9-E164A53A5C3A}"/>
                  </a:ext>
                </a:extLst>
              </p:cNvPr>
              <p:cNvSpPr txBox="1"/>
              <p:nvPr/>
            </p:nvSpPr>
            <p:spPr>
              <a:xfrm flipH="1">
                <a:off x="9149534" y="4502966"/>
                <a:ext cx="169306" cy="376096"/>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9:00</a:t>
                </a:r>
              </a:p>
            </p:txBody>
          </p:sp>
          <p:sp>
            <p:nvSpPr>
              <p:cNvPr id="74" name="TextBox 73">
                <a:extLst>
                  <a:ext uri="{FF2B5EF4-FFF2-40B4-BE49-F238E27FC236}">
                    <a16:creationId xmlns:a16="http://schemas.microsoft.com/office/drawing/2014/main" id="{B2A43045-240B-4848-B49E-AA740F32FBB3}"/>
                  </a:ext>
                </a:extLst>
              </p:cNvPr>
              <p:cNvSpPr txBox="1"/>
              <p:nvPr/>
            </p:nvSpPr>
            <p:spPr>
              <a:xfrm flipH="1">
                <a:off x="9316796" y="4496047"/>
                <a:ext cx="169306" cy="382453"/>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20:00</a:t>
                </a:r>
              </a:p>
            </p:txBody>
          </p:sp>
          <p:sp>
            <p:nvSpPr>
              <p:cNvPr id="75" name="TextBox 74">
                <a:extLst>
                  <a:ext uri="{FF2B5EF4-FFF2-40B4-BE49-F238E27FC236}">
                    <a16:creationId xmlns:a16="http://schemas.microsoft.com/office/drawing/2014/main" id="{A1BFF6B9-8647-4871-8420-76E7CE9B51B7}"/>
                  </a:ext>
                </a:extLst>
              </p:cNvPr>
              <p:cNvSpPr txBox="1"/>
              <p:nvPr/>
            </p:nvSpPr>
            <p:spPr>
              <a:xfrm flipH="1">
                <a:off x="9484058" y="4496047"/>
                <a:ext cx="169306" cy="382453"/>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21:00</a:t>
                </a:r>
              </a:p>
            </p:txBody>
          </p:sp>
          <p:sp>
            <p:nvSpPr>
              <p:cNvPr id="76" name="TextBox 75">
                <a:extLst>
                  <a:ext uri="{FF2B5EF4-FFF2-40B4-BE49-F238E27FC236}">
                    <a16:creationId xmlns:a16="http://schemas.microsoft.com/office/drawing/2014/main" id="{DFC128DF-239C-4891-9E7C-3DC8FA637218}"/>
                  </a:ext>
                </a:extLst>
              </p:cNvPr>
              <p:cNvSpPr txBox="1"/>
              <p:nvPr/>
            </p:nvSpPr>
            <p:spPr>
              <a:xfrm flipH="1">
                <a:off x="9651320" y="4493694"/>
                <a:ext cx="169306" cy="384806"/>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22:00</a:t>
                </a:r>
              </a:p>
            </p:txBody>
          </p:sp>
          <p:sp>
            <p:nvSpPr>
              <p:cNvPr id="77" name="TextBox 76">
                <a:extLst>
                  <a:ext uri="{FF2B5EF4-FFF2-40B4-BE49-F238E27FC236}">
                    <a16:creationId xmlns:a16="http://schemas.microsoft.com/office/drawing/2014/main" id="{18248CC9-511B-465D-BF94-096EADDEE549}"/>
                  </a:ext>
                </a:extLst>
              </p:cNvPr>
              <p:cNvSpPr txBox="1"/>
              <p:nvPr/>
            </p:nvSpPr>
            <p:spPr>
              <a:xfrm flipH="1">
                <a:off x="9818582" y="4490519"/>
                <a:ext cx="169306" cy="388377"/>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23:00</a:t>
                </a:r>
              </a:p>
            </p:txBody>
          </p:sp>
          <p:sp>
            <p:nvSpPr>
              <p:cNvPr id="78" name="TextBox 77">
                <a:extLst>
                  <a:ext uri="{FF2B5EF4-FFF2-40B4-BE49-F238E27FC236}">
                    <a16:creationId xmlns:a16="http://schemas.microsoft.com/office/drawing/2014/main" id="{15FF2282-2036-4D6B-A4F5-7A3E2EF7B900}"/>
                  </a:ext>
                </a:extLst>
              </p:cNvPr>
              <p:cNvSpPr txBox="1"/>
              <p:nvPr/>
            </p:nvSpPr>
            <p:spPr>
              <a:xfrm flipH="1">
                <a:off x="9985844" y="4421960"/>
                <a:ext cx="169306" cy="382452"/>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0:00</a:t>
                </a:r>
              </a:p>
            </p:txBody>
          </p:sp>
          <p:sp>
            <p:nvSpPr>
              <p:cNvPr id="79" name="TextBox 78">
                <a:extLst>
                  <a:ext uri="{FF2B5EF4-FFF2-40B4-BE49-F238E27FC236}">
                    <a16:creationId xmlns:a16="http://schemas.microsoft.com/office/drawing/2014/main" id="{07ABDCDF-5537-4BAF-A31F-4EA2E92B4490}"/>
                  </a:ext>
                </a:extLst>
              </p:cNvPr>
              <p:cNvSpPr txBox="1"/>
              <p:nvPr/>
            </p:nvSpPr>
            <p:spPr>
              <a:xfrm flipH="1">
                <a:off x="10153106" y="4418765"/>
                <a:ext cx="169306" cy="382454"/>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00</a:t>
                </a:r>
              </a:p>
            </p:txBody>
          </p:sp>
          <p:sp>
            <p:nvSpPr>
              <p:cNvPr id="80" name="TextBox 79">
                <a:extLst>
                  <a:ext uri="{FF2B5EF4-FFF2-40B4-BE49-F238E27FC236}">
                    <a16:creationId xmlns:a16="http://schemas.microsoft.com/office/drawing/2014/main" id="{88B4C4B7-AAE2-4C79-AE4E-76CC29C2067C}"/>
                  </a:ext>
                </a:extLst>
              </p:cNvPr>
              <p:cNvSpPr txBox="1"/>
              <p:nvPr/>
            </p:nvSpPr>
            <p:spPr>
              <a:xfrm flipH="1">
                <a:off x="10320368" y="4425616"/>
                <a:ext cx="169306" cy="376095"/>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2:00</a:t>
                </a:r>
              </a:p>
            </p:txBody>
          </p:sp>
          <p:sp>
            <p:nvSpPr>
              <p:cNvPr id="81" name="TextBox 80">
                <a:extLst>
                  <a:ext uri="{FF2B5EF4-FFF2-40B4-BE49-F238E27FC236}">
                    <a16:creationId xmlns:a16="http://schemas.microsoft.com/office/drawing/2014/main" id="{15402455-687A-4287-B873-6C381EF2DDDD}"/>
                  </a:ext>
                </a:extLst>
              </p:cNvPr>
              <p:cNvSpPr txBox="1"/>
              <p:nvPr/>
            </p:nvSpPr>
            <p:spPr>
              <a:xfrm flipH="1">
                <a:off x="10487630" y="4425064"/>
                <a:ext cx="169306" cy="376096"/>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3:00</a:t>
                </a:r>
              </a:p>
            </p:txBody>
          </p:sp>
          <p:sp>
            <p:nvSpPr>
              <p:cNvPr id="82" name="TextBox 81">
                <a:extLst>
                  <a:ext uri="{FF2B5EF4-FFF2-40B4-BE49-F238E27FC236}">
                    <a16:creationId xmlns:a16="http://schemas.microsoft.com/office/drawing/2014/main" id="{03ACBD5D-9218-4F09-A36F-8B2EA7C2C37A}"/>
                  </a:ext>
                </a:extLst>
              </p:cNvPr>
              <p:cNvSpPr txBox="1"/>
              <p:nvPr/>
            </p:nvSpPr>
            <p:spPr>
              <a:xfrm flipH="1">
                <a:off x="10654892" y="4418765"/>
                <a:ext cx="169306" cy="382453"/>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4:00</a:t>
                </a:r>
              </a:p>
            </p:txBody>
          </p:sp>
          <p:sp>
            <p:nvSpPr>
              <p:cNvPr id="83" name="TextBox 82">
                <a:extLst>
                  <a:ext uri="{FF2B5EF4-FFF2-40B4-BE49-F238E27FC236}">
                    <a16:creationId xmlns:a16="http://schemas.microsoft.com/office/drawing/2014/main" id="{AA08A926-0A94-4641-BB27-47AA61F37CA6}"/>
                  </a:ext>
                </a:extLst>
              </p:cNvPr>
              <p:cNvSpPr txBox="1"/>
              <p:nvPr/>
            </p:nvSpPr>
            <p:spPr>
              <a:xfrm flipH="1">
                <a:off x="10822154" y="4418764"/>
                <a:ext cx="169306" cy="382453"/>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5:00</a:t>
                </a:r>
              </a:p>
            </p:txBody>
          </p:sp>
          <p:sp>
            <p:nvSpPr>
              <p:cNvPr id="84" name="TextBox 83">
                <a:extLst>
                  <a:ext uri="{FF2B5EF4-FFF2-40B4-BE49-F238E27FC236}">
                    <a16:creationId xmlns:a16="http://schemas.microsoft.com/office/drawing/2014/main" id="{B75E5669-5D80-466A-B6C2-768881D5EDA1}"/>
                  </a:ext>
                </a:extLst>
              </p:cNvPr>
              <p:cNvSpPr txBox="1"/>
              <p:nvPr/>
            </p:nvSpPr>
            <p:spPr>
              <a:xfrm flipH="1">
                <a:off x="10989416" y="4425616"/>
                <a:ext cx="169306" cy="376096"/>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6:00</a:t>
                </a:r>
              </a:p>
            </p:txBody>
          </p:sp>
          <p:sp>
            <p:nvSpPr>
              <p:cNvPr id="85" name="TextBox 84">
                <a:extLst>
                  <a:ext uri="{FF2B5EF4-FFF2-40B4-BE49-F238E27FC236}">
                    <a16:creationId xmlns:a16="http://schemas.microsoft.com/office/drawing/2014/main" id="{899963B1-CB43-4DC0-9C8F-F7E21AFAA1FA}"/>
                  </a:ext>
                </a:extLst>
              </p:cNvPr>
              <p:cNvSpPr txBox="1"/>
              <p:nvPr/>
            </p:nvSpPr>
            <p:spPr>
              <a:xfrm flipH="1">
                <a:off x="11156678" y="4421959"/>
                <a:ext cx="169306" cy="382453"/>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7:00</a:t>
                </a:r>
              </a:p>
            </p:txBody>
          </p:sp>
          <p:sp>
            <p:nvSpPr>
              <p:cNvPr id="86" name="TextBox 85">
                <a:extLst>
                  <a:ext uri="{FF2B5EF4-FFF2-40B4-BE49-F238E27FC236}">
                    <a16:creationId xmlns:a16="http://schemas.microsoft.com/office/drawing/2014/main" id="{E2BFE5AE-B15C-44E8-9928-4CFA14B3B611}"/>
                  </a:ext>
                </a:extLst>
              </p:cNvPr>
              <p:cNvSpPr txBox="1"/>
              <p:nvPr/>
            </p:nvSpPr>
            <p:spPr>
              <a:xfrm flipH="1">
                <a:off x="11323942" y="4418763"/>
                <a:ext cx="169306" cy="382453"/>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8:00</a:t>
                </a:r>
              </a:p>
            </p:txBody>
          </p:sp>
        </p:grpSp>
        <p:sp>
          <p:nvSpPr>
            <p:cNvPr id="7" name="TextBox 6">
              <a:extLst>
                <a:ext uri="{FF2B5EF4-FFF2-40B4-BE49-F238E27FC236}">
                  <a16:creationId xmlns:a16="http://schemas.microsoft.com/office/drawing/2014/main" id="{632D9CCE-C838-42B1-8CF4-1C8E309A076F}"/>
                </a:ext>
              </a:extLst>
            </p:cNvPr>
            <p:cNvSpPr txBox="1"/>
            <p:nvPr/>
          </p:nvSpPr>
          <p:spPr>
            <a:xfrm>
              <a:off x="7337643" y="5377372"/>
              <a:ext cx="874418" cy="172676"/>
            </a:xfrm>
            <a:prstGeom prst="rect">
              <a:avLst/>
            </a:prstGeom>
            <a:solidFill>
              <a:srgbClr val="FFFFFF"/>
            </a:solid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rgbClr val="000000"/>
                  </a:solidFill>
                  <a:effectLst/>
                  <a:uLnTx/>
                  <a:uFillTx/>
                  <a:cs typeface="Segoe UI" panose="020B0502040204020203" pitchFamily="34" charset="0"/>
                </a:rPr>
                <a:t>Min </a:t>
              </a:r>
              <a:r>
                <a:rPr kumimoji="0" lang="en-US" sz="1122" b="0" i="0" u="none" strike="noStrike" kern="0" cap="none" spc="0" normalizeH="0" baseline="0" noProof="0" err="1">
                  <a:ln>
                    <a:noFill/>
                  </a:ln>
                  <a:solidFill>
                    <a:srgbClr val="000000"/>
                  </a:solidFill>
                  <a:effectLst/>
                  <a:uLnTx/>
                  <a:uFillTx/>
                  <a:cs typeface="Segoe UI" panose="020B0502040204020203" pitchFamily="34" charset="0"/>
                </a:rPr>
                <a:t>vcores</a:t>
              </a:r>
              <a:endParaRPr kumimoji="0" lang="en-US" sz="1122"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8" name="TextBox 7">
              <a:extLst>
                <a:ext uri="{FF2B5EF4-FFF2-40B4-BE49-F238E27FC236}">
                  <a16:creationId xmlns:a16="http://schemas.microsoft.com/office/drawing/2014/main" id="{8A79D1D5-F149-4E68-95BA-D150038A8052}"/>
                </a:ext>
              </a:extLst>
            </p:cNvPr>
            <p:cNvSpPr txBox="1"/>
            <p:nvPr/>
          </p:nvSpPr>
          <p:spPr>
            <a:xfrm rot="16200000">
              <a:off x="5199187" y="2988477"/>
              <a:ext cx="3151188" cy="251159"/>
            </a:xfrm>
            <a:prstGeom prst="rect">
              <a:avLst/>
            </a:prstGeom>
            <a:no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gradFill>
                    <a:gsLst>
                      <a:gs pos="2917">
                        <a:prstClr val="black"/>
                      </a:gs>
                      <a:gs pos="30000">
                        <a:prstClr val="black"/>
                      </a:gs>
                    </a:gsLst>
                    <a:lin ang="5400000" scaled="0"/>
                  </a:gradFill>
                  <a:effectLst/>
                  <a:uLnTx/>
                  <a:uFillTx/>
                  <a:latin typeface="Segoe UI Semibold" panose="020B0502040204020203" pitchFamily="34" charset="0"/>
                  <a:cs typeface="Segoe UI Semibold" panose="020B0502040204020203" pitchFamily="34" charset="0"/>
                </a:rPr>
                <a:t>Number vCores</a:t>
              </a:r>
            </a:p>
          </p:txBody>
        </p:sp>
        <p:sp>
          <p:nvSpPr>
            <p:cNvPr id="9" name="TextBox 8">
              <a:extLst>
                <a:ext uri="{FF2B5EF4-FFF2-40B4-BE49-F238E27FC236}">
                  <a16:creationId xmlns:a16="http://schemas.microsoft.com/office/drawing/2014/main" id="{47C4996A-449F-4A7B-8432-F34AD6B993CF}"/>
                </a:ext>
              </a:extLst>
            </p:cNvPr>
            <p:cNvSpPr txBox="1"/>
            <p:nvPr/>
          </p:nvSpPr>
          <p:spPr>
            <a:xfrm flipH="1">
              <a:off x="7205690" y="1583449"/>
              <a:ext cx="191828" cy="172676"/>
            </a:xfrm>
            <a:prstGeom prst="rect">
              <a:avLst/>
            </a:prstGeom>
            <a:noFill/>
          </p:spPr>
          <p:txBody>
            <a:bodyPr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4</a:t>
              </a:r>
            </a:p>
          </p:txBody>
        </p:sp>
        <p:sp>
          <p:nvSpPr>
            <p:cNvPr id="10" name="TextBox 9">
              <a:extLst>
                <a:ext uri="{FF2B5EF4-FFF2-40B4-BE49-F238E27FC236}">
                  <a16:creationId xmlns:a16="http://schemas.microsoft.com/office/drawing/2014/main" id="{81CED158-141D-48BA-93F5-F25ADAD629C5}"/>
                </a:ext>
              </a:extLst>
            </p:cNvPr>
            <p:cNvSpPr txBox="1"/>
            <p:nvPr/>
          </p:nvSpPr>
          <p:spPr>
            <a:xfrm>
              <a:off x="7086573" y="1004373"/>
              <a:ext cx="4497457" cy="251159"/>
            </a:xfrm>
            <a:prstGeom prst="rect">
              <a:avLst/>
            </a:prstGeom>
            <a:no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78D4"/>
                  </a:solidFill>
                  <a:effectLst/>
                  <a:uLnTx/>
                  <a:uFillTx/>
                  <a:latin typeface="Segoe UI Semibold"/>
                  <a:cs typeface="Segoe UI" panose="020B0502040204020203" pitchFamily="34" charset="0"/>
                </a:rPr>
                <a:t>CPU usage</a:t>
              </a:r>
            </a:p>
          </p:txBody>
        </p:sp>
        <p:sp>
          <p:nvSpPr>
            <p:cNvPr id="11" name="Freeform: Shape 12">
              <a:extLst>
                <a:ext uri="{FF2B5EF4-FFF2-40B4-BE49-F238E27FC236}">
                  <a16:creationId xmlns:a16="http://schemas.microsoft.com/office/drawing/2014/main" id="{04D46268-7F19-40CE-A698-79BFCECE2DAD}"/>
                </a:ext>
              </a:extLst>
            </p:cNvPr>
            <p:cNvSpPr/>
            <p:nvPr/>
          </p:nvSpPr>
          <p:spPr bwMode="auto">
            <a:xfrm>
              <a:off x="7333194" y="878026"/>
              <a:ext cx="3831864" cy="3118912"/>
            </a:xfrm>
            <a:custGeom>
              <a:avLst/>
              <a:gdLst>
                <a:gd name="connsiteX0" fmla="*/ 0 w 4272837"/>
                <a:gd name="connsiteY0" fmla="*/ 3477838 h 3477838"/>
                <a:gd name="connsiteX1" fmla="*/ 566304 w 4272837"/>
                <a:gd name="connsiteY1" fmla="*/ 2553047 h 3477838"/>
                <a:gd name="connsiteX2" fmla="*/ 1018309 w 4272837"/>
                <a:gd name="connsiteY2" fmla="*/ 874915 h 3477838"/>
                <a:gd name="connsiteX3" fmla="*/ 1298863 w 4272837"/>
                <a:gd name="connsiteY3" fmla="*/ 163138 h 3477838"/>
                <a:gd name="connsiteX4" fmla="*/ 1496290 w 4272837"/>
                <a:gd name="connsiteY4" fmla="*/ 33252 h 3477838"/>
                <a:gd name="connsiteX5" fmla="*/ 1714500 w 4272837"/>
                <a:gd name="connsiteY5" fmla="*/ 635924 h 3477838"/>
                <a:gd name="connsiteX6" fmla="*/ 1958686 w 4272837"/>
                <a:gd name="connsiteY6" fmla="*/ 1950374 h 3477838"/>
                <a:gd name="connsiteX7" fmla="*/ 2119745 w 4272837"/>
                <a:gd name="connsiteY7" fmla="*/ 2152997 h 3477838"/>
                <a:gd name="connsiteX8" fmla="*/ 2275609 w 4272837"/>
                <a:gd name="connsiteY8" fmla="*/ 1789315 h 3477838"/>
                <a:gd name="connsiteX9" fmla="*/ 2379518 w 4272837"/>
                <a:gd name="connsiteY9" fmla="*/ 1467197 h 3477838"/>
                <a:gd name="connsiteX10" fmla="*/ 2545772 w 4272837"/>
                <a:gd name="connsiteY10" fmla="*/ 1373679 h 3477838"/>
                <a:gd name="connsiteX11" fmla="*/ 2795154 w 4272837"/>
                <a:gd name="connsiteY11" fmla="*/ 1695797 h 3477838"/>
                <a:gd name="connsiteX12" fmla="*/ 3127663 w 4272837"/>
                <a:gd name="connsiteY12" fmla="*/ 2766061 h 3477838"/>
                <a:gd name="connsiteX13" fmla="*/ 3351068 w 4272837"/>
                <a:gd name="connsiteY13" fmla="*/ 3171306 h 3477838"/>
                <a:gd name="connsiteX14" fmla="*/ 3538104 w 4272837"/>
                <a:gd name="connsiteY14" fmla="*/ 3321974 h 3477838"/>
                <a:gd name="connsiteX15" fmla="*/ 3875809 w 4272837"/>
                <a:gd name="connsiteY15" fmla="*/ 3425884 h 3477838"/>
                <a:gd name="connsiteX16" fmla="*/ 4229100 w 4272837"/>
                <a:gd name="connsiteY16" fmla="*/ 3451861 h 3477838"/>
                <a:gd name="connsiteX17" fmla="*/ 4255077 w 4272837"/>
                <a:gd name="connsiteY17" fmla="*/ 3436274 h 3477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72837" h="3477838">
                  <a:moveTo>
                    <a:pt x="0" y="3477838"/>
                  </a:moveTo>
                  <a:cubicBezTo>
                    <a:pt x="198293" y="3232352"/>
                    <a:pt x="396586" y="2986867"/>
                    <a:pt x="566304" y="2553047"/>
                  </a:cubicBezTo>
                  <a:cubicBezTo>
                    <a:pt x="736022" y="2119227"/>
                    <a:pt x="896216" y="1273233"/>
                    <a:pt x="1018309" y="874915"/>
                  </a:cubicBezTo>
                  <a:cubicBezTo>
                    <a:pt x="1140402" y="476597"/>
                    <a:pt x="1219200" y="303415"/>
                    <a:pt x="1298863" y="163138"/>
                  </a:cubicBezTo>
                  <a:cubicBezTo>
                    <a:pt x="1378527" y="22861"/>
                    <a:pt x="1427017" y="-45546"/>
                    <a:pt x="1496290" y="33252"/>
                  </a:cubicBezTo>
                  <a:cubicBezTo>
                    <a:pt x="1565563" y="112050"/>
                    <a:pt x="1637434" y="316404"/>
                    <a:pt x="1714500" y="635924"/>
                  </a:cubicBezTo>
                  <a:cubicBezTo>
                    <a:pt x="1791566" y="955444"/>
                    <a:pt x="1891145" y="1697529"/>
                    <a:pt x="1958686" y="1950374"/>
                  </a:cubicBezTo>
                  <a:cubicBezTo>
                    <a:pt x="2026227" y="2203219"/>
                    <a:pt x="2066925" y="2179840"/>
                    <a:pt x="2119745" y="2152997"/>
                  </a:cubicBezTo>
                  <a:cubicBezTo>
                    <a:pt x="2172565" y="2126154"/>
                    <a:pt x="2232314" y="1903615"/>
                    <a:pt x="2275609" y="1789315"/>
                  </a:cubicBezTo>
                  <a:cubicBezTo>
                    <a:pt x="2318904" y="1675015"/>
                    <a:pt x="2334491" y="1536470"/>
                    <a:pt x="2379518" y="1467197"/>
                  </a:cubicBezTo>
                  <a:cubicBezTo>
                    <a:pt x="2424545" y="1397924"/>
                    <a:pt x="2476499" y="1335579"/>
                    <a:pt x="2545772" y="1373679"/>
                  </a:cubicBezTo>
                  <a:cubicBezTo>
                    <a:pt x="2615045" y="1411779"/>
                    <a:pt x="2698172" y="1463733"/>
                    <a:pt x="2795154" y="1695797"/>
                  </a:cubicBezTo>
                  <a:cubicBezTo>
                    <a:pt x="2892136" y="1927861"/>
                    <a:pt x="3035011" y="2520143"/>
                    <a:pt x="3127663" y="2766061"/>
                  </a:cubicBezTo>
                  <a:cubicBezTo>
                    <a:pt x="3220315" y="3011979"/>
                    <a:pt x="3282661" y="3078654"/>
                    <a:pt x="3351068" y="3171306"/>
                  </a:cubicBezTo>
                  <a:cubicBezTo>
                    <a:pt x="3419475" y="3263958"/>
                    <a:pt x="3450647" y="3279544"/>
                    <a:pt x="3538104" y="3321974"/>
                  </a:cubicBezTo>
                  <a:cubicBezTo>
                    <a:pt x="3625561" y="3364404"/>
                    <a:pt x="3760643" y="3404236"/>
                    <a:pt x="3875809" y="3425884"/>
                  </a:cubicBezTo>
                  <a:cubicBezTo>
                    <a:pt x="3990975" y="3447532"/>
                    <a:pt x="4165889" y="3450129"/>
                    <a:pt x="4229100" y="3451861"/>
                  </a:cubicBezTo>
                  <a:cubicBezTo>
                    <a:pt x="4292311" y="3453593"/>
                    <a:pt x="4273694" y="3444933"/>
                    <a:pt x="4255077" y="3436274"/>
                  </a:cubicBezTo>
                </a:path>
              </a:pathLst>
            </a:custGeom>
            <a:noFill/>
            <a:ln w="9525" cap="flat" cmpd="sng" algn="ctr">
              <a:noFill/>
              <a:prstDash val="solid"/>
              <a:headEnd type="none" w="med" len="med"/>
              <a:tailEnd type="non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endParaRPr>
            </a:p>
          </p:txBody>
        </p:sp>
        <p:sp>
          <p:nvSpPr>
            <p:cNvPr id="12" name="TextBox 11">
              <a:extLst>
                <a:ext uri="{FF2B5EF4-FFF2-40B4-BE49-F238E27FC236}">
                  <a16:creationId xmlns:a16="http://schemas.microsoft.com/office/drawing/2014/main" id="{6F12D5A1-6576-4596-808D-AE9013C16DEF}"/>
                </a:ext>
              </a:extLst>
            </p:cNvPr>
            <p:cNvSpPr txBox="1"/>
            <p:nvPr/>
          </p:nvSpPr>
          <p:spPr>
            <a:xfrm flipH="1">
              <a:off x="7205690" y="3479668"/>
              <a:ext cx="191828" cy="172676"/>
            </a:xfrm>
            <a:prstGeom prst="rect">
              <a:avLst/>
            </a:prstGeom>
            <a:noFill/>
          </p:spPr>
          <p:txBody>
            <a:bodyPr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cs typeface="Segoe UI" panose="020B0502040204020203" pitchFamily="34" charset="0"/>
                </a:rPr>
                <a:t>1</a:t>
              </a:r>
            </a:p>
          </p:txBody>
        </p:sp>
        <p:sp>
          <p:nvSpPr>
            <p:cNvPr id="13" name="TextBox 12">
              <a:extLst>
                <a:ext uri="{FF2B5EF4-FFF2-40B4-BE49-F238E27FC236}">
                  <a16:creationId xmlns:a16="http://schemas.microsoft.com/office/drawing/2014/main" id="{6B916EA4-1BB7-4A64-A768-76A94204CCB5}"/>
                </a:ext>
              </a:extLst>
            </p:cNvPr>
            <p:cNvSpPr txBox="1"/>
            <p:nvPr/>
          </p:nvSpPr>
          <p:spPr>
            <a:xfrm>
              <a:off x="9532649" y="2811551"/>
              <a:ext cx="563470" cy="172676"/>
            </a:xfrm>
            <a:prstGeom prst="rect">
              <a:avLst/>
            </a:prstGeom>
            <a:solidFill>
              <a:srgbClr val="FFFFFF"/>
            </a:solid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Inactive</a:t>
              </a:r>
            </a:p>
          </p:txBody>
        </p:sp>
        <p:sp>
          <p:nvSpPr>
            <p:cNvPr id="14" name="TextBox 13">
              <a:extLst>
                <a:ext uri="{FF2B5EF4-FFF2-40B4-BE49-F238E27FC236}">
                  <a16:creationId xmlns:a16="http://schemas.microsoft.com/office/drawing/2014/main" id="{1A764986-5032-4795-B66C-F8E7928DECD2}"/>
                </a:ext>
              </a:extLst>
            </p:cNvPr>
            <p:cNvSpPr txBox="1"/>
            <p:nvPr/>
          </p:nvSpPr>
          <p:spPr>
            <a:xfrm flipH="1">
              <a:off x="7200345" y="4284172"/>
              <a:ext cx="191828" cy="172676"/>
            </a:xfrm>
            <a:prstGeom prst="rect">
              <a:avLst/>
            </a:prstGeom>
            <a:noFill/>
          </p:spPr>
          <p:txBody>
            <a:bodyPr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0</a:t>
              </a:r>
            </a:p>
          </p:txBody>
        </p:sp>
        <p:cxnSp>
          <p:nvCxnSpPr>
            <p:cNvPr id="15" name="Straight Connector 14">
              <a:extLst>
                <a:ext uri="{FF2B5EF4-FFF2-40B4-BE49-F238E27FC236}">
                  <a16:creationId xmlns:a16="http://schemas.microsoft.com/office/drawing/2014/main" id="{8F04ABD0-DDFE-4746-848E-89E89D4E4F5D}"/>
                </a:ext>
              </a:extLst>
            </p:cNvPr>
            <p:cNvCxnSpPr>
              <a:cxnSpLocks/>
            </p:cNvCxnSpPr>
            <p:nvPr/>
          </p:nvCxnSpPr>
          <p:spPr>
            <a:xfrm>
              <a:off x="7324937" y="1661127"/>
              <a:ext cx="4259093" cy="0"/>
            </a:xfrm>
            <a:prstGeom prst="line">
              <a:avLst/>
            </a:prstGeom>
            <a:noFill/>
            <a:ln w="57150" cap="flat" cmpd="sng" algn="ctr">
              <a:solidFill>
                <a:srgbClr val="00BCF2"/>
              </a:solidFill>
              <a:prstDash val="solid"/>
              <a:headEnd type="none" w="lg" len="med"/>
              <a:tailEnd type="none" w="lg" len="med"/>
            </a:ln>
            <a:effectLst/>
          </p:spPr>
        </p:cxnSp>
        <p:sp>
          <p:nvSpPr>
            <p:cNvPr id="16" name="TextBox 15">
              <a:extLst>
                <a:ext uri="{FF2B5EF4-FFF2-40B4-BE49-F238E27FC236}">
                  <a16:creationId xmlns:a16="http://schemas.microsoft.com/office/drawing/2014/main" id="{0EF880EA-FB67-45C7-A677-B18A3F02C926}"/>
                </a:ext>
              </a:extLst>
            </p:cNvPr>
            <p:cNvSpPr txBox="1"/>
            <p:nvPr/>
          </p:nvSpPr>
          <p:spPr>
            <a:xfrm>
              <a:off x="10092131" y="2811551"/>
              <a:ext cx="663856" cy="172676"/>
            </a:xfrm>
            <a:prstGeom prst="rect">
              <a:avLst/>
            </a:prstGeom>
            <a:solidFill>
              <a:srgbClr val="FFFFFF"/>
            </a:solid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Paused</a:t>
              </a:r>
            </a:p>
          </p:txBody>
        </p:sp>
        <p:sp>
          <p:nvSpPr>
            <p:cNvPr id="17" name="TextBox 16">
              <a:extLst>
                <a:ext uri="{FF2B5EF4-FFF2-40B4-BE49-F238E27FC236}">
                  <a16:creationId xmlns:a16="http://schemas.microsoft.com/office/drawing/2014/main" id="{CDD8CF6B-1969-4883-B480-0DD101AE6748}"/>
                </a:ext>
              </a:extLst>
            </p:cNvPr>
            <p:cNvSpPr txBox="1"/>
            <p:nvPr/>
          </p:nvSpPr>
          <p:spPr>
            <a:xfrm>
              <a:off x="8415209" y="5388602"/>
              <a:ext cx="874418" cy="172676"/>
            </a:xfrm>
            <a:prstGeom prst="rect">
              <a:avLst/>
            </a:prstGeom>
            <a:solidFill>
              <a:srgbClr val="FFFFFF"/>
            </a:solid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rgbClr val="000000"/>
                  </a:solidFill>
                  <a:effectLst/>
                  <a:uLnTx/>
                  <a:uFillTx/>
                  <a:cs typeface="Segoe UI" panose="020B0502040204020203" pitchFamily="34" charset="0"/>
                </a:rPr>
                <a:t>Max </a:t>
              </a:r>
              <a:r>
                <a:rPr kumimoji="0" lang="en-US" sz="1122" b="0" i="0" u="none" strike="noStrike" kern="0" cap="none" spc="0" normalizeH="0" baseline="0" noProof="0" err="1">
                  <a:ln>
                    <a:noFill/>
                  </a:ln>
                  <a:solidFill>
                    <a:srgbClr val="000000"/>
                  </a:solidFill>
                  <a:effectLst/>
                  <a:uLnTx/>
                  <a:uFillTx/>
                  <a:cs typeface="Segoe UI" panose="020B0502040204020203" pitchFamily="34" charset="0"/>
                </a:rPr>
                <a:t>vcores</a:t>
              </a:r>
              <a:endParaRPr kumimoji="0" lang="en-US" sz="1122"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18" name="TextBox 17">
              <a:extLst>
                <a:ext uri="{FF2B5EF4-FFF2-40B4-BE49-F238E27FC236}">
                  <a16:creationId xmlns:a16="http://schemas.microsoft.com/office/drawing/2014/main" id="{8E2B112F-DFD3-4F79-A42C-F5EAE7F3BCCF}"/>
                </a:ext>
              </a:extLst>
            </p:cNvPr>
            <p:cNvSpPr txBox="1"/>
            <p:nvPr/>
          </p:nvSpPr>
          <p:spPr>
            <a:xfrm>
              <a:off x="9591321" y="5388602"/>
              <a:ext cx="874418" cy="172676"/>
            </a:xfrm>
            <a:prstGeom prst="rect">
              <a:avLst/>
            </a:prstGeom>
            <a:solidFill>
              <a:srgbClr val="FFFFFF"/>
            </a:solid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err="1">
                  <a:ln>
                    <a:noFill/>
                  </a:ln>
                  <a:solidFill>
                    <a:srgbClr val="000000"/>
                  </a:solidFill>
                  <a:effectLst/>
                  <a:uLnTx/>
                  <a:uFillTx/>
                  <a:cs typeface="Segoe UI" panose="020B0502040204020203" pitchFamily="34" charset="0"/>
                </a:rPr>
                <a:t>Vcores</a:t>
              </a:r>
              <a:r>
                <a:rPr kumimoji="0" lang="en-US" sz="1122" b="0" i="0" u="none" strike="noStrike" kern="0" cap="none" spc="0" normalizeH="0" baseline="0" noProof="0">
                  <a:ln>
                    <a:noFill/>
                  </a:ln>
                  <a:solidFill>
                    <a:srgbClr val="000000"/>
                  </a:solidFill>
                  <a:effectLst/>
                  <a:uLnTx/>
                  <a:uFillTx/>
                  <a:cs typeface="Segoe UI" panose="020B0502040204020203" pitchFamily="34" charset="0"/>
                </a:rPr>
                <a:t> used</a:t>
              </a:r>
            </a:p>
          </p:txBody>
        </p:sp>
        <p:cxnSp>
          <p:nvCxnSpPr>
            <p:cNvPr id="19" name="Straight Connector 18">
              <a:extLst>
                <a:ext uri="{FF2B5EF4-FFF2-40B4-BE49-F238E27FC236}">
                  <a16:creationId xmlns:a16="http://schemas.microsoft.com/office/drawing/2014/main" id="{66C74F84-C903-4737-9346-766DA0DDB637}"/>
                </a:ext>
              </a:extLst>
            </p:cNvPr>
            <p:cNvCxnSpPr>
              <a:cxnSpLocks/>
            </p:cNvCxnSpPr>
            <p:nvPr/>
          </p:nvCxnSpPr>
          <p:spPr>
            <a:xfrm>
              <a:off x="7365018" y="3544960"/>
              <a:ext cx="0" cy="822817"/>
            </a:xfrm>
            <a:prstGeom prst="line">
              <a:avLst/>
            </a:prstGeom>
            <a:noFill/>
            <a:ln w="19050" cap="flat" cmpd="sng" algn="ctr">
              <a:solidFill>
                <a:srgbClr val="002050"/>
              </a:solidFill>
              <a:prstDash val="solid"/>
              <a:headEnd type="none"/>
              <a:tailEnd type="none"/>
            </a:ln>
            <a:effectLst/>
          </p:spPr>
        </p:cxnSp>
        <p:cxnSp>
          <p:nvCxnSpPr>
            <p:cNvPr id="20" name="Straight Connector 19">
              <a:extLst>
                <a:ext uri="{FF2B5EF4-FFF2-40B4-BE49-F238E27FC236}">
                  <a16:creationId xmlns:a16="http://schemas.microsoft.com/office/drawing/2014/main" id="{CE06E2D1-586E-4627-804C-111189E1A333}"/>
                </a:ext>
              </a:extLst>
            </p:cNvPr>
            <p:cNvCxnSpPr>
              <a:cxnSpLocks/>
            </p:cNvCxnSpPr>
            <p:nvPr/>
          </p:nvCxnSpPr>
          <p:spPr>
            <a:xfrm>
              <a:off x="7467764" y="3544960"/>
              <a:ext cx="0" cy="822817"/>
            </a:xfrm>
            <a:prstGeom prst="line">
              <a:avLst/>
            </a:prstGeom>
            <a:noFill/>
            <a:ln w="19050" cap="flat" cmpd="sng" algn="ctr">
              <a:solidFill>
                <a:srgbClr val="002050"/>
              </a:solidFill>
              <a:prstDash val="solid"/>
              <a:headEnd type="none"/>
              <a:tailEnd type="none"/>
            </a:ln>
            <a:effectLst/>
          </p:spPr>
        </p:cxnSp>
        <p:cxnSp>
          <p:nvCxnSpPr>
            <p:cNvPr id="21" name="Straight Connector 20">
              <a:extLst>
                <a:ext uri="{FF2B5EF4-FFF2-40B4-BE49-F238E27FC236}">
                  <a16:creationId xmlns:a16="http://schemas.microsoft.com/office/drawing/2014/main" id="{4797196E-8A7C-4778-AAF7-690E979EFC5A}"/>
                </a:ext>
              </a:extLst>
            </p:cNvPr>
            <p:cNvCxnSpPr>
              <a:cxnSpLocks/>
            </p:cNvCxnSpPr>
            <p:nvPr/>
          </p:nvCxnSpPr>
          <p:spPr>
            <a:xfrm>
              <a:off x="7570510" y="3544960"/>
              <a:ext cx="0" cy="822817"/>
            </a:xfrm>
            <a:prstGeom prst="line">
              <a:avLst/>
            </a:prstGeom>
            <a:noFill/>
            <a:ln w="19050" cap="flat" cmpd="sng" algn="ctr">
              <a:solidFill>
                <a:srgbClr val="002050"/>
              </a:solidFill>
              <a:prstDash val="solid"/>
              <a:headEnd type="none"/>
              <a:tailEnd type="none"/>
            </a:ln>
            <a:effectLst/>
          </p:spPr>
        </p:cxnSp>
        <p:cxnSp>
          <p:nvCxnSpPr>
            <p:cNvPr id="22" name="Straight Connector 21">
              <a:extLst>
                <a:ext uri="{FF2B5EF4-FFF2-40B4-BE49-F238E27FC236}">
                  <a16:creationId xmlns:a16="http://schemas.microsoft.com/office/drawing/2014/main" id="{4C7A047B-4CE7-4867-98B4-D19C6CF633D0}"/>
                </a:ext>
              </a:extLst>
            </p:cNvPr>
            <p:cNvCxnSpPr>
              <a:cxnSpLocks/>
            </p:cNvCxnSpPr>
            <p:nvPr/>
          </p:nvCxnSpPr>
          <p:spPr>
            <a:xfrm>
              <a:off x="7673256" y="3276134"/>
              <a:ext cx="0" cy="1091643"/>
            </a:xfrm>
            <a:prstGeom prst="line">
              <a:avLst/>
            </a:prstGeom>
            <a:noFill/>
            <a:ln w="19050" cap="flat" cmpd="sng" algn="ctr">
              <a:solidFill>
                <a:srgbClr val="002050"/>
              </a:solidFill>
              <a:prstDash val="solid"/>
              <a:headEnd type="none"/>
              <a:tailEnd type="none"/>
            </a:ln>
            <a:effectLst/>
          </p:spPr>
        </p:cxnSp>
        <p:cxnSp>
          <p:nvCxnSpPr>
            <p:cNvPr id="23" name="Straight Connector 22">
              <a:extLst>
                <a:ext uri="{FF2B5EF4-FFF2-40B4-BE49-F238E27FC236}">
                  <a16:creationId xmlns:a16="http://schemas.microsoft.com/office/drawing/2014/main" id="{D4AB575A-F08D-4DDB-84F4-7B3E8A4037CA}"/>
                </a:ext>
              </a:extLst>
            </p:cNvPr>
            <p:cNvCxnSpPr>
              <a:cxnSpLocks/>
            </p:cNvCxnSpPr>
            <p:nvPr/>
          </p:nvCxnSpPr>
          <p:spPr>
            <a:xfrm>
              <a:off x="7774852" y="3056343"/>
              <a:ext cx="1150" cy="1311434"/>
            </a:xfrm>
            <a:prstGeom prst="line">
              <a:avLst/>
            </a:prstGeom>
            <a:noFill/>
            <a:ln w="19050" cap="flat" cmpd="sng" algn="ctr">
              <a:solidFill>
                <a:srgbClr val="002050"/>
              </a:solidFill>
              <a:prstDash val="solid"/>
              <a:headEnd type="none"/>
              <a:tailEnd type="none"/>
            </a:ln>
            <a:effectLst/>
          </p:spPr>
        </p:cxnSp>
        <p:cxnSp>
          <p:nvCxnSpPr>
            <p:cNvPr id="24" name="Straight Connector 23">
              <a:extLst>
                <a:ext uri="{FF2B5EF4-FFF2-40B4-BE49-F238E27FC236}">
                  <a16:creationId xmlns:a16="http://schemas.microsoft.com/office/drawing/2014/main" id="{E61C0571-0684-4B08-A4F3-27A71B6B9392}"/>
                </a:ext>
              </a:extLst>
            </p:cNvPr>
            <p:cNvCxnSpPr>
              <a:cxnSpLocks/>
              <a:stCxn id="56" idx="6"/>
            </p:cNvCxnSpPr>
            <p:nvPr/>
          </p:nvCxnSpPr>
          <p:spPr>
            <a:xfrm flipH="1">
              <a:off x="7876624" y="2385107"/>
              <a:ext cx="110" cy="1979691"/>
            </a:xfrm>
            <a:prstGeom prst="line">
              <a:avLst/>
            </a:prstGeom>
            <a:noFill/>
            <a:ln w="19050" cap="flat" cmpd="sng" algn="ctr">
              <a:solidFill>
                <a:srgbClr val="002050"/>
              </a:solidFill>
              <a:prstDash val="solid"/>
              <a:headEnd type="none"/>
              <a:tailEnd type="none"/>
            </a:ln>
            <a:effectLst/>
          </p:spPr>
        </p:cxnSp>
        <p:cxnSp>
          <p:nvCxnSpPr>
            <p:cNvPr id="25" name="Straight Connector 24">
              <a:extLst>
                <a:ext uri="{FF2B5EF4-FFF2-40B4-BE49-F238E27FC236}">
                  <a16:creationId xmlns:a16="http://schemas.microsoft.com/office/drawing/2014/main" id="{B4685750-312B-4BC0-8745-2F9FFF64CFB9}"/>
                </a:ext>
              </a:extLst>
            </p:cNvPr>
            <p:cNvCxnSpPr>
              <a:cxnSpLocks/>
            </p:cNvCxnSpPr>
            <p:nvPr/>
          </p:nvCxnSpPr>
          <p:spPr>
            <a:xfrm flipH="1">
              <a:off x="7981494" y="3002561"/>
              <a:ext cx="8396" cy="1365216"/>
            </a:xfrm>
            <a:prstGeom prst="line">
              <a:avLst/>
            </a:prstGeom>
            <a:noFill/>
            <a:ln w="19050" cap="flat" cmpd="sng" algn="ctr">
              <a:solidFill>
                <a:srgbClr val="002050"/>
              </a:solidFill>
              <a:prstDash val="solid"/>
              <a:headEnd type="none"/>
              <a:tailEnd type="none"/>
            </a:ln>
            <a:effectLst/>
          </p:spPr>
        </p:cxnSp>
        <p:cxnSp>
          <p:nvCxnSpPr>
            <p:cNvPr id="26" name="Straight Connector 25">
              <a:extLst>
                <a:ext uri="{FF2B5EF4-FFF2-40B4-BE49-F238E27FC236}">
                  <a16:creationId xmlns:a16="http://schemas.microsoft.com/office/drawing/2014/main" id="{CBB9DD73-7556-4271-B9FA-EEE70294C5F7}"/>
                </a:ext>
              </a:extLst>
            </p:cNvPr>
            <p:cNvCxnSpPr>
              <a:cxnSpLocks/>
            </p:cNvCxnSpPr>
            <p:nvPr/>
          </p:nvCxnSpPr>
          <p:spPr>
            <a:xfrm>
              <a:off x="8084240" y="2800350"/>
              <a:ext cx="0" cy="1567427"/>
            </a:xfrm>
            <a:prstGeom prst="line">
              <a:avLst/>
            </a:prstGeom>
            <a:noFill/>
            <a:ln w="19050" cap="flat" cmpd="sng" algn="ctr">
              <a:solidFill>
                <a:srgbClr val="002050"/>
              </a:solidFill>
              <a:prstDash val="solid"/>
              <a:headEnd type="none"/>
              <a:tailEnd type="none"/>
            </a:ln>
            <a:effectLst/>
          </p:spPr>
        </p:cxnSp>
        <p:cxnSp>
          <p:nvCxnSpPr>
            <p:cNvPr id="27" name="Straight Connector 26">
              <a:extLst>
                <a:ext uri="{FF2B5EF4-FFF2-40B4-BE49-F238E27FC236}">
                  <a16:creationId xmlns:a16="http://schemas.microsoft.com/office/drawing/2014/main" id="{0B9D6CC5-86A7-4C66-A6C9-A8E09D77CE6E}"/>
                </a:ext>
              </a:extLst>
            </p:cNvPr>
            <p:cNvCxnSpPr>
              <a:cxnSpLocks/>
            </p:cNvCxnSpPr>
            <p:nvPr/>
          </p:nvCxnSpPr>
          <p:spPr>
            <a:xfrm flipH="1">
              <a:off x="8183938" y="2237178"/>
              <a:ext cx="8403" cy="2127620"/>
            </a:xfrm>
            <a:prstGeom prst="line">
              <a:avLst/>
            </a:prstGeom>
            <a:noFill/>
            <a:ln w="19050" cap="flat" cmpd="sng" algn="ctr">
              <a:solidFill>
                <a:srgbClr val="002050"/>
              </a:solidFill>
              <a:prstDash val="solid"/>
              <a:headEnd type="none"/>
              <a:tailEnd type="none"/>
            </a:ln>
            <a:effectLst/>
          </p:spPr>
        </p:cxnSp>
        <p:cxnSp>
          <p:nvCxnSpPr>
            <p:cNvPr id="28" name="Straight Connector 27">
              <a:extLst>
                <a:ext uri="{FF2B5EF4-FFF2-40B4-BE49-F238E27FC236}">
                  <a16:creationId xmlns:a16="http://schemas.microsoft.com/office/drawing/2014/main" id="{4D90E705-DB04-4D41-B097-7E3A495F120E}"/>
                </a:ext>
              </a:extLst>
            </p:cNvPr>
            <p:cNvCxnSpPr>
              <a:cxnSpLocks/>
            </p:cNvCxnSpPr>
            <p:nvPr/>
          </p:nvCxnSpPr>
          <p:spPr>
            <a:xfrm>
              <a:off x="8297115" y="1744910"/>
              <a:ext cx="0" cy="2622867"/>
            </a:xfrm>
            <a:prstGeom prst="line">
              <a:avLst/>
            </a:prstGeom>
            <a:noFill/>
            <a:ln w="19050" cap="flat" cmpd="sng" algn="ctr">
              <a:solidFill>
                <a:srgbClr val="002050"/>
              </a:solidFill>
              <a:prstDash val="solid"/>
              <a:headEnd type="none"/>
              <a:tailEnd type="none"/>
            </a:ln>
            <a:effectLst/>
          </p:spPr>
        </p:cxnSp>
        <p:cxnSp>
          <p:nvCxnSpPr>
            <p:cNvPr id="29" name="Straight Connector 28">
              <a:extLst>
                <a:ext uri="{FF2B5EF4-FFF2-40B4-BE49-F238E27FC236}">
                  <a16:creationId xmlns:a16="http://schemas.microsoft.com/office/drawing/2014/main" id="{E17F77D9-F8BD-4009-920E-994277045CFB}"/>
                </a:ext>
              </a:extLst>
            </p:cNvPr>
            <p:cNvCxnSpPr>
              <a:cxnSpLocks/>
            </p:cNvCxnSpPr>
            <p:nvPr/>
          </p:nvCxnSpPr>
          <p:spPr>
            <a:xfrm>
              <a:off x="8367362" y="1827023"/>
              <a:ext cx="32499" cy="2540754"/>
            </a:xfrm>
            <a:prstGeom prst="line">
              <a:avLst/>
            </a:prstGeom>
            <a:noFill/>
            <a:ln w="19050" cap="flat" cmpd="sng" algn="ctr">
              <a:solidFill>
                <a:srgbClr val="002050"/>
              </a:solidFill>
              <a:prstDash val="solid"/>
              <a:headEnd type="none"/>
              <a:tailEnd type="none"/>
            </a:ln>
            <a:effectLst/>
          </p:spPr>
        </p:cxnSp>
        <p:cxnSp>
          <p:nvCxnSpPr>
            <p:cNvPr id="30" name="Straight Connector 29">
              <a:extLst>
                <a:ext uri="{FF2B5EF4-FFF2-40B4-BE49-F238E27FC236}">
                  <a16:creationId xmlns:a16="http://schemas.microsoft.com/office/drawing/2014/main" id="{C9131D3C-E91A-42CA-B8DE-5A1E2365D427}"/>
                </a:ext>
              </a:extLst>
            </p:cNvPr>
            <p:cNvCxnSpPr>
              <a:cxnSpLocks/>
              <a:stCxn id="56" idx="13"/>
            </p:cNvCxnSpPr>
            <p:nvPr/>
          </p:nvCxnSpPr>
          <p:spPr>
            <a:xfrm>
              <a:off x="8496171" y="2863191"/>
              <a:ext cx="21279" cy="1501607"/>
            </a:xfrm>
            <a:prstGeom prst="line">
              <a:avLst/>
            </a:prstGeom>
            <a:noFill/>
            <a:ln w="19050" cap="flat" cmpd="sng" algn="ctr">
              <a:solidFill>
                <a:srgbClr val="002050"/>
              </a:solidFill>
              <a:prstDash val="solid"/>
              <a:headEnd type="none"/>
              <a:tailEnd type="none"/>
            </a:ln>
            <a:effectLst/>
          </p:spPr>
        </p:cxnSp>
        <p:cxnSp>
          <p:nvCxnSpPr>
            <p:cNvPr id="31" name="Straight Connector 30">
              <a:extLst>
                <a:ext uri="{FF2B5EF4-FFF2-40B4-BE49-F238E27FC236}">
                  <a16:creationId xmlns:a16="http://schemas.microsoft.com/office/drawing/2014/main" id="{FE1E2930-5B79-429E-9533-AEC86993F0A2}"/>
                </a:ext>
              </a:extLst>
            </p:cNvPr>
            <p:cNvCxnSpPr>
              <a:cxnSpLocks/>
            </p:cNvCxnSpPr>
            <p:nvPr/>
          </p:nvCxnSpPr>
          <p:spPr>
            <a:xfrm>
              <a:off x="8633038" y="2935203"/>
              <a:ext cx="0" cy="1429595"/>
            </a:xfrm>
            <a:prstGeom prst="line">
              <a:avLst/>
            </a:prstGeom>
            <a:noFill/>
            <a:ln w="19050" cap="flat" cmpd="sng" algn="ctr">
              <a:solidFill>
                <a:srgbClr val="002050"/>
              </a:solidFill>
              <a:prstDash val="solid"/>
              <a:headEnd type="none"/>
              <a:tailEnd type="none"/>
            </a:ln>
            <a:effectLst/>
          </p:spPr>
        </p:cxnSp>
        <p:cxnSp>
          <p:nvCxnSpPr>
            <p:cNvPr id="32" name="Straight Connector 31">
              <a:extLst>
                <a:ext uri="{FF2B5EF4-FFF2-40B4-BE49-F238E27FC236}">
                  <a16:creationId xmlns:a16="http://schemas.microsoft.com/office/drawing/2014/main" id="{29960796-831C-41FE-85EC-33BC44B0C932}"/>
                </a:ext>
              </a:extLst>
            </p:cNvPr>
            <p:cNvCxnSpPr>
              <a:cxnSpLocks/>
            </p:cNvCxnSpPr>
            <p:nvPr/>
          </p:nvCxnSpPr>
          <p:spPr>
            <a:xfrm flipH="1">
              <a:off x="8730469" y="3286766"/>
              <a:ext cx="9508" cy="1085489"/>
            </a:xfrm>
            <a:prstGeom prst="line">
              <a:avLst/>
            </a:prstGeom>
            <a:noFill/>
            <a:ln w="19050" cap="flat" cmpd="sng" algn="ctr">
              <a:solidFill>
                <a:srgbClr val="002050"/>
              </a:solidFill>
              <a:prstDash val="solid"/>
              <a:headEnd type="none"/>
              <a:tailEnd type="none"/>
            </a:ln>
            <a:effectLst/>
          </p:spPr>
        </p:cxnSp>
        <p:cxnSp>
          <p:nvCxnSpPr>
            <p:cNvPr id="33" name="Straight Connector 32">
              <a:extLst>
                <a:ext uri="{FF2B5EF4-FFF2-40B4-BE49-F238E27FC236}">
                  <a16:creationId xmlns:a16="http://schemas.microsoft.com/office/drawing/2014/main" id="{D859C591-D048-4D7D-B362-C77969E67C7E}"/>
                </a:ext>
              </a:extLst>
            </p:cNvPr>
            <p:cNvCxnSpPr>
              <a:cxnSpLocks/>
            </p:cNvCxnSpPr>
            <p:nvPr/>
          </p:nvCxnSpPr>
          <p:spPr>
            <a:xfrm>
              <a:off x="8838530" y="3559049"/>
              <a:ext cx="0" cy="805749"/>
            </a:xfrm>
            <a:prstGeom prst="line">
              <a:avLst/>
            </a:prstGeom>
            <a:noFill/>
            <a:ln w="19050" cap="flat" cmpd="sng" algn="ctr">
              <a:solidFill>
                <a:srgbClr val="002050"/>
              </a:solidFill>
              <a:prstDash val="solid"/>
              <a:headEnd type="none"/>
              <a:tailEnd type="none"/>
            </a:ln>
            <a:effectLst/>
          </p:spPr>
        </p:cxnSp>
        <p:cxnSp>
          <p:nvCxnSpPr>
            <p:cNvPr id="34" name="Straight Connector 33">
              <a:extLst>
                <a:ext uri="{FF2B5EF4-FFF2-40B4-BE49-F238E27FC236}">
                  <a16:creationId xmlns:a16="http://schemas.microsoft.com/office/drawing/2014/main" id="{4D999875-0A2C-4765-882D-2A546FB1C95E}"/>
                </a:ext>
              </a:extLst>
            </p:cNvPr>
            <p:cNvCxnSpPr>
              <a:cxnSpLocks/>
            </p:cNvCxnSpPr>
            <p:nvPr/>
          </p:nvCxnSpPr>
          <p:spPr>
            <a:xfrm flipH="1">
              <a:off x="8948659" y="3544759"/>
              <a:ext cx="3676" cy="820039"/>
            </a:xfrm>
            <a:prstGeom prst="line">
              <a:avLst/>
            </a:prstGeom>
            <a:noFill/>
            <a:ln w="19050" cap="flat" cmpd="sng" algn="ctr">
              <a:solidFill>
                <a:srgbClr val="002050"/>
              </a:solidFill>
              <a:prstDash val="solid"/>
              <a:headEnd type="none"/>
              <a:tailEnd type="none"/>
            </a:ln>
            <a:effectLst/>
          </p:spPr>
        </p:cxnSp>
        <p:cxnSp>
          <p:nvCxnSpPr>
            <p:cNvPr id="35" name="Straight Connector 34">
              <a:extLst>
                <a:ext uri="{FF2B5EF4-FFF2-40B4-BE49-F238E27FC236}">
                  <a16:creationId xmlns:a16="http://schemas.microsoft.com/office/drawing/2014/main" id="{872FDE52-9555-4EFC-B0AC-0222D5262408}"/>
                </a:ext>
              </a:extLst>
            </p:cNvPr>
            <p:cNvCxnSpPr>
              <a:cxnSpLocks/>
            </p:cNvCxnSpPr>
            <p:nvPr/>
          </p:nvCxnSpPr>
          <p:spPr>
            <a:xfrm>
              <a:off x="9051405" y="3536492"/>
              <a:ext cx="0" cy="828306"/>
            </a:xfrm>
            <a:prstGeom prst="line">
              <a:avLst/>
            </a:prstGeom>
            <a:noFill/>
            <a:ln w="19050" cap="flat" cmpd="sng" algn="ctr">
              <a:solidFill>
                <a:srgbClr val="002050"/>
              </a:solidFill>
              <a:prstDash val="solid"/>
              <a:headEnd type="none"/>
              <a:tailEnd type="none"/>
            </a:ln>
            <a:effectLst/>
          </p:spPr>
        </p:cxnSp>
        <p:cxnSp>
          <p:nvCxnSpPr>
            <p:cNvPr id="36" name="Straight Connector 35">
              <a:extLst>
                <a:ext uri="{FF2B5EF4-FFF2-40B4-BE49-F238E27FC236}">
                  <a16:creationId xmlns:a16="http://schemas.microsoft.com/office/drawing/2014/main" id="{3694C5E6-8326-430E-9027-2E5348C93A3A}"/>
                </a:ext>
              </a:extLst>
            </p:cNvPr>
            <p:cNvCxnSpPr>
              <a:cxnSpLocks/>
            </p:cNvCxnSpPr>
            <p:nvPr/>
          </p:nvCxnSpPr>
          <p:spPr>
            <a:xfrm flipH="1">
              <a:off x="9154151" y="3544960"/>
              <a:ext cx="4139" cy="819838"/>
            </a:xfrm>
            <a:prstGeom prst="line">
              <a:avLst/>
            </a:prstGeom>
            <a:noFill/>
            <a:ln w="19050" cap="flat" cmpd="sng" algn="ctr">
              <a:solidFill>
                <a:srgbClr val="002050"/>
              </a:solidFill>
              <a:prstDash val="solid"/>
              <a:headEnd type="none"/>
              <a:tailEnd type="none"/>
            </a:ln>
            <a:effectLst/>
          </p:spPr>
        </p:cxnSp>
        <p:cxnSp>
          <p:nvCxnSpPr>
            <p:cNvPr id="37" name="Straight Connector 36">
              <a:extLst>
                <a:ext uri="{FF2B5EF4-FFF2-40B4-BE49-F238E27FC236}">
                  <a16:creationId xmlns:a16="http://schemas.microsoft.com/office/drawing/2014/main" id="{E7529B05-066C-468A-ADDB-8565F0AF6560}"/>
                </a:ext>
              </a:extLst>
            </p:cNvPr>
            <p:cNvCxnSpPr>
              <a:cxnSpLocks/>
            </p:cNvCxnSpPr>
            <p:nvPr/>
          </p:nvCxnSpPr>
          <p:spPr>
            <a:xfrm flipH="1">
              <a:off x="9272094" y="3536492"/>
              <a:ext cx="5105" cy="828306"/>
            </a:xfrm>
            <a:prstGeom prst="line">
              <a:avLst/>
            </a:prstGeom>
            <a:noFill/>
            <a:ln w="19050" cap="flat" cmpd="sng" algn="ctr">
              <a:solidFill>
                <a:srgbClr val="002050"/>
              </a:solidFill>
              <a:prstDash val="solid"/>
              <a:headEnd type="none"/>
              <a:tailEnd type="none"/>
            </a:ln>
            <a:effectLst/>
          </p:spPr>
        </p:cxnSp>
        <p:sp>
          <p:nvSpPr>
            <p:cNvPr id="38" name="TextBox 37">
              <a:extLst>
                <a:ext uri="{FF2B5EF4-FFF2-40B4-BE49-F238E27FC236}">
                  <a16:creationId xmlns:a16="http://schemas.microsoft.com/office/drawing/2014/main" id="{29612BD3-B1A1-46B0-95E7-986DC9CF9104}"/>
                </a:ext>
              </a:extLst>
            </p:cNvPr>
            <p:cNvSpPr txBox="1"/>
            <p:nvPr/>
          </p:nvSpPr>
          <p:spPr>
            <a:xfrm>
              <a:off x="10665649" y="5388602"/>
              <a:ext cx="874418" cy="172676"/>
            </a:xfrm>
            <a:prstGeom prst="rect">
              <a:avLst/>
            </a:prstGeom>
            <a:solidFill>
              <a:srgbClr val="FFFFFF"/>
            </a:solid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err="1">
                  <a:ln>
                    <a:noFill/>
                  </a:ln>
                  <a:solidFill>
                    <a:srgbClr val="000000"/>
                  </a:solidFill>
                  <a:effectLst/>
                  <a:uLnTx/>
                  <a:uFillTx/>
                  <a:cs typeface="Segoe UI" panose="020B0502040204020203" pitchFamily="34" charset="0"/>
                </a:rPr>
                <a:t>Vcores</a:t>
              </a:r>
              <a:r>
                <a:rPr kumimoji="0" lang="en-US" sz="1122" b="0" i="0" u="none" strike="noStrike" kern="0" cap="none" spc="0" normalizeH="0" baseline="0" noProof="0">
                  <a:ln>
                    <a:noFill/>
                  </a:ln>
                  <a:solidFill>
                    <a:srgbClr val="000000"/>
                  </a:solidFill>
                  <a:effectLst/>
                  <a:uLnTx/>
                  <a:uFillTx/>
                  <a:cs typeface="Segoe UI" panose="020B0502040204020203" pitchFamily="34" charset="0"/>
                </a:rPr>
                <a:t> billed</a:t>
              </a:r>
            </a:p>
          </p:txBody>
        </p:sp>
        <p:sp>
          <p:nvSpPr>
            <p:cNvPr id="39" name="Rectangle 38">
              <a:extLst>
                <a:ext uri="{FF2B5EF4-FFF2-40B4-BE49-F238E27FC236}">
                  <a16:creationId xmlns:a16="http://schemas.microsoft.com/office/drawing/2014/main" id="{E3FE0D43-A1CA-4A09-9A82-9849CFB1DC8B}"/>
                </a:ext>
              </a:extLst>
            </p:cNvPr>
            <p:cNvSpPr/>
            <p:nvPr/>
          </p:nvSpPr>
          <p:spPr bwMode="auto">
            <a:xfrm>
              <a:off x="7200466" y="5454932"/>
              <a:ext cx="191828" cy="45719"/>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0" name="Rectangle 39">
              <a:extLst>
                <a:ext uri="{FF2B5EF4-FFF2-40B4-BE49-F238E27FC236}">
                  <a16:creationId xmlns:a16="http://schemas.microsoft.com/office/drawing/2014/main" id="{2E22D809-AD1A-4DD5-BA7F-7FA78F43B90D}"/>
                </a:ext>
              </a:extLst>
            </p:cNvPr>
            <p:cNvSpPr/>
            <p:nvPr/>
          </p:nvSpPr>
          <p:spPr bwMode="auto">
            <a:xfrm>
              <a:off x="8263695" y="5454932"/>
              <a:ext cx="191828" cy="45719"/>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 name="Rectangle 40">
              <a:extLst>
                <a:ext uri="{FF2B5EF4-FFF2-40B4-BE49-F238E27FC236}">
                  <a16:creationId xmlns:a16="http://schemas.microsoft.com/office/drawing/2014/main" id="{AD821E95-A7F3-4D4E-B49A-A5BFED6FB54E}"/>
                </a:ext>
              </a:extLst>
            </p:cNvPr>
            <p:cNvSpPr/>
            <p:nvPr/>
          </p:nvSpPr>
          <p:spPr bwMode="auto">
            <a:xfrm>
              <a:off x="9406270" y="5454932"/>
              <a:ext cx="191828" cy="45719"/>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 name="Rectangle 41">
              <a:extLst>
                <a:ext uri="{FF2B5EF4-FFF2-40B4-BE49-F238E27FC236}">
                  <a16:creationId xmlns:a16="http://schemas.microsoft.com/office/drawing/2014/main" id="{1E064990-9909-4EF7-B8BA-91B79802D7CA}"/>
                </a:ext>
              </a:extLst>
            </p:cNvPr>
            <p:cNvSpPr/>
            <p:nvPr/>
          </p:nvSpPr>
          <p:spPr bwMode="auto">
            <a:xfrm rot="16200000">
              <a:off x="10515946" y="5454932"/>
              <a:ext cx="191828" cy="45719"/>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0C3E5D53-1278-4706-8F9D-5B9F5196C8FB}"/>
                </a:ext>
              </a:extLst>
            </p:cNvPr>
            <p:cNvCxnSpPr>
              <a:cxnSpLocks/>
            </p:cNvCxnSpPr>
            <p:nvPr/>
          </p:nvCxnSpPr>
          <p:spPr>
            <a:xfrm>
              <a:off x="9384498" y="3567495"/>
              <a:ext cx="0" cy="805749"/>
            </a:xfrm>
            <a:prstGeom prst="line">
              <a:avLst/>
            </a:prstGeom>
            <a:noFill/>
            <a:ln w="19050" cap="flat" cmpd="sng" algn="ctr">
              <a:solidFill>
                <a:srgbClr val="002050"/>
              </a:solidFill>
              <a:prstDash val="solid"/>
              <a:headEnd type="none"/>
              <a:tailEnd type="none"/>
            </a:ln>
            <a:effectLst/>
          </p:spPr>
        </p:cxnSp>
        <p:cxnSp>
          <p:nvCxnSpPr>
            <p:cNvPr id="44" name="Straight Connector 43">
              <a:extLst>
                <a:ext uri="{FF2B5EF4-FFF2-40B4-BE49-F238E27FC236}">
                  <a16:creationId xmlns:a16="http://schemas.microsoft.com/office/drawing/2014/main" id="{5D0C3D6F-B7AF-4F7A-AEB4-7B2178FCD109}"/>
                </a:ext>
              </a:extLst>
            </p:cNvPr>
            <p:cNvCxnSpPr>
              <a:cxnSpLocks/>
            </p:cNvCxnSpPr>
            <p:nvPr/>
          </p:nvCxnSpPr>
          <p:spPr>
            <a:xfrm flipH="1">
              <a:off x="9494627" y="3553205"/>
              <a:ext cx="3676" cy="820039"/>
            </a:xfrm>
            <a:prstGeom prst="line">
              <a:avLst/>
            </a:prstGeom>
            <a:noFill/>
            <a:ln w="19050" cap="flat" cmpd="sng" algn="ctr">
              <a:solidFill>
                <a:srgbClr val="002050"/>
              </a:solidFill>
              <a:prstDash val="solid"/>
              <a:headEnd type="none"/>
              <a:tailEnd type="none"/>
            </a:ln>
            <a:effectLst/>
          </p:spPr>
        </p:cxnSp>
        <p:cxnSp>
          <p:nvCxnSpPr>
            <p:cNvPr id="45" name="Straight Connector 44">
              <a:extLst>
                <a:ext uri="{FF2B5EF4-FFF2-40B4-BE49-F238E27FC236}">
                  <a16:creationId xmlns:a16="http://schemas.microsoft.com/office/drawing/2014/main" id="{D425301E-90F1-4D43-916F-71EEAA767A49}"/>
                </a:ext>
              </a:extLst>
            </p:cNvPr>
            <p:cNvCxnSpPr>
              <a:cxnSpLocks/>
            </p:cNvCxnSpPr>
            <p:nvPr/>
          </p:nvCxnSpPr>
          <p:spPr>
            <a:xfrm>
              <a:off x="9597373" y="3544938"/>
              <a:ext cx="0" cy="828306"/>
            </a:xfrm>
            <a:prstGeom prst="line">
              <a:avLst/>
            </a:prstGeom>
            <a:noFill/>
            <a:ln w="19050" cap="flat" cmpd="sng" algn="ctr">
              <a:solidFill>
                <a:srgbClr val="002050"/>
              </a:solidFill>
              <a:prstDash val="solid"/>
              <a:headEnd type="none"/>
              <a:tailEnd type="none"/>
            </a:ln>
            <a:effectLst/>
          </p:spPr>
        </p:cxnSp>
        <p:cxnSp>
          <p:nvCxnSpPr>
            <p:cNvPr id="46" name="Straight Connector 45">
              <a:extLst>
                <a:ext uri="{FF2B5EF4-FFF2-40B4-BE49-F238E27FC236}">
                  <a16:creationId xmlns:a16="http://schemas.microsoft.com/office/drawing/2014/main" id="{909F2F11-2139-403A-82C4-019B98D4E494}"/>
                </a:ext>
              </a:extLst>
            </p:cNvPr>
            <p:cNvCxnSpPr>
              <a:cxnSpLocks/>
            </p:cNvCxnSpPr>
            <p:nvPr/>
          </p:nvCxnSpPr>
          <p:spPr>
            <a:xfrm flipH="1">
              <a:off x="9700119" y="3553406"/>
              <a:ext cx="4139" cy="819838"/>
            </a:xfrm>
            <a:prstGeom prst="line">
              <a:avLst/>
            </a:prstGeom>
            <a:noFill/>
            <a:ln w="19050" cap="flat" cmpd="sng" algn="ctr">
              <a:solidFill>
                <a:srgbClr val="002050"/>
              </a:solidFill>
              <a:prstDash val="solid"/>
              <a:headEnd type="none"/>
              <a:tailEnd type="none"/>
            </a:ln>
            <a:effectLst/>
          </p:spPr>
        </p:cxnSp>
        <p:cxnSp>
          <p:nvCxnSpPr>
            <p:cNvPr id="47" name="Straight Connector 46">
              <a:extLst>
                <a:ext uri="{FF2B5EF4-FFF2-40B4-BE49-F238E27FC236}">
                  <a16:creationId xmlns:a16="http://schemas.microsoft.com/office/drawing/2014/main" id="{36BEE576-D063-4587-9192-52C43802DC9C}"/>
                </a:ext>
              </a:extLst>
            </p:cNvPr>
            <p:cNvCxnSpPr>
              <a:cxnSpLocks/>
            </p:cNvCxnSpPr>
            <p:nvPr/>
          </p:nvCxnSpPr>
          <p:spPr>
            <a:xfrm flipH="1">
              <a:off x="9818062" y="3538588"/>
              <a:ext cx="5105" cy="828306"/>
            </a:xfrm>
            <a:prstGeom prst="line">
              <a:avLst/>
            </a:prstGeom>
            <a:noFill/>
            <a:ln w="19050" cap="flat" cmpd="sng" algn="ctr">
              <a:solidFill>
                <a:srgbClr val="002050"/>
              </a:solidFill>
              <a:prstDash val="solid"/>
              <a:headEnd type="none"/>
              <a:tailEnd type="none"/>
            </a:ln>
            <a:effectLst/>
          </p:spPr>
        </p:cxnSp>
        <p:cxnSp>
          <p:nvCxnSpPr>
            <p:cNvPr id="48" name="Straight Connector 47">
              <a:extLst>
                <a:ext uri="{FF2B5EF4-FFF2-40B4-BE49-F238E27FC236}">
                  <a16:creationId xmlns:a16="http://schemas.microsoft.com/office/drawing/2014/main" id="{93EA4F8D-3113-4F27-A95A-B1E309B1F6D6}"/>
                </a:ext>
              </a:extLst>
            </p:cNvPr>
            <p:cNvCxnSpPr>
              <a:cxnSpLocks/>
            </p:cNvCxnSpPr>
            <p:nvPr/>
          </p:nvCxnSpPr>
          <p:spPr>
            <a:xfrm flipH="1">
              <a:off x="9938755" y="3544938"/>
              <a:ext cx="5105" cy="828306"/>
            </a:xfrm>
            <a:prstGeom prst="line">
              <a:avLst/>
            </a:prstGeom>
            <a:noFill/>
            <a:ln w="19050" cap="flat" cmpd="sng" algn="ctr">
              <a:solidFill>
                <a:srgbClr val="002050"/>
              </a:solidFill>
              <a:prstDash val="solid"/>
              <a:headEnd type="none"/>
              <a:tailEnd type="none"/>
            </a:ln>
            <a:effectLst/>
          </p:spPr>
        </p:cxnSp>
        <p:cxnSp>
          <p:nvCxnSpPr>
            <p:cNvPr id="49" name="Straight Connector 48">
              <a:extLst>
                <a:ext uri="{FF2B5EF4-FFF2-40B4-BE49-F238E27FC236}">
                  <a16:creationId xmlns:a16="http://schemas.microsoft.com/office/drawing/2014/main" id="{B82FC613-154C-4E11-B313-3BA76F340369}"/>
                </a:ext>
              </a:extLst>
            </p:cNvPr>
            <p:cNvCxnSpPr>
              <a:cxnSpLocks/>
            </p:cNvCxnSpPr>
            <p:nvPr/>
          </p:nvCxnSpPr>
          <p:spPr>
            <a:xfrm flipH="1">
              <a:off x="10948345" y="3592912"/>
              <a:ext cx="6504" cy="765085"/>
            </a:xfrm>
            <a:prstGeom prst="line">
              <a:avLst/>
            </a:prstGeom>
            <a:noFill/>
            <a:ln w="19050" cap="flat" cmpd="sng" algn="ctr">
              <a:solidFill>
                <a:srgbClr val="002050"/>
              </a:solidFill>
              <a:prstDash val="solid"/>
              <a:headEnd type="none"/>
              <a:tailEnd type="none"/>
            </a:ln>
            <a:effectLst/>
          </p:spPr>
        </p:cxnSp>
        <p:cxnSp>
          <p:nvCxnSpPr>
            <p:cNvPr id="50" name="Straight Connector 49">
              <a:extLst>
                <a:ext uri="{FF2B5EF4-FFF2-40B4-BE49-F238E27FC236}">
                  <a16:creationId xmlns:a16="http://schemas.microsoft.com/office/drawing/2014/main" id="{D481996E-173F-463F-923F-82C6203DA521}"/>
                </a:ext>
              </a:extLst>
            </p:cNvPr>
            <p:cNvCxnSpPr>
              <a:cxnSpLocks/>
            </p:cNvCxnSpPr>
            <p:nvPr/>
          </p:nvCxnSpPr>
          <p:spPr>
            <a:xfrm>
              <a:off x="11060748" y="3560694"/>
              <a:ext cx="0" cy="805749"/>
            </a:xfrm>
            <a:prstGeom prst="line">
              <a:avLst/>
            </a:prstGeom>
            <a:noFill/>
            <a:ln w="19050" cap="flat" cmpd="sng" algn="ctr">
              <a:solidFill>
                <a:srgbClr val="002050"/>
              </a:solidFill>
              <a:prstDash val="solid"/>
              <a:headEnd type="none"/>
              <a:tailEnd type="none"/>
            </a:ln>
            <a:effectLst/>
          </p:spPr>
        </p:cxnSp>
        <p:cxnSp>
          <p:nvCxnSpPr>
            <p:cNvPr id="51" name="Straight Connector 50">
              <a:extLst>
                <a:ext uri="{FF2B5EF4-FFF2-40B4-BE49-F238E27FC236}">
                  <a16:creationId xmlns:a16="http://schemas.microsoft.com/office/drawing/2014/main" id="{DAD5933D-9F95-4F35-8C41-D5001953AF6D}"/>
                </a:ext>
              </a:extLst>
            </p:cNvPr>
            <p:cNvCxnSpPr>
              <a:cxnSpLocks/>
            </p:cNvCxnSpPr>
            <p:nvPr/>
          </p:nvCxnSpPr>
          <p:spPr>
            <a:xfrm flipH="1">
              <a:off x="11170877" y="3546404"/>
              <a:ext cx="3676" cy="820039"/>
            </a:xfrm>
            <a:prstGeom prst="line">
              <a:avLst/>
            </a:prstGeom>
            <a:noFill/>
            <a:ln w="19050" cap="flat" cmpd="sng" algn="ctr">
              <a:solidFill>
                <a:srgbClr val="002050"/>
              </a:solidFill>
              <a:prstDash val="solid"/>
              <a:headEnd type="none"/>
              <a:tailEnd type="none"/>
            </a:ln>
            <a:effectLst/>
          </p:spPr>
        </p:cxnSp>
        <p:cxnSp>
          <p:nvCxnSpPr>
            <p:cNvPr id="52" name="Straight Connector 51">
              <a:extLst>
                <a:ext uri="{FF2B5EF4-FFF2-40B4-BE49-F238E27FC236}">
                  <a16:creationId xmlns:a16="http://schemas.microsoft.com/office/drawing/2014/main" id="{B664A28A-09CE-436E-AA8B-B900EF77C7F0}"/>
                </a:ext>
              </a:extLst>
            </p:cNvPr>
            <p:cNvCxnSpPr>
              <a:cxnSpLocks/>
            </p:cNvCxnSpPr>
            <p:nvPr/>
          </p:nvCxnSpPr>
          <p:spPr>
            <a:xfrm>
              <a:off x="11273623" y="3538137"/>
              <a:ext cx="0" cy="828306"/>
            </a:xfrm>
            <a:prstGeom prst="line">
              <a:avLst/>
            </a:prstGeom>
            <a:noFill/>
            <a:ln w="19050" cap="flat" cmpd="sng" algn="ctr">
              <a:solidFill>
                <a:srgbClr val="002050"/>
              </a:solidFill>
              <a:prstDash val="solid"/>
              <a:headEnd type="none"/>
              <a:tailEnd type="none"/>
            </a:ln>
            <a:effectLst/>
          </p:spPr>
        </p:cxnSp>
        <p:cxnSp>
          <p:nvCxnSpPr>
            <p:cNvPr id="53" name="Straight Connector 52">
              <a:extLst>
                <a:ext uri="{FF2B5EF4-FFF2-40B4-BE49-F238E27FC236}">
                  <a16:creationId xmlns:a16="http://schemas.microsoft.com/office/drawing/2014/main" id="{62FF44B3-9705-4174-8BC1-158DB67368CF}"/>
                </a:ext>
              </a:extLst>
            </p:cNvPr>
            <p:cNvCxnSpPr>
              <a:cxnSpLocks/>
            </p:cNvCxnSpPr>
            <p:nvPr/>
          </p:nvCxnSpPr>
          <p:spPr>
            <a:xfrm flipH="1">
              <a:off x="11376369" y="3546605"/>
              <a:ext cx="4139" cy="819838"/>
            </a:xfrm>
            <a:prstGeom prst="line">
              <a:avLst/>
            </a:prstGeom>
            <a:noFill/>
            <a:ln w="19050" cap="flat" cmpd="sng" algn="ctr">
              <a:solidFill>
                <a:srgbClr val="002050"/>
              </a:solidFill>
              <a:prstDash val="solid"/>
              <a:headEnd type="none"/>
              <a:tailEnd type="none"/>
            </a:ln>
            <a:effectLst/>
          </p:spPr>
        </p:cxnSp>
        <p:cxnSp>
          <p:nvCxnSpPr>
            <p:cNvPr id="54" name="Straight Connector 53">
              <a:extLst>
                <a:ext uri="{FF2B5EF4-FFF2-40B4-BE49-F238E27FC236}">
                  <a16:creationId xmlns:a16="http://schemas.microsoft.com/office/drawing/2014/main" id="{F35BFF5F-F78B-4A94-8EB9-0CBB83637E6C}"/>
                </a:ext>
              </a:extLst>
            </p:cNvPr>
            <p:cNvCxnSpPr>
              <a:cxnSpLocks/>
            </p:cNvCxnSpPr>
            <p:nvPr/>
          </p:nvCxnSpPr>
          <p:spPr>
            <a:xfrm flipH="1">
              <a:off x="11494312" y="3538137"/>
              <a:ext cx="5105" cy="828306"/>
            </a:xfrm>
            <a:prstGeom prst="line">
              <a:avLst/>
            </a:prstGeom>
            <a:noFill/>
            <a:ln w="19050" cap="flat" cmpd="sng" algn="ctr">
              <a:solidFill>
                <a:srgbClr val="002050"/>
              </a:solidFill>
              <a:prstDash val="solid"/>
              <a:headEnd type="none"/>
              <a:tailEnd type="none"/>
            </a:ln>
            <a:effectLst/>
          </p:spPr>
        </p:cxnSp>
        <p:cxnSp>
          <p:nvCxnSpPr>
            <p:cNvPr id="55" name="Straight Arrow Connector 54">
              <a:extLst>
                <a:ext uri="{FF2B5EF4-FFF2-40B4-BE49-F238E27FC236}">
                  <a16:creationId xmlns:a16="http://schemas.microsoft.com/office/drawing/2014/main" id="{34351BEB-2C0C-4652-A274-1EC3799D3A33}"/>
                </a:ext>
              </a:extLst>
            </p:cNvPr>
            <p:cNvCxnSpPr>
              <a:cxnSpLocks/>
            </p:cNvCxnSpPr>
            <p:nvPr/>
          </p:nvCxnSpPr>
          <p:spPr>
            <a:xfrm flipV="1">
              <a:off x="7324937" y="4365716"/>
              <a:ext cx="4219974" cy="2061"/>
            </a:xfrm>
            <a:prstGeom prst="straightConnector1">
              <a:avLst/>
            </a:prstGeom>
            <a:noFill/>
            <a:ln w="12700" cap="flat" cmpd="sng" algn="ctr">
              <a:solidFill>
                <a:srgbClr val="505050"/>
              </a:solidFill>
              <a:prstDash val="solid"/>
              <a:headEnd type="none" w="lg" len="med"/>
              <a:tailEnd type="none"/>
            </a:ln>
            <a:effectLst/>
          </p:spPr>
        </p:cxnSp>
        <p:sp>
          <p:nvSpPr>
            <p:cNvPr id="56" name="Freeform 50">
              <a:extLst>
                <a:ext uri="{FF2B5EF4-FFF2-40B4-BE49-F238E27FC236}">
                  <a16:creationId xmlns:a16="http://schemas.microsoft.com/office/drawing/2014/main" id="{063EDD7F-BD0C-4089-80D2-35F093A4AAF5}"/>
                </a:ext>
              </a:extLst>
            </p:cNvPr>
            <p:cNvSpPr/>
            <p:nvPr/>
          </p:nvSpPr>
          <p:spPr bwMode="auto">
            <a:xfrm>
              <a:off x="7324627" y="1694540"/>
              <a:ext cx="4214867" cy="2680744"/>
            </a:xfrm>
            <a:custGeom>
              <a:avLst/>
              <a:gdLst>
                <a:gd name="connsiteX0" fmla="*/ 0 w 4691921"/>
                <a:gd name="connsiteY0" fmla="*/ 1723869 h 1821305"/>
                <a:gd name="connsiteX1" fmla="*/ 232348 w 4691921"/>
                <a:gd name="connsiteY1" fmla="*/ 1521502 h 1821305"/>
                <a:gd name="connsiteX2" fmla="*/ 239843 w 4691921"/>
                <a:gd name="connsiteY2" fmla="*/ 1401581 h 1821305"/>
                <a:gd name="connsiteX3" fmla="*/ 247338 w 4691921"/>
                <a:gd name="connsiteY3" fmla="*/ 1334125 h 1821305"/>
                <a:gd name="connsiteX4" fmla="*/ 337279 w 4691921"/>
                <a:gd name="connsiteY4" fmla="*/ 1011836 h 1821305"/>
                <a:gd name="connsiteX5" fmla="*/ 419725 w 4691921"/>
                <a:gd name="connsiteY5" fmla="*/ 1214204 h 1821305"/>
                <a:gd name="connsiteX6" fmla="*/ 614597 w 4691921"/>
                <a:gd name="connsiteY6" fmla="*/ 487181 h 1821305"/>
                <a:gd name="connsiteX7" fmla="*/ 697043 w 4691921"/>
                <a:gd name="connsiteY7" fmla="*/ 854440 h 1821305"/>
                <a:gd name="connsiteX8" fmla="*/ 809469 w 4691921"/>
                <a:gd name="connsiteY8" fmla="*/ 1041817 h 1821305"/>
                <a:gd name="connsiteX9" fmla="*/ 906905 w 4691921"/>
                <a:gd name="connsiteY9" fmla="*/ 352269 h 1821305"/>
                <a:gd name="connsiteX10" fmla="*/ 1019331 w 4691921"/>
                <a:gd name="connsiteY10" fmla="*/ 397240 h 1821305"/>
                <a:gd name="connsiteX11" fmla="*/ 1094282 w 4691921"/>
                <a:gd name="connsiteY11" fmla="*/ 0 h 1821305"/>
                <a:gd name="connsiteX12" fmla="*/ 1214203 w 4691921"/>
                <a:gd name="connsiteY12" fmla="*/ 194872 h 1821305"/>
                <a:gd name="connsiteX13" fmla="*/ 1304144 w 4691921"/>
                <a:gd name="connsiteY13" fmla="*/ 824459 h 1821305"/>
                <a:gd name="connsiteX14" fmla="*/ 1401580 w 4691921"/>
                <a:gd name="connsiteY14" fmla="*/ 1184223 h 1821305"/>
                <a:gd name="connsiteX15" fmla="*/ 1484026 w 4691921"/>
                <a:gd name="connsiteY15" fmla="*/ 727023 h 1821305"/>
                <a:gd name="connsiteX16" fmla="*/ 1581462 w 4691921"/>
                <a:gd name="connsiteY16" fmla="*/ 1184223 h 1821305"/>
                <a:gd name="connsiteX17" fmla="*/ 1686393 w 4691921"/>
                <a:gd name="connsiteY17" fmla="*/ 1109272 h 1821305"/>
                <a:gd name="connsiteX18" fmla="*/ 1768839 w 4691921"/>
                <a:gd name="connsiteY18" fmla="*/ 1596453 h 1821305"/>
                <a:gd name="connsiteX19" fmla="*/ 1873770 w 4691921"/>
                <a:gd name="connsiteY19" fmla="*/ 1506512 h 1821305"/>
                <a:gd name="connsiteX20" fmla="*/ 1986197 w 4691921"/>
                <a:gd name="connsiteY20" fmla="*/ 1716374 h 1821305"/>
                <a:gd name="connsiteX21" fmla="*/ 2083633 w 4691921"/>
                <a:gd name="connsiteY21" fmla="*/ 1746354 h 1821305"/>
                <a:gd name="connsiteX22" fmla="*/ 2188564 w 4691921"/>
                <a:gd name="connsiteY22" fmla="*/ 1656413 h 1821305"/>
                <a:gd name="connsiteX23" fmla="*/ 2338466 w 4691921"/>
                <a:gd name="connsiteY23" fmla="*/ 1716374 h 1821305"/>
                <a:gd name="connsiteX24" fmla="*/ 2465882 w 4691921"/>
                <a:gd name="connsiteY24" fmla="*/ 1678899 h 1821305"/>
                <a:gd name="connsiteX25" fmla="*/ 2570813 w 4691921"/>
                <a:gd name="connsiteY25" fmla="*/ 1821305 h 1821305"/>
                <a:gd name="connsiteX26" fmla="*/ 2690734 w 4691921"/>
                <a:gd name="connsiteY26" fmla="*/ 1753850 h 1821305"/>
                <a:gd name="connsiteX27" fmla="*/ 2743200 w 4691921"/>
                <a:gd name="connsiteY27" fmla="*/ 1821305 h 1821305"/>
                <a:gd name="connsiteX28" fmla="*/ 4002374 w 4691921"/>
                <a:gd name="connsiteY28" fmla="*/ 1821305 h 1821305"/>
                <a:gd name="connsiteX29" fmla="*/ 4107305 w 4691921"/>
                <a:gd name="connsiteY29" fmla="*/ 1761345 h 1821305"/>
                <a:gd name="connsiteX30" fmla="*/ 4219731 w 4691921"/>
                <a:gd name="connsiteY30" fmla="*/ 1821305 h 1821305"/>
                <a:gd name="connsiteX31" fmla="*/ 4384623 w 4691921"/>
                <a:gd name="connsiteY31" fmla="*/ 1746354 h 1821305"/>
                <a:gd name="connsiteX32" fmla="*/ 4497049 w 4691921"/>
                <a:gd name="connsiteY32" fmla="*/ 1821305 h 1821305"/>
                <a:gd name="connsiteX33" fmla="*/ 4557010 w 4691921"/>
                <a:gd name="connsiteY33" fmla="*/ 1746354 h 1821305"/>
                <a:gd name="connsiteX34" fmla="*/ 4691921 w 4691921"/>
                <a:gd name="connsiteY34" fmla="*/ 1558977 h 1821305"/>
                <a:gd name="connsiteX0" fmla="*/ 0 w 4691921"/>
                <a:gd name="connsiteY0" fmla="*/ 1723869 h 1955699"/>
                <a:gd name="connsiteX1" fmla="*/ 232348 w 4691921"/>
                <a:gd name="connsiteY1" fmla="*/ 1521502 h 1955699"/>
                <a:gd name="connsiteX2" fmla="*/ 239843 w 4691921"/>
                <a:gd name="connsiteY2" fmla="*/ 1401581 h 1955699"/>
                <a:gd name="connsiteX3" fmla="*/ 247338 w 4691921"/>
                <a:gd name="connsiteY3" fmla="*/ 1334125 h 1955699"/>
                <a:gd name="connsiteX4" fmla="*/ 337279 w 4691921"/>
                <a:gd name="connsiteY4" fmla="*/ 1011836 h 1955699"/>
                <a:gd name="connsiteX5" fmla="*/ 419725 w 4691921"/>
                <a:gd name="connsiteY5" fmla="*/ 1214204 h 1955699"/>
                <a:gd name="connsiteX6" fmla="*/ 614597 w 4691921"/>
                <a:gd name="connsiteY6" fmla="*/ 487181 h 1955699"/>
                <a:gd name="connsiteX7" fmla="*/ 697043 w 4691921"/>
                <a:gd name="connsiteY7" fmla="*/ 854440 h 1955699"/>
                <a:gd name="connsiteX8" fmla="*/ 809469 w 4691921"/>
                <a:gd name="connsiteY8" fmla="*/ 1041817 h 1955699"/>
                <a:gd name="connsiteX9" fmla="*/ 906905 w 4691921"/>
                <a:gd name="connsiteY9" fmla="*/ 352269 h 1955699"/>
                <a:gd name="connsiteX10" fmla="*/ 1019331 w 4691921"/>
                <a:gd name="connsiteY10" fmla="*/ 397240 h 1955699"/>
                <a:gd name="connsiteX11" fmla="*/ 1094282 w 4691921"/>
                <a:gd name="connsiteY11" fmla="*/ 0 h 1955699"/>
                <a:gd name="connsiteX12" fmla="*/ 1214203 w 4691921"/>
                <a:gd name="connsiteY12" fmla="*/ 194872 h 1955699"/>
                <a:gd name="connsiteX13" fmla="*/ 1304144 w 4691921"/>
                <a:gd name="connsiteY13" fmla="*/ 824459 h 1955699"/>
                <a:gd name="connsiteX14" fmla="*/ 1401580 w 4691921"/>
                <a:gd name="connsiteY14" fmla="*/ 1184223 h 1955699"/>
                <a:gd name="connsiteX15" fmla="*/ 1484026 w 4691921"/>
                <a:gd name="connsiteY15" fmla="*/ 727023 h 1955699"/>
                <a:gd name="connsiteX16" fmla="*/ 1581462 w 4691921"/>
                <a:gd name="connsiteY16" fmla="*/ 1184223 h 1955699"/>
                <a:gd name="connsiteX17" fmla="*/ 1686393 w 4691921"/>
                <a:gd name="connsiteY17" fmla="*/ 1109272 h 1955699"/>
                <a:gd name="connsiteX18" fmla="*/ 1768839 w 4691921"/>
                <a:gd name="connsiteY18" fmla="*/ 1596453 h 1955699"/>
                <a:gd name="connsiteX19" fmla="*/ 1873770 w 4691921"/>
                <a:gd name="connsiteY19" fmla="*/ 1506512 h 1955699"/>
                <a:gd name="connsiteX20" fmla="*/ 1986197 w 4691921"/>
                <a:gd name="connsiteY20" fmla="*/ 1716374 h 1955699"/>
                <a:gd name="connsiteX21" fmla="*/ 2083633 w 4691921"/>
                <a:gd name="connsiteY21" fmla="*/ 1746354 h 1955699"/>
                <a:gd name="connsiteX22" fmla="*/ 2188564 w 4691921"/>
                <a:gd name="connsiteY22" fmla="*/ 1656413 h 1955699"/>
                <a:gd name="connsiteX23" fmla="*/ 2338466 w 4691921"/>
                <a:gd name="connsiteY23" fmla="*/ 1716374 h 1955699"/>
                <a:gd name="connsiteX24" fmla="*/ 2465882 w 4691921"/>
                <a:gd name="connsiteY24" fmla="*/ 1678899 h 1955699"/>
                <a:gd name="connsiteX25" fmla="*/ 2570813 w 4691921"/>
                <a:gd name="connsiteY25" fmla="*/ 1821305 h 1955699"/>
                <a:gd name="connsiteX26" fmla="*/ 2690734 w 4691921"/>
                <a:gd name="connsiteY26" fmla="*/ 1753850 h 1955699"/>
                <a:gd name="connsiteX27" fmla="*/ 2785613 w 4691921"/>
                <a:gd name="connsiteY27" fmla="*/ 1955699 h 1955699"/>
                <a:gd name="connsiteX28" fmla="*/ 4002374 w 4691921"/>
                <a:gd name="connsiteY28" fmla="*/ 1821305 h 1955699"/>
                <a:gd name="connsiteX29" fmla="*/ 4107305 w 4691921"/>
                <a:gd name="connsiteY29" fmla="*/ 1761345 h 1955699"/>
                <a:gd name="connsiteX30" fmla="*/ 4219731 w 4691921"/>
                <a:gd name="connsiteY30" fmla="*/ 1821305 h 1955699"/>
                <a:gd name="connsiteX31" fmla="*/ 4384623 w 4691921"/>
                <a:gd name="connsiteY31" fmla="*/ 1746354 h 1955699"/>
                <a:gd name="connsiteX32" fmla="*/ 4497049 w 4691921"/>
                <a:gd name="connsiteY32" fmla="*/ 1821305 h 1955699"/>
                <a:gd name="connsiteX33" fmla="*/ 4557010 w 4691921"/>
                <a:gd name="connsiteY33" fmla="*/ 1746354 h 1955699"/>
                <a:gd name="connsiteX34" fmla="*/ 4691921 w 4691921"/>
                <a:gd name="connsiteY34" fmla="*/ 1558977 h 1955699"/>
                <a:gd name="connsiteX0" fmla="*/ 0 w 4691921"/>
                <a:gd name="connsiteY0" fmla="*/ 1723869 h 1955699"/>
                <a:gd name="connsiteX1" fmla="*/ 232348 w 4691921"/>
                <a:gd name="connsiteY1" fmla="*/ 1521502 h 1955699"/>
                <a:gd name="connsiteX2" fmla="*/ 239843 w 4691921"/>
                <a:gd name="connsiteY2" fmla="*/ 1401581 h 1955699"/>
                <a:gd name="connsiteX3" fmla="*/ 247338 w 4691921"/>
                <a:gd name="connsiteY3" fmla="*/ 1334125 h 1955699"/>
                <a:gd name="connsiteX4" fmla="*/ 337279 w 4691921"/>
                <a:gd name="connsiteY4" fmla="*/ 1011836 h 1955699"/>
                <a:gd name="connsiteX5" fmla="*/ 419725 w 4691921"/>
                <a:gd name="connsiteY5" fmla="*/ 1214204 h 1955699"/>
                <a:gd name="connsiteX6" fmla="*/ 614597 w 4691921"/>
                <a:gd name="connsiteY6" fmla="*/ 487181 h 1955699"/>
                <a:gd name="connsiteX7" fmla="*/ 697043 w 4691921"/>
                <a:gd name="connsiteY7" fmla="*/ 854440 h 1955699"/>
                <a:gd name="connsiteX8" fmla="*/ 809469 w 4691921"/>
                <a:gd name="connsiteY8" fmla="*/ 1041817 h 1955699"/>
                <a:gd name="connsiteX9" fmla="*/ 906905 w 4691921"/>
                <a:gd name="connsiteY9" fmla="*/ 352269 h 1955699"/>
                <a:gd name="connsiteX10" fmla="*/ 1019331 w 4691921"/>
                <a:gd name="connsiteY10" fmla="*/ 397240 h 1955699"/>
                <a:gd name="connsiteX11" fmla="*/ 1094282 w 4691921"/>
                <a:gd name="connsiteY11" fmla="*/ 0 h 1955699"/>
                <a:gd name="connsiteX12" fmla="*/ 1214203 w 4691921"/>
                <a:gd name="connsiteY12" fmla="*/ 194872 h 1955699"/>
                <a:gd name="connsiteX13" fmla="*/ 1304144 w 4691921"/>
                <a:gd name="connsiteY13" fmla="*/ 824459 h 1955699"/>
                <a:gd name="connsiteX14" fmla="*/ 1401580 w 4691921"/>
                <a:gd name="connsiteY14" fmla="*/ 1184223 h 1955699"/>
                <a:gd name="connsiteX15" fmla="*/ 1484026 w 4691921"/>
                <a:gd name="connsiteY15" fmla="*/ 727023 h 1955699"/>
                <a:gd name="connsiteX16" fmla="*/ 1581462 w 4691921"/>
                <a:gd name="connsiteY16" fmla="*/ 1184223 h 1955699"/>
                <a:gd name="connsiteX17" fmla="*/ 1686393 w 4691921"/>
                <a:gd name="connsiteY17" fmla="*/ 1109272 h 1955699"/>
                <a:gd name="connsiteX18" fmla="*/ 1768839 w 4691921"/>
                <a:gd name="connsiteY18" fmla="*/ 1596453 h 1955699"/>
                <a:gd name="connsiteX19" fmla="*/ 1873770 w 4691921"/>
                <a:gd name="connsiteY19" fmla="*/ 1506512 h 1955699"/>
                <a:gd name="connsiteX20" fmla="*/ 1986197 w 4691921"/>
                <a:gd name="connsiteY20" fmla="*/ 1716374 h 1955699"/>
                <a:gd name="connsiteX21" fmla="*/ 2083633 w 4691921"/>
                <a:gd name="connsiteY21" fmla="*/ 1746354 h 1955699"/>
                <a:gd name="connsiteX22" fmla="*/ 2188564 w 4691921"/>
                <a:gd name="connsiteY22" fmla="*/ 1656413 h 1955699"/>
                <a:gd name="connsiteX23" fmla="*/ 2338466 w 4691921"/>
                <a:gd name="connsiteY23" fmla="*/ 1716374 h 1955699"/>
                <a:gd name="connsiteX24" fmla="*/ 2465882 w 4691921"/>
                <a:gd name="connsiteY24" fmla="*/ 1678899 h 1955699"/>
                <a:gd name="connsiteX25" fmla="*/ 2570813 w 4691921"/>
                <a:gd name="connsiteY25" fmla="*/ 1821305 h 1955699"/>
                <a:gd name="connsiteX26" fmla="*/ 2690734 w 4691921"/>
                <a:gd name="connsiteY26" fmla="*/ 1753850 h 1955699"/>
                <a:gd name="connsiteX27" fmla="*/ 2785613 w 4691921"/>
                <a:gd name="connsiteY27" fmla="*/ 1955699 h 1955699"/>
                <a:gd name="connsiteX28" fmla="*/ 3974099 w 4691921"/>
                <a:gd name="connsiteY28" fmla="*/ 1951219 h 1955699"/>
                <a:gd name="connsiteX29" fmla="*/ 4107305 w 4691921"/>
                <a:gd name="connsiteY29" fmla="*/ 1761345 h 1955699"/>
                <a:gd name="connsiteX30" fmla="*/ 4219731 w 4691921"/>
                <a:gd name="connsiteY30" fmla="*/ 1821305 h 1955699"/>
                <a:gd name="connsiteX31" fmla="*/ 4384623 w 4691921"/>
                <a:gd name="connsiteY31" fmla="*/ 1746354 h 1955699"/>
                <a:gd name="connsiteX32" fmla="*/ 4497049 w 4691921"/>
                <a:gd name="connsiteY32" fmla="*/ 1821305 h 1955699"/>
                <a:gd name="connsiteX33" fmla="*/ 4557010 w 4691921"/>
                <a:gd name="connsiteY33" fmla="*/ 1746354 h 1955699"/>
                <a:gd name="connsiteX34" fmla="*/ 4691921 w 4691921"/>
                <a:gd name="connsiteY34" fmla="*/ 1558977 h 1955699"/>
                <a:gd name="connsiteX0" fmla="*/ 0 w 4691921"/>
                <a:gd name="connsiteY0" fmla="*/ 1723869 h 1951219"/>
                <a:gd name="connsiteX1" fmla="*/ 232348 w 4691921"/>
                <a:gd name="connsiteY1" fmla="*/ 1521502 h 1951219"/>
                <a:gd name="connsiteX2" fmla="*/ 239843 w 4691921"/>
                <a:gd name="connsiteY2" fmla="*/ 1401581 h 1951219"/>
                <a:gd name="connsiteX3" fmla="*/ 247338 w 4691921"/>
                <a:gd name="connsiteY3" fmla="*/ 1334125 h 1951219"/>
                <a:gd name="connsiteX4" fmla="*/ 337279 w 4691921"/>
                <a:gd name="connsiteY4" fmla="*/ 1011836 h 1951219"/>
                <a:gd name="connsiteX5" fmla="*/ 419725 w 4691921"/>
                <a:gd name="connsiteY5" fmla="*/ 1214204 h 1951219"/>
                <a:gd name="connsiteX6" fmla="*/ 614597 w 4691921"/>
                <a:gd name="connsiteY6" fmla="*/ 487181 h 1951219"/>
                <a:gd name="connsiteX7" fmla="*/ 697043 w 4691921"/>
                <a:gd name="connsiteY7" fmla="*/ 854440 h 1951219"/>
                <a:gd name="connsiteX8" fmla="*/ 809469 w 4691921"/>
                <a:gd name="connsiteY8" fmla="*/ 1041817 h 1951219"/>
                <a:gd name="connsiteX9" fmla="*/ 906905 w 4691921"/>
                <a:gd name="connsiteY9" fmla="*/ 352269 h 1951219"/>
                <a:gd name="connsiteX10" fmla="*/ 1019331 w 4691921"/>
                <a:gd name="connsiteY10" fmla="*/ 397240 h 1951219"/>
                <a:gd name="connsiteX11" fmla="*/ 1094282 w 4691921"/>
                <a:gd name="connsiteY11" fmla="*/ 0 h 1951219"/>
                <a:gd name="connsiteX12" fmla="*/ 1214203 w 4691921"/>
                <a:gd name="connsiteY12" fmla="*/ 194872 h 1951219"/>
                <a:gd name="connsiteX13" fmla="*/ 1304144 w 4691921"/>
                <a:gd name="connsiteY13" fmla="*/ 824459 h 1951219"/>
                <a:gd name="connsiteX14" fmla="*/ 1401580 w 4691921"/>
                <a:gd name="connsiteY14" fmla="*/ 1184223 h 1951219"/>
                <a:gd name="connsiteX15" fmla="*/ 1484026 w 4691921"/>
                <a:gd name="connsiteY15" fmla="*/ 727023 h 1951219"/>
                <a:gd name="connsiteX16" fmla="*/ 1581462 w 4691921"/>
                <a:gd name="connsiteY16" fmla="*/ 1184223 h 1951219"/>
                <a:gd name="connsiteX17" fmla="*/ 1686393 w 4691921"/>
                <a:gd name="connsiteY17" fmla="*/ 1109272 h 1951219"/>
                <a:gd name="connsiteX18" fmla="*/ 1768839 w 4691921"/>
                <a:gd name="connsiteY18" fmla="*/ 1596453 h 1951219"/>
                <a:gd name="connsiteX19" fmla="*/ 1873770 w 4691921"/>
                <a:gd name="connsiteY19" fmla="*/ 1506512 h 1951219"/>
                <a:gd name="connsiteX20" fmla="*/ 1986197 w 4691921"/>
                <a:gd name="connsiteY20" fmla="*/ 1716374 h 1951219"/>
                <a:gd name="connsiteX21" fmla="*/ 2083633 w 4691921"/>
                <a:gd name="connsiteY21" fmla="*/ 1746354 h 1951219"/>
                <a:gd name="connsiteX22" fmla="*/ 2188564 w 4691921"/>
                <a:gd name="connsiteY22" fmla="*/ 1656413 h 1951219"/>
                <a:gd name="connsiteX23" fmla="*/ 2338466 w 4691921"/>
                <a:gd name="connsiteY23" fmla="*/ 1716374 h 1951219"/>
                <a:gd name="connsiteX24" fmla="*/ 2465882 w 4691921"/>
                <a:gd name="connsiteY24" fmla="*/ 1678899 h 1951219"/>
                <a:gd name="connsiteX25" fmla="*/ 2570813 w 4691921"/>
                <a:gd name="connsiteY25" fmla="*/ 1821305 h 1951219"/>
                <a:gd name="connsiteX26" fmla="*/ 2690734 w 4691921"/>
                <a:gd name="connsiteY26" fmla="*/ 1753850 h 1951219"/>
                <a:gd name="connsiteX27" fmla="*/ 2761940 w 4691921"/>
                <a:gd name="connsiteY27" fmla="*/ 1884439 h 1951219"/>
                <a:gd name="connsiteX28" fmla="*/ 3974099 w 4691921"/>
                <a:gd name="connsiteY28" fmla="*/ 1951219 h 1951219"/>
                <a:gd name="connsiteX29" fmla="*/ 4107305 w 4691921"/>
                <a:gd name="connsiteY29" fmla="*/ 1761345 h 1951219"/>
                <a:gd name="connsiteX30" fmla="*/ 4219731 w 4691921"/>
                <a:gd name="connsiteY30" fmla="*/ 1821305 h 1951219"/>
                <a:gd name="connsiteX31" fmla="*/ 4384623 w 4691921"/>
                <a:gd name="connsiteY31" fmla="*/ 1746354 h 1951219"/>
                <a:gd name="connsiteX32" fmla="*/ 4497049 w 4691921"/>
                <a:gd name="connsiteY32" fmla="*/ 1821305 h 1951219"/>
                <a:gd name="connsiteX33" fmla="*/ 4557010 w 4691921"/>
                <a:gd name="connsiteY33" fmla="*/ 1746354 h 1951219"/>
                <a:gd name="connsiteX34" fmla="*/ 4691921 w 4691921"/>
                <a:gd name="connsiteY34" fmla="*/ 1558977 h 1951219"/>
                <a:gd name="connsiteX0" fmla="*/ 0 w 4691921"/>
                <a:gd name="connsiteY0" fmla="*/ 1723869 h 1891210"/>
                <a:gd name="connsiteX1" fmla="*/ 232348 w 4691921"/>
                <a:gd name="connsiteY1" fmla="*/ 1521502 h 1891210"/>
                <a:gd name="connsiteX2" fmla="*/ 239843 w 4691921"/>
                <a:gd name="connsiteY2" fmla="*/ 1401581 h 1891210"/>
                <a:gd name="connsiteX3" fmla="*/ 247338 w 4691921"/>
                <a:gd name="connsiteY3" fmla="*/ 1334125 h 1891210"/>
                <a:gd name="connsiteX4" fmla="*/ 337279 w 4691921"/>
                <a:gd name="connsiteY4" fmla="*/ 1011836 h 1891210"/>
                <a:gd name="connsiteX5" fmla="*/ 419725 w 4691921"/>
                <a:gd name="connsiteY5" fmla="*/ 1214204 h 1891210"/>
                <a:gd name="connsiteX6" fmla="*/ 614597 w 4691921"/>
                <a:gd name="connsiteY6" fmla="*/ 487181 h 1891210"/>
                <a:gd name="connsiteX7" fmla="*/ 697043 w 4691921"/>
                <a:gd name="connsiteY7" fmla="*/ 854440 h 1891210"/>
                <a:gd name="connsiteX8" fmla="*/ 809469 w 4691921"/>
                <a:gd name="connsiteY8" fmla="*/ 1041817 h 1891210"/>
                <a:gd name="connsiteX9" fmla="*/ 906905 w 4691921"/>
                <a:gd name="connsiteY9" fmla="*/ 352269 h 1891210"/>
                <a:gd name="connsiteX10" fmla="*/ 1019331 w 4691921"/>
                <a:gd name="connsiteY10" fmla="*/ 397240 h 1891210"/>
                <a:gd name="connsiteX11" fmla="*/ 1094282 w 4691921"/>
                <a:gd name="connsiteY11" fmla="*/ 0 h 1891210"/>
                <a:gd name="connsiteX12" fmla="*/ 1214203 w 4691921"/>
                <a:gd name="connsiteY12" fmla="*/ 194872 h 1891210"/>
                <a:gd name="connsiteX13" fmla="*/ 1304144 w 4691921"/>
                <a:gd name="connsiteY13" fmla="*/ 824459 h 1891210"/>
                <a:gd name="connsiteX14" fmla="*/ 1401580 w 4691921"/>
                <a:gd name="connsiteY14" fmla="*/ 1184223 h 1891210"/>
                <a:gd name="connsiteX15" fmla="*/ 1484026 w 4691921"/>
                <a:gd name="connsiteY15" fmla="*/ 727023 h 1891210"/>
                <a:gd name="connsiteX16" fmla="*/ 1581462 w 4691921"/>
                <a:gd name="connsiteY16" fmla="*/ 1184223 h 1891210"/>
                <a:gd name="connsiteX17" fmla="*/ 1686393 w 4691921"/>
                <a:gd name="connsiteY17" fmla="*/ 1109272 h 1891210"/>
                <a:gd name="connsiteX18" fmla="*/ 1768839 w 4691921"/>
                <a:gd name="connsiteY18" fmla="*/ 1596453 h 1891210"/>
                <a:gd name="connsiteX19" fmla="*/ 1873770 w 4691921"/>
                <a:gd name="connsiteY19" fmla="*/ 1506512 h 1891210"/>
                <a:gd name="connsiteX20" fmla="*/ 1986197 w 4691921"/>
                <a:gd name="connsiteY20" fmla="*/ 1716374 h 1891210"/>
                <a:gd name="connsiteX21" fmla="*/ 2083633 w 4691921"/>
                <a:gd name="connsiteY21" fmla="*/ 1746354 h 1891210"/>
                <a:gd name="connsiteX22" fmla="*/ 2188564 w 4691921"/>
                <a:gd name="connsiteY22" fmla="*/ 1656413 h 1891210"/>
                <a:gd name="connsiteX23" fmla="*/ 2338466 w 4691921"/>
                <a:gd name="connsiteY23" fmla="*/ 1716374 h 1891210"/>
                <a:gd name="connsiteX24" fmla="*/ 2465882 w 4691921"/>
                <a:gd name="connsiteY24" fmla="*/ 1678899 h 1891210"/>
                <a:gd name="connsiteX25" fmla="*/ 2570813 w 4691921"/>
                <a:gd name="connsiteY25" fmla="*/ 1821305 h 1891210"/>
                <a:gd name="connsiteX26" fmla="*/ 2690734 w 4691921"/>
                <a:gd name="connsiteY26" fmla="*/ 1753850 h 1891210"/>
                <a:gd name="connsiteX27" fmla="*/ 2761940 w 4691921"/>
                <a:gd name="connsiteY27" fmla="*/ 1884439 h 1891210"/>
                <a:gd name="connsiteX28" fmla="*/ 3985934 w 4691921"/>
                <a:gd name="connsiteY28" fmla="*/ 1891210 h 1891210"/>
                <a:gd name="connsiteX29" fmla="*/ 4107305 w 4691921"/>
                <a:gd name="connsiteY29" fmla="*/ 1761345 h 1891210"/>
                <a:gd name="connsiteX30" fmla="*/ 4219731 w 4691921"/>
                <a:gd name="connsiteY30" fmla="*/ 1821305 h 1891210"/>
                <a:gd name="connsiteX31" fmla="*/ 4384623 w 4691921"/>
                <a:gd name="connsiteY31" fmla="*/ 1746354 h 1891210"/>
                <a:gd name="connsiteX32" fmla="*/ 4497049 w 4691921"/>
                <a:gd name="connsiteY32" fmla="*/ 1821305 h 1891210"/>
                <a:gd name="connsiteX33" fmla="*/ 4557010 w 4691921"/>
                <a:gd name="connsiteY33" fmla="*/ 1746354 h 1891210"/>
                <a:gd name="connsiteX34" fmla="*/ 4691921 w 4691921"/>
                <a:gd name="connsiteY34" fmla="*/ 1558977 h 1891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691921" h="1891210">
                  <a:moveTo>
                    <a:pt x="0" y="1723869"/>
                  </a:moveTo>
                  <a:lnTo>
                    <a:pt x="232348" y="1521502"/>
                  </a:lnTo>
                  <a:cubicBezTo>
                    <a:pt x="234846" y="1481528"/>
                    <a:pt x="236217" y="1441468"/>
                    <a:pt x="239843" y="1401581"/>
                  </a:cubicBezTo>
                  <a:cubicBezTo>
                    <a:pt x="248570" y="1305581"/>
                    <a:pt x="247338" y="1393328"/>
                    <a:pt x="247338" y="1334125"/>
                  </a:cubicBezTo>
                  <a:lnTo>
                    <a:pt x="337279" y="1011836"/>
                  </a:lnTo>
                  <a:lnTo>
                    <a:pt x="419725" y="1214204"/>
                  </a:lnTo>
                  <a:lnTo>
                    <a:pt x="614597" y="487181"/>
                  </a:lnTo>
                  <a:lnTo>
                    <a:pt x="697043" y="854440"/>
                  </a:lnTo>
                  <a:lnTo>
                    <a:pt x="809469" y="1041817"/>
                  </a:lnTo>
                  <a:lnTo>
                    <a:pt x="906905" y="352269"/>
                  </a:lnTo>
                  <a:lnTo>
                    <a:pt x="1019331" y="397240"/>
                  </a:lnTo>
                  <a:lnTo>
                    <a:pt x="1094282" y="0"/>
                  </a:lnTo>
                  <a:lnTo>
                    <a:pt x="1214203" y="194872"/>
                  </a:lnTo>
                  <a:lnTo>
                    <a:pt x="1304144" y="824459"/>
                  </a:lnTo>
                  <a:lnTo>
                    <a:pt x="1401580" y="1184223"/>
                  </a:lnTo>
                  <a:lnTo>
                    <a:pt x="1484026" y="727023"/>
                  </a:lnTo>
                  <a:lnTo>
                    <a:pt x="1581462" y="1184223"/>
                  </a:lnTo>
                  <a:lnTo>
                    <a:pt x="1686393" y="1109272"/>
                  </a:lnTo>
                  <a:lnTo>
                    <a:pt x="1768839" y="1596453"/>
                  </a:lnTo>
                  <a:lnTo>
                    <a:pt x="1873770" y="1506512"/>
                  </a:lnTo>
                  <a:lnTo>
                    <a:pt x="1986197" y="1716374"/>
                  </a:lnTo>
                  <a:lnTo>
                    <a:pt x="2083633" y="1746354"/>
                  </a:lnTo>
                  <a:lnTo>
                    <a:pt x="2188564" y="1656413"/>
                  </a:lnTo>
                  <a:lnTo>
                    <a:pt x="2338466" y="1716374"/>
                  </a:lnTo>
                  <a:lnTo>
                    <a:pt x="2465882" y="1678899"/>
                  </a:lnTo>
                  <a:lnTo>
                    <a:pt x="2570813" y="1821305"/>
                  </a:lnTo>
                  <a:lnTo>
                    <a:pt x="2690734" y="1753850"/>
                  </a:lnTo>
                  <a:lnTo>
                    <a:pt x="2761940" y="1884439"/>
                  </a:lnTo>
                  <a:lnTo>
                    <a:pt x="3985934" y="1891210"/>
                  </a:lnTo>
                  <a:lnTo>
                    <a:pt x="4107305" y="1761345"/>
                  </a:lnTo>
                  <a:lnTo>
                    <a:pt x="4219731" y="1821305"/>
                  </a:lnTo>
                  <a:lnTo>
                    <a:pt x="4384623" y="1746354"/>
                  </a:lnTo>
                  <a:lnTo>
                    <a:pt x="4497049" y="1821305"/>
                  </a:lnTo>
                  <a:lnTo>
                    <a:pt x="4557010" y="1746354"/>
                  </a:lnTo>
                  <a:lnTo>
                    <a:pt x="4691921" y="1558977"/>
                  </a:lnTo>
                </a:path>
              </a:pathLst>
            </a:custGeom>
            <a:noFill/>
            <a:ln w="28575" cap="flat" cmpd="sng" algn="ctr">
              <a:solidFill>
                <a:srgbClr val="D83B01"/>
              </a:solidFill>
              <a:prstDash val="solid"/>
              <a:headEnd type="none" w="med" len="med"/>
              <a:tailEnd type="non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endParaRPr>
            </a:p>
          </p:txBody>
        </p:sp>
        <p:cxnSp>
          <p:nvCxnSpPr>
            <p:cNvPr id="57" name="Straight Connector 56">
              <a:extLst>
                <a:ext uri="{FF2B5EF4-FFF2-40B4-BE49-F238E27FC236}">
                  <a16:creationId xmlns:a16="http://schemas.microsoft.com/office/drawing/2014/main" id="{362E738F-6BD4-4277-8664-0D1371887EA3}"/>
                </a:ext>
              </a:extLst>
            </p:cNvPr>
            <p:cNvCxnSpPr>
              <a:cxnSpLocks/>
            </p:cNvCxnSpPr>
            <p:nvPr/>
          </p:nvCxnSpPr>
          <p:spPr>
            <a:xfrm>
              <a:off x="7333194" y="3565428"/>
              <a:ext cx="4250836" cy="0"/>
            </a:xfrm>
            <a:prstGeom prst="line">
              <a:avLst/>
            </a:prstGeom>
            <a:noFill/>
            <a:ln w="57150" cap="flat" cmpd="sng" algn="ctr">
              <a:solidFill>
                <a:srgbClr val="002050"/>
              </a:solidFill>
              <a:prstDash val="solid"/>
              <a:headEnd type="none" w="lg" len="med"/>
              <a:tailEnd type="none" w="lg" len="med"/>
            </a:ln>
            <a:effectLst/>
          </p:spPr>
        </p:cxnSp>
        <p:sp>
          <p:nvSpPr>
            <p:cNvPr id="58" name="Rounded Rectangle 174">
              <a:extLst>
                <a:ext uri="{FF2B5EF4-FFF2-40B4-BE49-F238E27FC236}">
                  <a16:creationId xmlns:a16="http://schemas.microsoft.com/office/drawing/2014/main" id="{E4080D94-067E-41EC-837F-D63ED40B9DAB}"/>
                </a:ext>
              </a:extLst>
            </p:cNvPr>
            <p:cNvSpPr/>
            <p:nvPr/>
          </p:nvSpPr>
          <p:spPr bwMode="auto">
            <a:xfrm>
              <a:off x="9636330" y="3379497"/>
              <a:ext cx="368743" cy="1550699"/>
            </a:xfrm>
            <a:prstGeom prst="roundRect">
              <a:avLst/>
            </a:prstGeom>
            <a:noFill/>
            <a:ln w="12700" cap="flat" cmpd="sng" algn="ctr">
              <a:solidFill>
                <a:srgbClr val="D83B0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 name="Rounded Rectangle 175">
              <a:extLst>
                <a:ext uri="{FF2B5EF4-FFF2-40B4-BE49-F238E27FC236}">
                  <a16:creationId xmlns:a16="http://schemas.microsoft.com/office/drawing/2014/main" id="{C3E2CE7F-58BF-4BCF-93FF-0BC04CF689C4}"/>
                </a:ext>
              </a:extLst>
            </p:cNvPr>
            <p:cNvSpPr/>
            <p:nvPr/>
          </p:nvSpPr>
          <p:spPr bwMode="auto">
            <a:xfrm>
              <a:off x="10007073" y="3382779"/>
              <a:ext cx="833972" cy="1550699"/>
            </a:xfrm>
            <a:prstGeom prst="roundRect">
              <a:avLst/>
            </a:prstGeom>
            <a:noFill/>
            <a:ln w="12700" cap="rnd" cmpd="sng" algn="ctr">
              <a:solidFill>
                <a:srgbClr val="D83B0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60" name="Straight Arrow Connector 59">
              <a:extLst>
                <a:ext uri="{FF2B5EF4-FFF2-40B4-BE49-F238E27FC236}">
                  <a16:creationId xmlns:a16="http://schemas.microsoft.com/office/drawing/2014/main" id="{7C5013B6-7828-4605-8AAB-198966C9CF14}"/>
                </a:ext>
              </a:extLst>
            </p:cNvPr>
            <p:cNvCxnSpPr>
              <a:cxnSpLocks/>
            </p:cNvCxnSpPr>
            <p:nvPr/>
          </p:nvCxnSpPr>
          <p:spPr>
            <a:xfrm>
              <a:off x="9818062" y="3002561"/>
              <a:ext cx="0" cy="348473"/>
            </a:xfrm>
            <a:prstGeom prst="straightConnector1">
              <a:avLst/>
            </a:prstGeom>
            <a:noFill/>
            <a:ln w="9525" cap="flat" cmpd="sng" algn="ctr">
              <a:solidFill>
                <a:srgbClr val="505050"/>
              </a:solidFill>
              <a:prstDash val="solid"/>
              <a:headEnd type="none"/>
              <a:tailEnd type="triangle"/>
            </a:ln>
            <a:effectLst/>
          </p:spPr>
        </p:cxnSp>
        <p:cxnSp>
          <p:nvCxnSpPr>
            <p:cNvPr id="61" name="Straight Arrow Connector 60">
              <a:extLst>
                <a:ext uri="{FF2B5EF4-FFF2-40B4-BE49-F238E27FC236}">
                  <a16:creationId xmlns:a16="http://schemas.microsoft.com/office/drawing/2014/main" id="{EF550924-D5C4-403C-A6A6-B9425AEB6AD2}"/>
                </a:ext>
              </a:extLst>
            </p:cNvPr>
            <p:cNvCxnSpPr>
              <a:cxnSpLocks/>
            </p:cNvCxnSpPr>
            <p:nvPr/>
          </p:nvCxnSpPr>
          <p:spPr>
            <a:xfrm>
              <a:off x="10424059" y="3002561"/>
              <a:ext cx="0" cy="348473"/>
            </a:xfrm>
            <a:prstGeom prst="straightConnector1">
              <a:avLst/>
            </a:prstGeom>
            <a:noFill/>
            <a:ln w="9525" cap="flat" cmpd="sng" algn="ctr">
              <a:solidFill>
                <a:srgbClr val="505050"/>
              </a:solidFill>
              <a:prstDash val="solid"/>
              <a:headEnd type="none"/>
              <a:tailEnd type="triangle"/>
            </a:ln>
            <a:effectLst/>
          </p:spPr>
        </p:cxnSp>
      </p:grpSp>
      <p:graphicFrame>
        <p:nvGraphicFramePr>
          <p:cNvPr id="87" name="Diagram 86">
            <a:extLst>
              <a:ext uri="{FF2B5EF4-FFF2-40B4-BE49-F238E27FC236}">
                <a16:creationId xmlns:a16="http://schemas.microsoft.com/office/drawing/2014/main" id="{9792F5B8-D284-4E2F-8E89-9BB7C415AF50}"/>
              </a:ext>
            </a:extLst>
          </p:cNvPr>
          <p:cNvGraphicFramePr/>
          <p:nvPr>
            <p:extLst>
              <p:ext uri="{D42A27DB-BD31-4B8C-83A1-F6EECF244321}">
                <p14:modId xmlns:p14="http://schemas.microsoft.com/office/powerpoint/2010/main" val="1027929031"/>
              </p:ext>
            </p:extLst>
          </p:nvPr>
        </p:nvGraphicFramePr>
        <p:xfrm>
          <a:off x="655635" y="1235349"/>
          <a:ext cx="5908269" cy="50390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753355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What is Azure SQL Database Hyperscale?</a:t>
            </a:r>
          </a:p>
        </p:txBody>
      </p:sp>
      <p:sp>
        <p:nvSpPr>
          <p:cNvPr id="5" name="Text Placeholder 3">
            <a:extLst>
              <a:ext uri="{FF2B5EF4-FFF2-40B4-BE49-F238E27FC236}">
                <a16:creationId xmlns:a16="http://schemas.microsoft.com/office/drawing/2014/main" id="{28168D1B-0486-4D7F-BFF3-95CCB252D2FC}"/>
              </a:ext>
            </a:extLst>
          </p:cNvPr>
          <p:cNvSpPr txBox="1">
            <a:spLocks/>
          </p:cNvSpPr>
          <p:nvPr/>
        </p:nvSpPr>
        <p:spPr>
          <a:xfrm>
            <a:off x="4284857" y="2631899"/>
            <a:ext cx="3622286" cy="418866"/>
          </a:xfrm>
          <a:prstGeom prst="rect">
            <a:avLst/>
          </a:prstGeom>
        </p:spPr>
        <p:txBody>
          <a:bodyPr vert="horz" wrap="square" lIns="149217" tIns="93260" rIns="149217" bIns="93260" rtlCol="0" anchor="b">
            <a:spAutoFit/>
          </a:bodyPr>
          <a:lstStyle>
            <a:lvl1pPr marL="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rgbClr val="0078D7"/>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2573">
              <a:spcBef>
                <a:spcPts val="0"/>
              </a:spcBef>
              <a:spcAft>
                <a:spcPts val="612"/>
              </a:spcAft>
              <a:buClrTx/>
              <a:buSzTx/>
              <a:defRPr/>
            </a:pPr>
            <a:r>
              <a:rPr lang="en-US" sz="1632" b="1">
                <a:solidFill>
                  <a:srgbClr val="1A1A1A"/>
                </a:solidFill>
                <a:latin typeface="Segoe UI Semibold" panose="020B0502040204020203" pitchFamily="34" charset="0"/>
                <a:cs typeface="Segoe UI Semibold" panose="020B0502040204020203" pitchFamily="34" charset="0"/>
              </a:rPr>
              <a:t>Cloud native</a:t>
            </a:r>
          </a:p>
        </p:txBody>
      </p:sp>
      <p:sp>
        <p:nvSpPr>
          <p:cNvPr id="6" name="Text Placeholder 3">
            <a:extLst>
              <a:ext uri="{FF2B5EF4-FFF2-40B4-BE49-F238E27FC236}">
                <a16:creationId xmlns:a16="http://schemas.microsoft.com/office/drawing/2014/main" id="{A515A7B5-87CD-40C2-9629-BE570B4EF8A5}"/>
              </a:ext>
            </a:extLst>
          </p:cNvPr>
          <p:cNvSpPr txBox="1">
            <a:spLocks/>
          </p:cNvSpPr>
          <p:nvPr/>
        </p:nvSpPr>
        <p:spPr>
          <a:xfrm>
            <a:off x="7817825" y="2620622"/>
            <a:ext cx="3622286" cy="418866"/>
          </a:xfrm>
          <a:prstGeom prst="rect">
            <a:avLst/>
          </a:prstGeom>
        </p:spPr>
        <p:txBody>
          <a:bodyPr vert="horz" wrap="square" lIns="149217" tIns="93260" rIns="149217" bIns="93260" rtlCol="0" anchor="b">
            <a:spAutoFit/>
          </a:bodyPr>
          <a:lstStyle>
            <a:lvl1pPr marL="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rgbClr val="0078D7"/>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2573">
              <a:spcBef>
                <a:spcPts val="0"/>
              </a:spcBef>
              <a:spcAft>
                <a:spcPts val="612"/>
              </a:spcAft>
              <a:buClrTx/>
              <a:buSzTx/>
              <a:defRPr/>
            </a:pPr>
            <a:r>
              <a:rPr lang="en-US" sz="1632" b="1">
                <a:solidFill>
                  <a:srgbClr val="1A1A1A"/>
                </a:solidFill>
                <a:latin typeface="Segoe UI Semibold" panose="020B0502040204020203" pitchFamily="34" charset="0"/>
                <a:cs typeface="Segoe UI Semibold" panose="020B0502040204020203" pitchFamily="34" charset="0"/>
              </a:rPr>
              <a:t>Seamless compatibility</a:t>
            </a:r>
          </a:p>
        </p:txBody>
      </p:sp>
      <p:sp>
        <p:nvSpPr>
          <p:cNvPr id="7" name="Text Placeholder 3">
            <a:extLst>
              <a:ext uri="{FF2B5EF4-FFF2-40B4-BE49-F238E27FC236}">
                <a16:creationId xmlns:a16="http://schemas.microsoft.com/office/drawing/2014/main" id="{406C42C0-9CAC-479B-848D-72C6DC9CA695}"/>
              </a:ext>
            </a:extLst>
          </p:cNvPr>
          <p:cNvSpPr txBox="1">
            <a:spLocks/>
          </p:cNvSpPr>
          <p:nvPr/>
        </p:nvSpPr>
        <p:spPr>
          <a:xfrm>
            <a:off x="1211514" y="5276665"/>
            <a:ext cx="2818449" cy="444501"/>
          </a:xfrm>
          <a:prstGeom prst="rect">
            <a:avLst/>
          </a:prstGeom>
        </p:spPr>
        <p:txBody>
          <a:bodyPr vert="horz" wrap="square" lIns="149217" tIns="93260" rIns="149217" bIns="93260" rtlCol="0" anchor="b">
            <a:sp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400"/>
              </a:spcAft>
              <a:buClr>
                <a:srgbClr val="0078D7"/>
              </a:buClr>
              <a:buSzPct val="90000"/>
              <a:buFont typeface="Arial" pitchFamily="34" charset="0"/>
              <a:buNone/>
              <a:tabLst/>
              <a:defRPr lang="en-US" sz="1400" kern="1200" spc="0" baseline="0" dirty="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2573">
              <a:spcBef>
                <a:spcPts val="0"/>
              </a:spcBef>
              <a:spcAft>
                <a:spcPts val="612"/>
              </a:spcAft>
              <a:buClrTx/>
              <a:buSzTx/>
              <a:defRPr/>
            </a:pPr>
            <a:r>
              <a:rPr lang="en-US" sz="1632" b="1">
                <a:solidFill>
                  <a:srgbClr val="1A1A1A"/>
                </a:solidFill>
                <a:latin typeface="Segoe UI Semibold" panose="020B0502040204020203" pitchFamily="34" charset="0"/>
                <a:cs typeface="Segoe UI Semibold" panose="020B0502040204020203" pitchFamily="34" charset="0"/>
              </a:rPr>
              <a:t>Performance</a:t>
            </a:r>
          </a:p>
        </p:txBody>
      </p:sp>
      <p:grpSp>
        <p:nvGrpSpPr>
          <p:cNvPr id="8" name="Group 7">
            <a:extLst>
              <a:ext uri="{FF2B5EF4-FFF2-40B4-BE49-F238E27FC236}">
                <a16:creationId xmlns:a16="http://schemas.microsoft.com/office/drawing/2014/main" id="{4BBE4334-DFDE-448D-8520-8EBDE60CE47A}"/>
              </a:ext>
            </a:extLst>
          </p:cNvPr>
          <p:cNvGrpSpPr/>
          <p:nvPr/>
        </p:nvGrpSpPr>
        <p:grpSpPr>
          <a:xfrm>
            <a:off x="2094699" y="4132481"/>
            <a:ext cx="994777" cy="994777"/>
            <a:chOff x="4242164" y="1899058"/>
            <a:chExt cx="1288678" cy="1288678"/>
          </a:xfrm>
        </p:grpSpPr>
        <p:sp>
          <p:nvSpPr>
            <p:cNvPr id="9" name="Block Arc 8">
              <a:extLst>
                <a:ext uri="{FF2B5EF4-FFF2-40B4-BE49-F238E27FC236}">
                  <a16:creationId xmlns:a16="http://schemas.microsoft.com/office/drawing/2014/main" id="{E616B987-9B62-464C-BAD8-3A11DB918490}"/>
                </a:ext>
              </a:extLst>
            </p:cNvPr>
            <p:cNvSpPr/>
            <p:nvPr/>
          </p:nvSpPr>
          <p:spPr>
            <a:xfrm>
              <a:off x="4242164" y="1899058"/>
              <a:ext cx="1288678" cy="1288678"/>
            </a:xfrm>
            <a:prstGeom prst="blockArc">
              <a:avLst>
                <a:gd name="adj1" fmla="val 8046606"/>
                <a:gd name="adj2" fmla="val 2807961"/>
                <a:gd name="adj3" fmla="val 13161"/>
              </a:avLst>
            </a:prstGeom>
            <a:solidFill>
              <a:srgbClr val="0078D4"/>
            </a:solidFill>
            <a:ln w="12700" cap="flat" cmpd="sng" algn="ctr">
              <a:noFill/>
              <a:prstDash val="solid"/>
              <a:miter lim="800000"/>
            </a:ln>
            <a:effectLst/>
          </p:spPr>
          <p:txBody>
            <a:bodyPr rtlCol="0" anchor="ctr"/>
            <a:lstStyle/>
            <a:p>
              <a:pPr algn="ctr" defTabSz="466287">
                <a:defRPr/>
              </a:pPr>
              <a:endParaRPr lang="en-US" sz="1836" kern="0">
                <a:solidFill>
                  <a:prstClr val="black"/>
                </a:solidFill>
                <a:latin typeface="Segoe UI"/>
              </a:endParaRPr>
            </a:p>
          </p:txBody>
        </p:sp>
        <p:sp>
          <p:nvSpPr>
            <p:cNvPr id="10" name="Oval 9">
              <a:extLst>
                <a:ext uri="{FF2B5EF4-FFF2-40B4-BE49-F238E27FC236}">
                  <a16:creationId xmlns:a16="http://schemas.microsoft.com/office/drawing/2014/main" id="{0FE60A63-60E4-4821-84BC-C7A1F3555581}"/>
                </a:ext>
              </a:extLst>
            </p:cNvPr>
            <p:cNvSpPr/>
            <p:nvPr/>
          </p:nvSpPr>
          <p:spPr>
            <a:xfrm>
              <a:off x="4804911" y="2461805"/>
              <a:ext cx="163184" cy="163184"/>
            </a:xfrm>
            <a:prstGeom prst="ellipse">
              <a:avLst/>
            </a:prstGeom>
            <a:solidFill>
              <a:srgbClr val="0078D4"/>
            </a:solidFill>
            <a:ln w="12700" cap="flat" cmpd="sng" algn="ctr">
              <a:noFill/>
              <a:prstDash val="solid"/>
              <a:miter lim="800000"/>
            </a:ln>
            <a:effectLst/>
          </p:spPr>
          <p:txBody>
            <a:bodyPr rtlCol="0" anchor="ctr"/>
            <a:lstStyle/>
            <a:p>
              <a:pPr algn="ctr" defTabSz="466287">
                <a:defRPr/>
              </a:pPr>
              <a:endParaRPr lang="en-US" sz="1836" kern="0">
                <a:solidFill>
                  <a:prstClr val="white"/>
                </a:solidFill>
                <a:latin typeface="Segoe UI"/>
              </a:endParaRPr>
            </a:p>
          </p:txBody>
        </p:sp>
        <p:sp>
          <p:nvSpPr>
            <p:cNvPr id="11" name="Block Arc 10">
              <a:extLst>
                <a:ext uri="{FF2B5EF4-FFF2-40B4-BE49-F238E27FC236}">
                  <a16:creationId xmlns:a16="http://schemas.microsoft.com/office/drawing/2014/main" id="{E6436587-F18B-4E50-A1C4-DA7116DCB4F6}"/>
                </a:ext>
              </a:extLst>
            </p:cNvPr>
            <p:cNvSpPr/>
            <p:nvPr/>
          </p:nvSpPr>
          <p:spPr>
            <a:xfrm>
              <a:off x="4511688" y="2168583"/>
              <a:ext cx="749628" cy="749628"/>
            </a:xfrm>
            <a:prstGeom prst="blockArc">
              <a:avLst/>
            </a:prstGeom>
            <a:solidFill>
              <a:srgbClr val="002050"/>
            </a:solidFill>
            <a:ln w="12700" cap="flat" cmpd="sng" algn="ctr">
              <a:noFill/>
              <a:prstDash val="solid"/>
              <a:miter lim="800000"/>
            </a:ln>
            <a:effectLst/>
          </p:spPr>
          <p:txBody>
            <a:bodyPr rtlCol="0" anchor="ctr"/>
            <a:lstStyle/>
            <a:p>
              <a:pPr algn="ctr" defTabSz="466287">
                <a:defRPr/>
              </a:pPr>
              <a:endParaRPr lang="en-US" sz="1836" kern="0">
                <a:solidFill>
                  <a:prstClr val="black"/>
                </a:solidFill>
                <a:latin typeface="Segoe UI"/>
              </a:endParaRPr>
            </a:p>
          </p:txBody>
        </p:sp>
        <p:sp>
          <p:nvSpPr>
            <p:cNvPr id="12" name="Rectangle: Rounded Corners 346">
              <a:extLst>
                <a:ext uri="{FF2B5EF4-FFF2-40B4-BE49-F238E27FC236}">
                  <a16:creationId xmlns:a16="http://schemas.microsoft.com/office/drawing/2014/main" id="{B667B81A-5AF5-45FA-912D-9832C7677924}"/>
                </a:ext>
              </a:extLst>
            </p:cNvPr>
            <p:cNvSpPr/>
            <p:nvPr/>
          </p:nvSpPr>
          <p:spPr>
            <a:xfrm rot="18900000">
              <a:off x="4804496" y="2342080"/>
              <a:ext cx="450584" cy="111440"/>
            </a:xfrm>
            <a:prstGeom prst="roundRect">
              <a:avLst>
                <a:gd name="adj" fmla="val 50000"/>
              </a:avLst>
            </a:prstGeom>
            <a:solidFill>
              <a:srgbClr val="0078D4"/>
            </a:solidFill>
            <a:ln w="12700" cap="flat" cmpd="sng" algn="ctr">
              <a:noFill/>
              <a:prstDash val="solid"/>
              <a:miter lim="800000"/>
            </a:ln>
            <a:effectLst/>
          </p:spPr>
          <p:txBody>
            <a:bodyPr rtlCol="0" anchor="ctr"/>
            <a:lstStyle/>
            <a:p>
              <a:pPr algn="ctr" defTabSz="466287">
                <a:defRPr/>
              </a:pPr>
              <a:endParaRPr lang="en-US" sz="1836" kern="0">
                <a:solidFill>
                  <a:prstClr val="white"/>
                </a:solidFill>
                <a:latin typeface="Segoe UI"/>
              </a:endParaRPr>
            </a:p>
          </p:txBody>
        </p:sp>
      </p:grpSp>
      <p:sp>
        <p:nvSpPr>
          <p:cNvPr id="13" name="Rectangle 12">
            <a:extLst>
              <a:ext uri="{FF2B5EF4-FFF2-40B4-BE49-F238E27FC236}">
                <a16:creationId xmlns:a16="http://schemas.microsoft.com/office/drawing/2014/main" id="{DE526217-B739-4BC2-96AA-F0767CC22C47}"/>
              </a:ext>
            </a:extLst>
          </p:cNvPr>
          <p:cNvSpPr/>
          <p:nvPr/>
        </p:nvSpPr>
        <p:spPr bwMode="auto">
          <a:xfrm>
            <a:off x="4965379" y="3128494"/>
            <a:ext cx="2401958" cy="397294"/>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r>
              <a:rPr lang="en-US" sz="1428">
                <a:solidFill>
                  <a:srgbClr val="0078D7"/>
                </a:solidFill>
                <a:latin typeface="Segoe UI" panose="020B0502040204020203" pitchFamily="34" charset="0"/>
                <a:cs typeface="Segoe UI" panose="020B0502040204020203" pitchFamily="34" charset="0"/>
              </a:rPr>
              <a:t>Architected for cloud</a:t>
            </a:r>
          </a:p>
        </p:txBody>
      </p:sp>
      <p:sp>
        <p:nvSpPr>
          <p:cNvPr id="14" name="Rectangle 13">
            <a:extLst>
              <a:ext uri="{FF2B5EF4-FFF2-40B4-BE49-F238E27FC236}">
                <a16:creationId xmlns:a16="http://schemas.microsoft.com/office/drawing/2014/main" id="{52EAC3EF-A883-4483-B2B2-0FAD88FE8AE5}"/>
              </a:ext>
            </a:extLst>
          </p:cNvPr>
          <p:cNvSpPr/>
          <p:nvPr/>
        </p:nvSpPr>
        <p:spPr bwMode="auto">
          <a:xfrm>
            <a:off x="1348327" y="5798897"/>
            <a:ext cx="2401958" cy="414353"/>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r>
              <a:rPr lang="en-US" sz="1428">
                <a:solidFill>
                  <a:srgbClr val="0078D7"/>
                </a:solidFill>
                <a:latin typeface="Segoe UI" panose="020B0502040204020203" pitchFamily="34" charset="0"/>
                <a:cs typeface="Segoe UI" panose="020B0502040204020203" pitchFamily="34" charset="0"/>
              </a:rPr>
              <a:t>VLDB operations without VLDB headaches</a:t>
            </a:r>
          </a:p>
        </p:txBody>
      </p:sp>
      <p:grpSp>
        <p:nvGrpSpPr>
          <p:cNvPr id="15" name="Group 14">
            <a:extLst>
              <a:ext uri="{FF2B5EF4-FFF2-40B4-BE49-F238E27FC236}">
                <a16:creationId xmlns:a16="http://schemas.microsoft.com/office/drawing/2014/main" id="{1BFB73AD-F5D2-4745-AA4F-CA43CADD4E29}"/>
              </a:ext>
            </a:extLst>
          </p:cNvPr>
          <p:cNvGrpSpPr/>
          <p:nvPr/>
        </p:nvGrpSpPr>
        <p:grpSpPr>
          <a:xfrm>
            <a:off x="5519668" y="1581792"/>
            <a:ext cx="994777" cy="994777"/>
            <a:chOff x="2776302" y="4657639"/>
            <a:chExt cx="1550488" cy="1594062"/>
          </a:xfrm>
          <a:solidFill>
            <a:srgbClr val="FFFFFF">
              <a:lumMod val="95000"/>
            </a:srgbClr>
          </a:solidFill>
        </p:grpSpPr>
        <p:sp>
          <p:nvSpPr>
            <p:cNvPr id="16" name="Cylinder 812">
              <a:extLst>
                <a:ext uri="{FF2B5EF4-FFF2-40B4-BE49-F238E27FC236}">
                  <a16:creationId xmlns:a16="http://schemas.microsoft.com/office/drawing/2014/main" id="{F0ED5232-907C-43D7-870D-C31FB4819D6D}"/>
                </a:ext>
              </a:extLst>
            </p:cNvPr>
            <p:cNvSpPr/>
            <p:nvPr/>
          </p:nvSpPr>
          <p:spPr bwMode="auto">
            <a:xfrm>
              <a:off x="2776302" y="4657639"/>
              <a:ext cx="1043831" cy="1371347"/>
            </a:xfrm>
            <a:prstGeom prst="can">
              <a:avLst>
                <a:gd name="adj" fmla="val 39530"/>
              </a:avLst>
            </a:prstGeom>
            <a:solidFill>
              <a:schemeClr val="accent1"/>
            </a:solidFill>
            <a:ln w="12700" cap="flat" cmpd="sng" algn="ctr">
              <a:noFill/>
              <a:prstDash val="solid"/>
              <a:headEnd type="none" w="med" len="med"/>
              <a:tailEnd type="none" w="med" len="med"/>
            </a:ln>
            <a:effectLst/>
          </p:spPr>
          <p:txBody>
            <a:bodyPr rot="0" spcFirstLastPara="0" vertOverflow="overflow" horzOverflow="overflow" vert="horz" wrap="square" lIns="0" tIns="198955" rIns="0" bIns="198955" numCol="1" spcCol="0" rtlCol="0" fromWordArt="0" anchor="ctr" anchorCtr="0" forceAA="0" compatLnSpc="1">
              <a:prstTxWarp prst="textNoShape">
                <a:avLst/>
              </a:prstTxWarp>
              <a:noAutofit/>
            </a:bodyPr>
            <a:lstStyle/>
            <a:p>
              <a:pPr algn="ctr" defTabSz="1268006" fontAlgn="base">
                <a:lnSpc>
                  <a:spcPct val="90000"/>
                </a:lnSpc>
                <a:spcBef>
                  <a:spcPct val="0"/>
                </a:spcBef>
                <a:spcAft>
                  <a:spcPct val="0"/>
                </a:spcAft>
                <a:defRPr/>
              </a:pPr>
              <a:r>
                <a:rPr lang="en-US" sz="1904" kern="0">
                  <a:solidFill>
                    <a:srgbClr val="FFFFFF"/>
                  </a:solidFill>
                  <a:latin typeface="Segoe UI Semilight" panose="020B0402040204020203" pitchFamily="34" charset="0"/>
                  <a:ea typeface="Segoe UI" pitchFamily="34" charset="0"/>
                  <a:cs typeface="Segoe UI Semilight" panose="020B0402040204020203" pitchFamily="34" charset="0"/>
                </a:rPr>
                <a:t>SQL</a:t>
              </a:r>
            </a:p>
          </p:txBody>
        </p:sp>
        <p:sp>
          <p:nvSpPr>
            <p:cNvPr id="17" name="Freeform 146">
              <a:extLst>
                <a:ext uri="{FF2B5EF4-FFF2-40B4-BE49-F238E27FC236}">
                  <a16:creationId xmlns:a16="http://schemas.microsoft.com/office/drawing/2014/main" id="{4E92A200-7EBF-4BE6-A840-31EC50F6ADE0}"/>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0078D7"/>
            </a:solidFill>
            <a:ln w="12700" cap="flat" cmpd="sng" algn="ctr">
              <a:noFill/>
              <a:prstDash val="solid"/>
              <a:miter lim="800000"/>
              <a:headEnd type="none" w="med" len="med"/>
              <a:tailEnd type="none" w="med" len="med"/>
            </a:ln>
            <a:effectLst/>
          </p:spPr>
          <p:txBody>
            <a:bodyPr rot="0" spcFirstLastPara="0" vertOverflow="overflow" horzOverflow="overflow" vert="horz" wrap="square" lIns="243770" tIns="195015" rIns="243770" bIns="195015" numCol="1" spcCol="0" rtlCol="0" fromWordArt="0" anchor="t" anchorCtr="0" forceAA="0" compatLnSpc="1">
              <a:prstTxWarp prst="textNoShape">
                <a:avLst/>
              </a:prstTxWarp>
              <a:noAutofit/>
            </a:bodyPr>
            <a:lstStyle/>
            <a:p>
              <a:pPr algn="ctr" defTabSz="1242788" fontAlgn="base">
                <a:lnSpc>
                  <a:spcPct val="90000"/>
                </a:lnSpc>
                <a:spcBef>
                  <a:spcPct val="0"/>
                </a:spcBef>
                <a:spcAft>
                  <a:spcPct val="0"/>
                </a:spcAft>
                <a:defRPr/>
              </a:pPr>
              <a:endParaRPr lang="en-IN" sz="2448" b="1" kern="0">
                <a:solidFill>
                  <a:srgbClr val="0078D7"/>
                </a:solidFill>
                <a:latin typeface="Segoe UI Semilight" panose="020B0402040204020203" pitchFamily="34" charset="0"/>
                <a:ea typeface="Segoe UI" pitchFamily="34" charset="0"/>
                <a:cs typeface="Segoe UI Semilight" panose="020B0402040204020203" pitchFamily="34" charset="0"/>
              </a:endParaRPr>
            </a:p>
          </p:txBody>
        </p:sp>
      </p:grpSp>
      <p:grpSp>
        <p:nvGrpSpPr>
          <p:cNvPr id="18" name="Group 17">
            <a:extLst>
              <a:ext uri="{FF2B5EF4-FFF2-40B4-BE49-F238E27FC236}">
                <a16:creationId xmlns:a16="http://schemas.microsoft.com/office/drawing/2014/main" id="{FD2FA145-9B88-490A-968D-220FACC454EA}"/>
              </a:ext>
            </a:extLst>
          </p:cNvPr>
          <p:cNvGrpSpPr/>
          <p:nvPr/>
        </p:nvGrpSpPr>
        <p:grpSpPr>
          <a:xfrm>
            <a:off x="9232725" y="1565914"/>
            <a:ext cx="703442" cy="866178"/>
            <a:chOff x="5327227" y="4548154"/>
            <a:chExt cx="1418249" cy="1746354"/>
          </a:xfrm>
          <a:noFill/>
        </p:grpSpPr>
        <p:grpSp>
          <p:nvGrpSpPr>
            <p:cNvPr id="19" name="Group 18">
              <a:extLst>
                <a:ext uri="{FF2B5EF4-FFF2-40B4-BE49-F238E27FC236}">
                  <a16:creationId xmlns:a16="http://schemas.microsoft.com/office/drawing/2014/main" id="{10CD888D-3BF6-4B57-A596-BDFAF1476387}"/>
                </a:ext>
              </a:extLst>
            </p:cNvPr>
            <p:cNvGrpSpPr/>
            <p:nvPr/>
          </p:nvGrpSpPr>
          <p:grpSpPr>
            <a:xfrm>
              <a:off x="5811904" y="5344927"/>
              <a:ext cx="933572" cy="949581"/>
              <a:chOff x="5811904" y="5344927"/>
              <a:chExt cx="933572" cy="949581"/>
            </a:xfrm>
            <a:grpFill/>
          </p:grpSpPr>
          <p:sp>
            <p:nvSpPr>
              <p:cNvPr id="25" name="Freeform 6">
                <a:extLst>
                  <a:ext uri="{FF2B5EF4-FFF2-40B4-BE49-F238E27FC236}">
                    <a16:creationId xmlns:a16="http://schemas.microsoft.com/office/drawing/2014/main" id="{A7CB4EF7-51FD-45ED-AE2B-09957652EFB5}"/>
                  </a:ext>
                </a:extLst>
              </p:cNvPr>
              <p:cNvSpPr>
                <a:spLocks/>
              </p:cNvSpPr>
              <p:nvPr/>
            </p:nvSpPr>
            <p:spPr bwMode="auto">
              <a:xfrm>
                <a:off x="5838874" y="5344927"/>
                <a:ext cx="906602" cy="794401"/>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grpFill/>
              <a:ln w="76200" cap="flat">
                <a:solidFill>
                  <a:srgbClr val="0078D4"/>
                </a:solidFill>
                <a:prstDash val="solid"/>
                <a:miter lim="800000"/>
                <a:headEnd/>
                <a:tailEnd/>
              </a:ln>
            </p:spPr>
            <p:txBody>
              <a:bodyPr vert="horz" wrap="square" lIns="124347" tIns="62174" rIns="124347" bIns="62174" numCol="1" anchor="t" anchorCtr="0" compatLnSpc="1">
                <a:prstTxWarp prst="textNoShape">
                  <a:avLst/>
                </a:prstTxWarp>
              </a:bodyPr>
              <a:lstStyle/>
              <a:p>
                <a:pPr defTabSz="1243387">
                  <a:defRPr/>
                </a:pPr>
                <a:endParaRPr lang="en-US" sz="2400">
                  <a:solidFill>
                    <a:srgbClr val="0078D4"/>
                  </a:solidFill>
                  <a:latin typeface="Segoe UI"/>
                </a:endParaRPr>
              </a:p>
            </p:txBody>
          </p:sp>
          <p:sp>
            <p:nvSpPr>
              <p:cNvPr id="26" name="Freeform 7">
                <a:extLst>
                  <a:ext uri="{FF2B5EF4-FFF2-40B4-BE49-F238E27FC236}">
                    <a16:creationId xmlns:a16="http://schemas.microsoft.com/office/drawing/2014/main" id="{4A13353D-0062-4DF6-958A-AD2859EDD71D}"/>
                  </a:ext>
                </a:extLst>
              </p:cNvPr>
              <p:cNvSpPr>
                <a:spLocks/>
              </p:cNvSpPr>
              <p:nvPr/>
            </p:nvSpPr>
            <p:spPr bwMode="auto">
              <a:xfrm rot="21397948">
                <a:off x="5811904" y="5980338"/>
                <a:ext cx="201965" cy="314170"/>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grpFill/>
              <a:ln w="15875" cap="flat">
                <a:solidFill>
                  <a:srgbClr val="0078D4"/>
                </a:solidFill>
                <a:prstDash val="solid"/>
                <a:miter lim="800000"/>
                <a:headEnd/>
                <a:tailEnd/>
              </a:ln>
            </p:spPr>
            <p:txBody>
              <a:bodyPr vert="horz" wrap="square" lIns="124347" tIns="62174" rIns="124347" bIns="62174" numCol="1" anchor="t" anchorCtr="0" compatLnSpc="1">
                <a:prstTxWarp prst="textNoShape">
                  <a:avLst/>
                </a:prstTxWarp>
              </a:bodyPr>
              <a:lstStyle/>
              <a:p>
                <a:pPr defTabSz="1243387">
                  <a:defRPr/>
                </a:pPr>
                <a:endParaRPr lang="en-US" sz="2400">
                  <a:solidFill>
                    <a:srgbClr val="0078D4"/>
                  </a:solidFill>
                  <a:latin typeface="Segoe UI"/>
                </a:endParaRPr>
              </a:p>
            </p:txBody>
          </p:sp>
        </p:grpSp>
        <p:grpSp>
          <p:nvGrpSpPr>
            <p:cNvPr id="20" name="Group 19">
              <a:extLst>
                <a:ext uri="{FF2B5EF4-FFF2-40B4-BE49-F238E27FC236}">
                  <a16:creationId xmlns:a16="http://schemas.microsoft.com/office/drawing/2014/main" id="{4DD6C865-26D0-4368-86B9-41EB4CD2472F}"/>
                </a:ext>
              </a:extLst>
            </p:cNvPr>
            <p:cNvGrpSpPr/>
            <p:nvPr/>
          </p:nvGrpSpPr>
          <p:grpSpPr>
            <a:xfrm>
              <a:off x="5327227" y="4548154"/>
              <a:ext cx="826960" cy="989762"/>
              <a:chOff x="5327227" y="4548154"/>
              <a:chExt cx="826960" cy="989762"/>
            </a:xfrm>
            <a:grpFill/>
          </p:grpSpPr>
          <p:sp>
            <p:nvSpPr>
              <p:cNvPr id="23" name="Freeform 5">
                <a:extLst>
                  <a:ext uri="{FF2B5EF4-FFF2-40B4-BE49-F238E27FC236}">
                    <a16:creationId xmlns:a16="http://schemas.microsoft.com/office/drawing/2014/main" id="{85BD3D25-E4CA-439E-AA62-CA49459758B4}"/>
                  </a:ext>
                </a:extLst>
              </p:cNvPr>
              <p:cNvSpPr>
                <a:spLocks/>
              </p:cNvSpPr>
              <p:nvPr/>
            </p:nvSpPr>
            <p:spPr bwMode="auto">
              <a:xfrm>
                <a:off x="5327227" y="4725564"/>
                <a:ext cx="798886" cy="812352"/>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grpFill/>
              <a:ln w="76200" cap="flat">
                <a:solidFill>
                  <a:srgbClr val="0078D4"/>
                </a:solidFill>
                <a:prstDash val="solid"/>
                <a:miter lim="800000"/>
                <a:headEnd/>
                <a:tailEnd/>
              </a:ln>
            </p:spPr>
            <p:txBody>
              <a:bodyPr vert="horz" wrap="square" lIns="124347" tIns="62174" rIns="124347" bIns="62174" numCol="1" anchor="t" anchorCtr="0" compatLnSpc="1">
                <a:prstTxWarp prst="textNoShape">
                  <a:avLst/>
                </a:prstTxWarp>
              </a:bodyPr>
              <a:lstStyle/>
              <a:p>
                <a:pPr defTabSz="1243387">
                  <a:defRPr/>
                </a:pPr>
                <a:endParaRPr lang="en-US" sz="2400">
                  <a:solidFill>
                    <a:srgbClr val="0078D4"/>
                  </a:solidFill>
                  <a:latin typeface="Segoe UI"/>
                </a:endParaRPr>
              </a:p>
            </p:txBody>
          </p:sp>
          <p:sp>
            <p:nvSpPr>
              <p:cNvPr id="24" name="Freeform 8">
                <a:extLst>
                  <a:ext uri="{FF2B5EF4-FFF2-40B4-BE49-F238E27FC236}">
                    <a16:creationId xmlns:a16="http://schemas.microsoft.com/office/drawing/2014/main" id="{F603AB85-5D8B-43FC-8CD0-9F2A8810866D}"/>
                  </a:ext>
                </a:extLst>
              </p:cNvPr>
              <p:cNvSpPr>
                <a:spLocks/>
              </p:cNvSpPr>
              <p:nvPr/>
            </p:nvSpPr>
            <p:spPr bwMode="auto">
              <a:xfrm rot="20700000">
                <a:off x="5952221" y="4548154"/>
                <a:ext cx="201966" cy="318656"/>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grpFill/>
              <a:ln w="15875" cap="flat">
                <a:solidFill>
                  <a:srgbClr val="0078D4"/>
                </a:solidFill>
                <a:prstDash val="solid"/>
                <a:miter lim="800000"/>
                <a:headEnd/>
                <a:tailEnd/>
              </a:ln>
            </p:spPr>
            <p:txBody>
              <a:bodyPr vert="horz" wrap="square" lIns="124347" tIns="62174" rIns="124347" bIns="62174" numCol="1" anchor="t" anchorCtr="0" compatLnSpc="1">
                <a:prstTxWarp prst="textNoShape">
                  <a:avLst/>
                </a:prstTxWarp>
              </a:bodyPr>
              <a:lstStyle/>
              <a:p>
                <a:pPr defTabSz="1243387">
                  <a:defRPr/>
                </a:pPr>
                <a:endParaRPr lang="en-US" sz="2400">
                  <a:solidFill>
                    <a:srgbClr val="0078D4"/>
                  </a:solidFill>
                  <a:latin typeface="Segoe UI"/>
                </a:endParaRPr>
              </a:p>
            </p:txBody>
          </p:sp>
        </p:grpSp>
        <p:sp>
          <p:nvSpPr>
            <p:cNvPr id="21" name="Oval 10">
              <a:extLst>
                <a:ext uri="{FF2B5EF4-FFF2-40B4-BE49-F238E27FC236}">
                  <a16:creationId xmlns:a16="http://schemas.microsoft.com/office/drawing/2014/main" id="{BF5778D9-02A5-43EA-B492-7B9503DDCC8C}"/>
                </a:ext>
              </a:extLst>
            </p:cNvPr>
            <p:cNvSpPr>
              <a:spLocks noChangeArrowheads="1"/>
            </p:cNvSpPr>
            <p:nvPr/>
          </p:nvSpPr>
          <p:spPr bwMode="auto">
            <a:xfrm>
              <a:off x="5359428" y="5704516"/>
              <a:ext cx="323907" cy="320382"/>
            </a:xfrm>
            <a:prstGeom prst="ellipse">
              <a:avLst/>
            </a:prstGeom>
            <a:grpFill/>
            <a:ln w="15875" cap="flat">
              <a:solidFill>
                <a:schemeClr val="tx1"/>
              </a:solidFill>
              <a:prstDash val="solid"/>
              <a:miter lim="800000"/>
              <a:headEnd/>
              <a:tailEnd/>
            </a:ln>
          </p:spPr>
          <p:txBody>
            <a:bodyPr vert="horz" wrap="square" lIns="124347" tIns="62174" rIns="124347" bIns="62174" numCol="1" anchor="t" anchorCtr="0" compatLnSpc="1">
              <a:prstTxWarp prst="textNoShape">
                <a:avLst/>
              </a:prstTxWarp>
            </a:bodyPr>
            <a:lstStyle/>
            <a:p>
              <a:pPr defTabSz="1243387">
                <a:defRPr/>
              </a:pPr>
              <a:endParaRPr lang="en-US" sz="2400">
                <a:solidFill>
                  <a:srgbClr val="0078D4"/>
                </a:solidFill>
                <a:latin typeface="Segoe UI"/>
              </a:endParaRPr>
            </a:p>
          </p:txBody>
        </p:sp>
        <p:sp>
          <p:nvSpPr>
            <p:cNvPr id="22" name="Rectangle 21">
              <a:extLst>
                <a:ext uri="{FF2B5EF4-FFF2-40B4-BE49-F238E27FC236}">
                  <a16:creationId xmlns:a16="http://schemas.microsoft.com/office/drawing/2014/main" id="{595AE032-C145-4AB4-8A38-E06A91863610}"/>
                </a:ext>
              </a:extLst>
            </p:cNvPr>
            <p:cNvSpPr/>
            <p:nvPr/>
          </p:nvSpPr>
          <p:spPr bwMode="auto">
            <a:xfrm>
              <a:off x="6337626" y="4865711"/>
              <a:ext cx="278965" cy="278966"/>
            </a:xfrm>
            <a:prstGeom prst="rect">
              <a:avLst/>
            </a:prstGeom>
            <a:grpFill/>
            <a:ln w="15875" cap="flat">
              <a:solidFill>
                <a:schemeClr val="tx1"/>
              </a:solidFill>
              <a:prstDash val="solid"/>
              <a:miter lim="800000"/>
              <a:headEnd/>
              <a:tailEnd/>
            </a:ln>
          </p:spPr>
          <p:txBody>
            <a:bodyPr vert="horz" wrap="square" lIns="124347" tIns="62174" rIns="124347" bIns="62174" numCol="1" anchor="t" anchorCtr="0" compatLnSpc="1">
              <a:prstTxWarp prst="textNoShape">
                <a:avLst/>
              </a:prstTxWarp>
            </a:bodyPr>
            <a:lstStyle/>
            <a:p>
              <a:pPr defTabSz="1243387">
                <a:defRPr/>
              </a:pPr>
              <a:endParaRPr lang="en-US" sz="2400" err="1">
                <a:solidFill>
                  <a:srgbClr val="0078D4"/>
                </a:solidFill>
                <a:latin typeface="Segoe UI"/>
              </a:endParaRPr>
            </a:p>
          </p:txBody>
        </p:sp>
      </p:grpSp>
      <p:sp>
        <p:nvSpPr>
          <p:cNvPr id="27" name="Rectangle 26">
            <a:extLst>
              <a:ext uri="{FF2B5EF4-FFF2-40B4-BE49-F238E27FC236}">
                <a16:creationId xmlns:a16="http://schemas.microsoft.com/office/drawing/2014/main" id="{0AAA5BF5-6B8A-40C8-9738-A754320F9FB6}"/>
              </a:ext>
            </a:extLst>
          </p:cNvPr>
          <p:cNvSpPr/>
          <p:nvPr/>
        </p:nvSpPr>
        <p:spPr bwMode="auto">
          <a:xfrm>
            <a:off x="8427988" y="3117217"/>
            <a:ext cx="2401958" cy="414353"/>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r>
              <a:rPr lang="en-US" sz="1428">
                <a:solidFill>
                  <a:srgbClr val="0078D7"/>
                </a:solidFill>
                <a:latin typeface="Segoe UI" panose="020B0502040204020203" pitchFamily="34" charset="0"/>
                <a:cs typeface="Segoe UI" panose="020B0502040204020203" pitchFamily="34" charset="0"/>
              </a:rPr>
              <a:t>Fully compatible with Azure SQL Database</a:t>
            </a:r>
          </a:p>
        </p:txBody>
      </p:sp>
      <p:sp>
        <p:nvSpPr>
          <p:cNvPr id="28" name="Text Placeholder 3">
            <a:extLst>
              <a:ext uri="{FF2B5EF4-FFF2-40B4-BE49-F238E27FC236}">
                <a16:creationId xmlns:a16="http://schemas.microsoft.com/office/drawing/2014/main" id="{FEFBAB62-6D95-462F-853A-10C822DEB182}"/>
              </a:ext>
            </a:extLst>
          </p:cNvPr>
          <p:cNvSpPr txBox="1">
            <a:spLocks/>
          </p:cNvSpPr>
          <p:nvPr/>
        </p:nvSpPr>
        <p:spPr>
          <a:xfrm>
            <a:off x="1327958" y="2613966"/>
            <a:ext cx="2818449" cy="444501"/>
          </a:xfrm>
          <a:prstGeom prst="rect">
            <a:avLst/>
          </a:prstGeom>
        </p:spPr>
        <p:txBody>
          <a:bodyPr vert="horz" wrap="square" lIns="149217" tIns="93260" rIns="149217" bIns="93260" rtlCol="0" anchor="b">
            <a:sp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400"/>
              </a:spcAft>
              <a:buClr>
                <a:srgbClr val="0078D7"/>
              </a:buClr>
              <a:buSzPct val="90000"/>
              <a:buFont typeface="Arial" pitchFamily="34" charset="0"/>
              <a:buNone/>
              <a:tabLst/>
              <a:defRPr lang="en-US" sz="1400" kern="1200" spc="0" baseline="0" dirty="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2573">
              <a:spcBef>
                <a:spcPts val="0"/>
              </a:spcBef>
              <a:spcAft>
                <a:spcPts val="612"/>
              </a:spcAft>
              <a:buClrTx/>
              <a:buSzTx/>
              <a:defRPr/>
            </a:pPr>
            <a:r>
              <a:rPr lang="en-US" sz="1632" b="1">
                <a:solidFill>
                  <a:srgbClr val="1A1A1A"/>
                </a:solidFill>
                <a:latin typeface="Segoe UI Semibold" panose="020B0502040204020203" pitchFamily="34" charset="0"/>
                <a:cs typeface="Segoe UI Semibold" panose="020B0502040204020203" pitchFamily="34" charset="0"/>
              </a:rPr>
              <a:t>Storage</a:t>
            </a:r>
          </a:p>
        </p:txBody>
      </p:sp>
      <p:sp>
        <p:nvSpPr>
          <p:cNvPr id="29" name="Rectangle 28">
            <a:extLst>
              <a:ext uri="{FF2B5EF4-FFF2-40B4-BE49-F238E27FC236}">
                <a16:creationId xmlns:a16="http://schemas.microsoft.com/office/drawing/2014/main" id="{3E17EE59-D5FA-4D84-A8DE-55F0BBE97C04}"/>
              </a:ext>
            </a:extLst>
          </p:cNvPr>
          <p:cNvSpPr/>
          <p:nvPr/>
        </p:nvSpPr>
        <p:spPr bwMode="auto">
          <a:xfrm>
            <a:off x="1419761" y="3127017"/>
            <a:ext cx="2401958" cy="414353"/>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r>
              <a:rPr lang="en-US" sz="1428">
                <a:solidFill>
                  <a:srgbClr val="0078D7"/>
                </a:solidFill>
                <a:latin typeface="Segoe UI" panose="020B0502040204020203" pitchFamily="34" charset="0"/>
                <a:cs typeface="Segoe UI" panose="020B0502040204020203" pitchFamily="34" charset="0"/>
              </a:rPr>
              <a:t>Scalable new storage architecture</a:t>
            </a:r>
          </a:p>
        </p:txBody>
      </p:sp>
      <p:grpSp>
        <p:nvGrpSpPr>
          <p:cNvPr id="30" name="Group 29">
            <a:extLst>
              <a:ext uri="{FF2B5EF4-FFF2-40B4-BE49-F238E27FC236}">
                <a16:creationId xmlns:a16="http://schemas.microsoft.com/office/drawing/2014/main" id="{D9DE7FA9-D7B9-4EA3-A33E-B0CF1A3A6DB2}"/>
              </a:ext>
            </a:extLst>
          </p:cNvPr>
          <p:cNvGrpSpPr/>
          <p:nvPr/>
        </p:nvGrpSpPr>
        <p:grpSpPr>
          <a:xfrm>
            <a:off x="5620803" y="4168182"/>
            <a:ext cx="939634" cy="1049343"/>
            <a:chOff x="4862124" y="3337420"/>
            <a:chExt cx="690970" cy="771646"/>
          </a:xfrm>
        </p:grpSpPr>
        <p:sp>
          <p:nvSpPr>
            <p:cNvPr id="31" name="Freeform: Shape 30">
              <a:extLst>
                <a:ext uri="{FF2B5EF4-FFF2-40B4-BE49-F238E27FC236}">
                  <a16:creationId xmlns:a16="http://schemas.microsoft.com/office/drawing/2014/main" id="{B7691181-3711-464A-A97E-7B156B0BA19E}"/>
                </a:ext>
              </a:extLst>
            </p:cNvPr>
            <p:cNvSpPr/>
            <p:nvPr/>
          </p:nvSpPr>
          <p:spPr bwMode="auto">
            <a:xfrm>
              <a:off x="4983437" y="3337420"/>
              <a:ext cx="569657" cy="569656"/>
            </a:xfrm>
            <a:custGeom>
              <a:avLst/>
              <a:gdLst>
                <a:gd name="connsiteX0" fmla="*/ 0 w 1532164"/>
                <a:gd name="connsiteY0" fmla="*/ 0 h 1532164"/>
                <a:gd name="connsiteX1" fmla="*/ 1532164 w 1532164"/>
                <a:gd name="connsiteY1" fmla="*/ 0 h 1532164"/>
                <a:gd name="connsiteX2" fmla="*/ 1532164 w 1532164"/>
                <a:gd name="connsiteY2" fmla="*/ 1532164 h 1532164"/>
                <a:gd name="connsiteX3" fmla="*/ 578647 w 1532164"/>
                <a:gd name="connsiteY3" fmla="*/ 1532164 h 1532164"/>
                <a:gd name="connsiteX4" fmla="*/ 578647 w 1532164"/>
                <a:gd name="connsiteY4" fmla="*/ 963624 h 1532164"/>
                <a:gd name="connsiteX5" fmla="*/ 0 w 1532164"/>
                <a:gd name="connsiteY5" fmla="*/ 963624 h 1532164"/>
                <a:gd name="connsiteX6" fmla="*/ 0 w 1532164"/>
                <a:gd name="connsiteY6" fmla="*/ 0 h 1532164"/>
                <a:gd name="connsiteX0" fmla="*/ 578647 w 1532164"/>
                <a:gd name="connsiteY0" fmla="*/ 963624 h 1532164"/>
                <a:gd name="connsiteX1" fmla="*/ 0 w 1532164"/>
                <a:gd name="connsiteY1" fmla="*/ 963624 h 1532164"/>
                <a:gd name="connsiteX2" fmla="*/ 0 w 1532164"/>
                <a:gd name="connsiteY2" fmla="*/ 0 h 1532164"/>
                <a:gd name="connsiteX3" fmla="*/ 1532164 w 1532164"/>
                <a:gd name="connsiteY3" fmla="*/ 0 h 1532164"/>
                <a:gd name="connsiteX4" fmla="*/ 1532164 w 1532164"/>
                <a:gd name="connsiteY4" fmla="*/ 1532164 h 1532164"/>
                <a:gd name="connsiteX5" fmla="*/ 578647 w 1532164"/>
                <a:gd name="connsiteY5" fmla="*/ 1532164 h 1532164"/>
                <a:gd name="connsiteX6" fmla="*/ 670087 w 1532164"/>
                <a:gd name="connsiteY6" fmla="*/ 1055064 h 1532164"/>
                <a:gd name="connsiteX0" fmla="*/ 578647 w 1532164"/>
                <a:gd name="connsiteY0" fmla="*/ 963624 h 1532164"/>
                <a:gd name="connsiteX1" fmla="*/ 0 w 1532164"/>
                <a:gd name="connsiteY1" fmla="*/ 963624 h 1532164"/>
                <a:gd name="connsiteX2" fmla="*/ 0 w 1532164"/>
                <a:gd name="connsiteY2" fmla="*/ 0 h 1532164"/>
                <a:gd name="connsiteX3" fmla="*/ 1532164 w 1532164"/>
                <a:gd name="connsiteY3" fmla="*/ 0 h 1532164"/>
                <a:gd name="connsiteX4" fmla="*/ 1532164 w 1532164"/>
                <a:gd name="connsiteY4" fmla="*/ 1532164 h 1532164"/>
                <a:gd name="connsiteX5" fmla="*/ 578647 w 1532164"/>
                <a:gd name="connsiteY5" fmla="*/ 1532164 h 1532164"/>
                <a:gd name="connsiteX0" fmla="*/ 0 w 1532164"/>
                <a:gd name="connsiteY0" fmla="*/ 963624 h 1532164"/>
                <a:gd name="connsiteX1" fmla="*/ 0 w 1532164"/>
                <a:gd name="connsiteY1" fmla="*/ 0 h 1532164"/>
                <a:gd name="connsiteX2" fmla="*/ 1532164 w 1532164"/>
                <a:gd name="connsiteY2" fmla="*/ 0 h 1532164"/>
                <a:gd name="connsiteX3" fmla="*/ 1532164 w 1532164"/>
                <a:gd name="connsiteY3" fmla="*/ 1532164 h 1532164"/>
                <a:gd name="connsiteX4" fmla="*/ 578647 w 1532164"/>
                <a:gd name="connsiteY4" fmla="*/ 1532164 h 1532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164" h="1532164">
                  <a:moveTo>
                    <a:pt x="0" y="963624"/>
                  </a:moveTo>
                  <a:lnTo>
                    <a:pt x="0" y="0"/>
                  </a:lnTo>
                  <a:lnTo>
                    <a:pt x="1532164" y="0"/>
                  </a:lnTo>
                  <a:lnTo>
                    <a:pt x="1532164" y="1532164"/>
                  </a:lnTo>
                  <a:lnTo>
                    <a:pt x="578647" y="1532164"/>
                  </a:lnTo>
                </a:path>
              </a:pathLst>
            </a:custGeom>
            <a:noFill/>
            <a:ln w="38100">
              <a:solidFill>
                <a:srgbClr val="0078D7"/>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8006" fontAlgn="base">
                <a:spcBef>
                  <a:spcPct val="0"/>
                </a:spcBef>
                <a:spcAft>
                  <a:spcPct val="0"/>
                </a:spcAft>
                <a:defRPr/>
              </a:pPr>
              <a:endParaRPr lang="en-US" sz="2720">
                <a:gradFill>
                  <a:gsLst>
                    <a:gs pos="0">
                      <a:srgbClr val="FFFFFF"/>
                    </a:gs>
                    <a:gs pos="100000">
                      <a:srgbClr val="FFFFFF"/>
                    </a:gs>
                  </a:gsLst>
                  <a:lin ang="5400000" scaled="0"/>
                </a:gradFill>
                <a:latin typeface="Segoe UI"/>
              </a:endParaRPr>
            </a:p>
          </p:txBody>
        </p:sp>
        <p:grpSp>
          <p:nvGrpSpPr>
            <p:cNvPr id="32" name="Group 31">
              <a:extLst>
                <a:ext uri="{FF2B5EF4-FFF2-40B4-BE49-F238E27FC236}">
                  <a16:creationId xmlns:a16="http://schemas.microsoft.com/office/drawing/2014/main" id="{D6774628-EA1E-46F1-864E-FFF749A71210}"/>
                </a:ext>
              </a:extLst>
            </p:cNvPr>
            <p:cNvGrpSpPr/>
            <p:nvPr/>
          </p:nvGrpSpPr>
          <p:grpSpPr>
            <a:xfrm>
              <a:off x="5180417" y="3400716"/>
              <a:ext cx="314514" cy="311357"/>
              <a:chOff x="3924301" y="3326121"/>
              <a:chExt cx="1242014" cy="1229549"/>
            </a:xfrm>
            <a:noFill/>
          </p:grpSpPr>
          <p:sp>
            <p:nvSpPr>
              <p:cNvPr id="34" name="Freeform: Shape 33">
                <a:extLst>
                  <a:ext uri="{FF2B5EF4-FFF2-40B4-BE49-F238E27FC236}">
                    <a16:creationId xmlns:a16="http://schemas.microsoft.com/office/drawing/2014/main" id="{F2259979-4078-499D-8134-388731AEF0A3}"/>
                  </a:ext>
                </a:extLst>
              </p:cNvPr>
              <p:cNvSpPr/>
              <p:nvPr/>
            </p:nvSpPr>
            <p:spPr bwMode="auto">
              <a:xfrm>
                <a:off x="3924301" y="4152899"/>
                <a:ext cx="409931" cy="402771"/>
              </a:xfrm>
              <a:custGeom>
                <a:avLst/>
                <a:gdLst>
                  <a:gd name="connsiteX0" fmla="*/ 0 w 578647"/>
                  <a:gd name="connsiteY0" fmla="*/ 0 h 568540"/>
                  <a:gd name="connsiteX1" fmla="*/ 578647 w 578647"/>
                  <a:gd name="connsiteY1" fmla="*/ 0 h 568540"/>
                  <a:gd name="connsiteX2" fmla="*/ 578647 w 578647"/>
                  <a:gd name="connsiteY2" fmla="*/ 568540 h 568540"/>
                  <a:gd name="connsiteX3" fmla="*/ 0 w 578647"/>
                  <a:gd name="connsiteY3" fmla="*/ 568540 h 568540"/>
                  <a:gd name="connsiteX4" fmla="*/ 0 w 578647"/>
                  <a:gd name="connsiteY4" fmla="*/ 0 h 568540"/>
                  <a:gd name="connsiteX0" fmla="*/ 578647 w 670087"/>
                  <a:gd name="connsiteY0" fmla="*/ 0 h 568540"/>
                  <a:gd name="connsiteX1" fmla="*/ 578647 w 670087"/>
                  <a:gd name="connsiteY1" fmla="*/ 568540 h 568540"/>
                  <a:gd name="connsiteX2" fmla="*/ 0 w 670087"/>
                  <a:gd name="connsiteY2" fmla="*/ 568540 h 568540"/>
                  <a:gd name="connsiteX3" fmla="*/ 0 w 670087"/>
                  <a:gd name="connsiteY3" fmla="*/ 0 h 568540"/>
                  <a:gd name="connsiteX4" fmla="*/ 670087 w 670087"/>
                  <a:gd name="connsiteY4" fmla="*/ 91440 h 568540"/>
                  <a:gd name="connsiteX0" fmla="*/ 578647 w 578647"/>
                  <a:gd name="connsiteY0" fmla="*/ 0 h 568540"/>
                  <a:gd name="connsiteX1" fmla="*/ 578647 w 578647"/>
                  <a:gd name="connsiteY1" fmla="*/ 568540 h 568540"/>
                  <a:gd name="connsiteX2" fmla="*/ 0 w 578647"/>
                  <a:gd name="connsiteY2" fmla="*/ 568540 h 568540"/>
                  <a:gd name="connsiteX3" fmla="*/ 0 w 578647"/>
                  <a:gd name="connsiteY3" fmla="*/ 0 h 568540"/>
                  <a:gd name="connsiteX0" fmla="*/ 578647 w 578647"/>
                  <a:gd name="connsiteY0" fmla="*/ 568540 h 568540"/>
                  <a:gd name="connsiteX1" fmla="*/ 0 w 578647"/>
                  <a:gd name="connsiteY1" fmla="*/ 568540 h 568540"/>
                  <a:gd name="connsiteX2" fmla="*/ 0 w 578647"/>
                  <a:gd name="connsiteY2" fmla="*/ 0 h 568540"/>
                </a:gdLst>
                <a:ahLst/>
                <a:cxnLst>
                  <a:cxn ang="0">
                    <a:pos x="connsiteX0" y="connsiteY0"/>
                  </a:cxn>
                  <a:cxn ang="0">
                    <a:pos x="connsiteX1" y="connsiteY1"/>
                  </a:cxn>
                  <a:cxn ang="0">
                    <a:pos x="connsiteX2" y="connsiteY2"/>
                  </a:cxn>
                </a:cxnLst>
                <a:rect l="l" t="t" r="r" b="b"/>
                <a:pathLst>
                  <a:path w="578647" h="568540">
                    <a:moveTo>
                      <a:pt x="578647" y="568540"/>
                    </a:moveTo>
                    <a:lnTo>
                      <a:pt x="0" y="568540"/>
                    </a:lnTo>
                    <a:lnTo>
                      <a:pt x="0" y="0"/>
                    </a:lnTo>
                  </a:path>
                </a:pathLst>
              </a:custGeom>
              <a:grpFill/>
              <a:ln w="12700">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8006" fontAlgn="base">
                  <a:spcBef>
                    <a:spcPct val="0"/>
                  </a:spcBef>
                  <a:spcAft>
                    <a:spcPct val="0"/>
                  </a:spcAft>
                  <a:defRPr/>
                </a:pPr>
                <a:endParaRPr lang="en-US" sz="2720">
                  <a:gradFill>
                    <a:gsLst>
                      <a:gs pos="0">
                        <a:srgbClr val="FFFFFF"/>
                      </a:gs>
                      <a:gs pos="100000">
                        <a:srgbClr val="FFFFFF"/>
                      </a:gs>
                    </a:gsLst>
                    <a:lin ang="5400000" scaled="0"/>
                  </a:gradFill>
                  <a:latin typeface="Segoe UI"/>
                </a:endParaRPr>
              </a:p>
            </p:txBody>
          </p:sp>
          <p:sp>
            <p:nvSpPr>
              <p:cNvPr id="35" name="Freeform: Shape 34">
                <a:extLst>
                  <a:ext uri="{FF2B5EF4-FFF2-40B4-BE49-F238E27FC236}">
                    <a16:creationId xmlns:a16="http://schemas.microsoft.com/office/drawing/2014/main" id="{63CACB6C-022F-44EF-8C21-21F5C82540BA}"/>
                  </a:ext>
                </a:extLst>
              </p:cNvPr>
              <p:cNvSpPr/>
              <p:nvPr/>
            </p:nvSpPr>
            <p:spPr bwMode="auto">
              <a:xfrm rot="10800000">
                <a:off x="4756384" y="3326121"/>
                <a:ext cx="409931" cy="402771"/>
              </a:xfrm>
              <a:custGeom>
                <a:avLst/>
                <a:gdLst>
                  <a:gd name="connsiteX0" fmla="*/ 0 w 578647"/>
                  <a:gd name="connsiteY0" fmla="*/ 0 h 568540"/>
                  <a:gd name="connsiteX1" fmla="*/ 578647 w 578647"/>
                  <a:gd name="connsiteY1" fmla="*/ 0 h 568540"/>
                  <a:gd name="connsiteX2" fmla="*/ 578647 w 578647"/>
                  <a:gd name="connsiteY2" fmla="*/ 568540 h 568540"/>
                  <a:gd name="connsiteX3" fmla="*/ 0 w 578647"/>
                  <a:gd name="connsiteY3" fmla="*/ 568540 h 568540"/>
                  <a:gd name="connsiteX4" fmla="*/ 0 w 578647"/>
                  <a:gd name="connsiteY4" fmla="*/ 0 h 568540"/>
                  <a:gd name="connsiteX0" fmla="*/ 578647 w 670087"/>
                  <a:gd name="connsiteY0" fmla="*/ 0 h 568540"/>
                  <a:gd name="connsiteX1" fmla="*/ 578647 w 670087"/>
                  <a:gd name="connsiteY1" fmla="*/ 568540 h 568540"/>
                  <a:gd name="connsiteX2" fmla="*/ 0 w 670087"/>
                  <a:gd name="connsiteY2" fmla="*/ 568540 h 568540"/>
                  <a:gd name="connsiteX3" fmla="*/ 0 w 670087"/>
                  <a:gd name="connsiteY3" fmla="*/ 0 h 568540"/>
                  <a:gd name="connsiteX4" fmla="*/ 670087 w 670087"/>
                  <a:gd name="connsiteY4" fmla="*/ 91440 h 568540"/>
                  <a:gd name="connsiteX0" fmla="*/ 578647 w 578647"/>
                  <a:gd name="connsiteY0" fmla="*/ 0 h 568540"/>
                  <a:gd name="connsiteX1" fmla="*/ 578647 w 578647"/>
                  <a:gd name="connsiteY1" fmla="*/ 568540 h 568540"/>
                  <a:gd name="connsiteX2" fmla="*/ 0 w 578647"/>
                  <a:gd name="connsiteY2" fmla="*/ 568540 h 568540"/>
                  <a:gd name="connsiteX3" fmla="*/ 0 w 578647"/>
                  <a:gd name="connsiteY3" fmla="*/ 0 h 568540"/>
                  <a:gd name="connsiteX0" fmla="*/ 578647 w 578647"/>
                  <a:gd name="connsiteY0" fmla="*/ 568540 h 568540"/>
                  <a:gd name="connsiteX1" fmla="*/ 0 w 578647"/>
                  <a:gd name="connsiteY1" fmla="*/ 568540 h 568540"/>
                  <a:gd name="connsiteX2" fmla="*/ 0 w 578647"/>
                  <a:gd name="connsiteY2" fmla="*/ 0 h 568540"/>
                </a:gdLst>
                <a:ahLst/>
                <a:cxnLst>
                  <a:cxn ang="0">
                    <a:pos x="connsiteX0" y="connsiteY0"/>
                  </a:cxn>
                  <a:cxn ang="0">
                    <a:pos x="connsiteX1" y="connsiteY1"/>
                  </a:cxn>
                  <a:cxn ang="0">
                    <a:pos x="connsiteX2" y="connsiteY2"/>
                  </a:cxn>
                </a:cxnLst>
                <a:rect l="l" t="t" r="r" b="b"/>
                <a:pathLst>
                  <a:path w="578647" h="568540">
                    <a:moveTo>
                      <a:pt x="578647" y="568540"/>
                    </a:moveTo>
                    <a:lnTo>
                      <a:pt x="0" y="568540"/>
                    </a:lnTo>
                    <a:lnTo>
                      <a:pt x="0" y="0"/>
                    </a:lnTo>
                  </a:path>
                </a:pathLst>
              </a:custGeom>
              <a:grpFill/>
              <a:ln w="12700">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8006" fontAlgn="base">
                  <a:spcBef>
                    <a:spcPct val="0"/>
                  </a:spcBef>
                  <a:spcAft>
                    <a:spcPct val="0"/>
                  </a:spcAft>
                  <a:defRPr/>
                </a:pPr>
                <a:endParaRPr lang="en-US" sz="2720">
                  <a:gradFill>
                    <a:gsLst>
                      <a:gs pos="0">
                        <a:srgbClr val="FFFFFF"/>
                      </a:gs>
                      <a:gs pos="100000">
                        <a:srgbClr val="FFFFFF"/>
                      </a:gs>
                    </a:gsLst>
                    <a:lin ang="5400000" scaled="0"/>
                  </a:gradFill>
                  <a:latin typeface="Segoe UI"/>
                </a:endParaRPr>
              </a:p>
            </p:txBody>
          </p:sp>
          <p:cxnSp>
            <p:nvCxnSpPr>
              <p:cNvPr id="36" name="Straight Connector 35">
                <a:extLst>
                  <a:ext uri="{FF2B5EF4-FFF2-40B4-BE49-F238E27FC236}">
                    <a16:creationId xmlns:a16="http://schemas.microsoft.com/office/drawing/2014/main" id="{64E33BEF-11AF-4803-86C6-49D6B8640AE2}"/>
                  </a:ext>
                </a:extLst>
              </p:cNvPr>
              <p:cNvCxnSpPr>
                <a:cxnSpLocks/>
                <a:stCxn id="34" idx="1"/>
                <a:endCxn id="35" idx="1"/>
              </p:cNvCxnSpPr>
              <p:nvPr/>
            </p:nvCxnSpPr>
            <p:spPr>
              <a:xfrm flipV="1">
                <a:off x="3924301" y="3326121"/>
                <a:ext cx="1242014" cy="1229549"/>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33" name="Flowchart: Magnetic Disk 32">
              <a:extLst>
                <a:ext uri="{FF2B5EF4-FFF2-40B4-BE49-F238E27FC236}">
                  <a16:creationId xmlns:a16="http://schemas.microsoft.com/office/drawing/2014/main" id="{ADB50BCC-6D1C-4B37-B381-EC8F68732F8D}"/>
                </a:ext>
              </a:extLst>
            </p:cNvPr>
            <p:cNvSpPr/>
            <p:nvPr/>
          </p:nvSpPr>
          <p:spPr bwMode="auto">
            <a:xfrm>
              <a:off x="4862124" y="3736286"/>
              <a:ext cx="289153" cy="372780"/>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defRPr/>
              </a:pPr>
              <a:endParaRPr lang="en-US" sz="3264"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7" name="Text Placeholder 3">
            <a:extLst>
              <a:ext uri="{FF2B5EF4-FFF2-40B4-BE49-F238E27FC236}">
                <a16:creationId xmlns:a16="http://schemas.microsoft.com/office/drawing/2014/main" id="{6E0C95DB-6819-43CF-9AE3-554CA2269CC8}"/>
              </a:ext>
            </a:extLst>
          </p:cNvPr>
          <p:cNvSpPr txBox="1">
            <a:spLocks/>
          </p:cNvSpPr>
          <p:nvPr/>
        </p:nvSpPr>
        <p:spPr>
          <a:xfrm>
            <a:off x="4689345" y="5276666"/>
            <a:ext cx="2818449" cy="444501"/>
          </a:xfrm>
          <a:prstGeom prst="rect">
            <a:avLst/>
          </a:prstGeom>
        </p:spPr>
        <p:txBody>
          <a:bodyPr vert="horz" wrap="square" lIns="149217" tIns="93260" rIns="149217" bIns="93260" rtlCol="0" anchor="b">
            <a:sp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400"/>
              </a:spcAft>
              <a:buClr>
                <a:srgbClr val="0078D7"/>
              </a:buClr>
              <a:buSzPct val="90000"/>
              <a:buFont typeface="Arial" pitchFamily="34" charset="0"/>
              <a:buNone/>
              <a:tabLst/>
              <a:defRPr lang="en-US" sz="1400" kern="1200" spc="0" baseline="0" dirty="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2573">
              <a:spcBef>
                <a:spcPts val="0"/>
              </a:spcBef>
              <a:spcAft>
                <a:spcPts val="612"/>
              </a:spcAft>
              <a:buClrTx/>
              <a:buSzTx/>
              <a:defRPr/>
            </a:pPr>
            <a:r>
              <a:rPr lang="en-US" sz="1632" b="1">
                <a:solidFill>
                  <a:srgbClr val="1A1A1A"/>
                </a:solidFill>
                <a:latin typeface="Segoe UI Semibold" panose="020B0502040204020203" pitchFamily="34" charset="0"/>
                <a:cs typeface="Segoe UI Semibold" panose="020B0502040204020203" pitchFamily="34" charset="0"/>
              </a:rPr>
              <a:t>No limits</a:t>
            </a:r>
          </a:p>
        </p:txBody>
      </p:sp>
      <p:sp>
        <p:nvSpPr>
          <p:cNvPr id="38" name="Rectangle 37">
            <a:extLst>
              <a:ext uri="{FF2B5EF4-FFF2-40B4-BE49-F238E27FC236}">
                <a16:creationId xmlns:a16="http://schemas.microsoft.com/office/drawing/2014/main" id="{98FDF0D7-75F8-4376-B440-FC45E8D69407}"/>
              </a:ext>
            </a:extLst>
          </p:cNvPr>
          <p:cNvSpPr/>
          <p:nvPr/>
        </p:nvSpPr>
        <p:spPr bwMode="auto">
          <a:xfrm>
            <a:off x="4972126" y="5759933"/>
            <a:ext cx="2401958" cy="414353"/>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r>
              <a:rPr lang="en-US" sz="1428" dirty="0">
                <a:solidFill>
                  <a:srgbClr val="0078D7"/>
                </a:solidFill>
                <a:latin typeface="Segoe UI" panose="020B0502040204020203" pitchFamily="34" charset="0"/>
                <a:cs typeface="Segoe UI" panose="020B0502040204020203" pitchFamily="34" charset="0"/>
              </a:rPr>
              <a:t>Scale compute and storage</a:t>
            </a:r>
          </a:p>
        </p:txBody>
      </p:sp>
      <p:grpSp>
        <p:nvGrpSpPr>
          <p:cNvPr id="39" name="Group 38">
            <a:extLst>
              <a:ext uri="{FF2B5EF4-FFF2-40B4-BE49-F238E27FC236}">
                <a16:creationId xmlns:a16="http://schemas.microsoft.com/office/drawing/2014/main" id="{91DE356A-EF6F-4A94-B356-9E76224F6D9A}"/>
              </a:ext>
            </a:extLst>
          </p:cNvPr>
          <p:cNvGrpSpPr/>
          <p:nvPr/>
        </p:nvGrpSpPr>
        <p:grpSpPr>
          <a:xfrm>
            <a:off x="9044567" y="4174972"/>
            <a:ext cx="994777" cy="746083"/>
            <a:chOff x="5833288" y="2672101"/>
            <a:chExt cx="879601" cy="730365"/>
          </a:xfrm>
        </p:grpSpPr>
        <p:sp>
          <p:nvSpPr>
            <p:cNvPr id="40" name="Flowchart: Magnetic Disk 39">
              <a:extLst>
                <a:ext uri="{FF2B5EF4-FFF2-40B4-BE49-F238E27FC236}">
                  <a16:creationId xmlns:a16="http://schemas.microsoft.com/office/drawing/2014/main" id="{E7137C2D-AD52-43CD-9BD3-2ED262CF5620}"/>
                </a:ext>
              </a:extLst>
            </p:cNvPr>
            <p:cNvSpPr/>
            <p:nvPr/>
          </p:nvSpPr>
          <p:spPr bwMode="auto">
            <a:xfrm>
              <a:off x="5833288" y="3029686"/>
              <a:ext cx="289153" cy="372780"/>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defRPr/>
              </a:pPr>
              <a:endParaRPr lang="en-US" sz="3264"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Flowchart: Magnetic Disk 40">
              <a:extLst>
                <a:ext uri="{FF2B5EF4-FFF2-40B4-BE49-F238E27FC236}">
                  <a16:creationId xmlns:a16="http://schemas.microsoft.com/office/drawing/2014/main" id="{258DA6E5-75C9-465A-AB55-34FA8AB76623}"/>
                </a:ext>
              </a:extLst>
            </p:cNvPr>
            <p:cNvSpPr/>
            <p:nvPr/>
          </p:nvSpPr>
          <p:spPr bwMode="auto">
            <a:xfrm>
              <a:off x="6126914" y="2942838"/>
              <a:ext cx="289153" cy="459628"/>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defRPr/>
              </a:pPr>
              <a:endParaRPr lang="en-US" sz="3264"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Flowchart: Magnetic Disk 41">
              <a:extLst>
                <a:ext uri="{FF2B5EF4-FFF2-40B4-BE49-F238E27FC236}">
                  <a16:creationId xmlns:a16="http://schemas.microsoft.com/office/drawing/2014/main" id="{79AE24A9-20B4-4DEE-A76F-CF667F3BD7D5}"/>
                </a:ext>
              </a:extLst>
            </p:cNvPr>
            <p:cNvSpPr/>
            <p:nvPr/>
          </p:nvSpPr>
          <p:spPr bwMode="auto">
            <a:xfrm>
              <a:off x="6423736" y="2834178"/>
              <a:ext cx="289153" cy="568288"/>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defRPr/>
              </a:pPr>
              <a:endParaRPr lang="en-US" sz="3264"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657B4264-B9A3-4B97-A1F9-8F47B3CF4AF0}"/>
                </a:ext>
              </a:extLst>
            </p:cNvPr>
            <p:cNvSpPr/>
            <p:nvPr/>
          </p:nvSpPr>
          <p:spPr bwMode="auto">
            <a:xfrm>
              <a:off x="5875021" y="2672101"/>
              <a:ext cx="697230" cy="270737"/>
            </a:xfrm>
            <a:custGeom>
              <a:avLst/>
              <a:gdLst>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60144"/>
                <a:gd name="connsiteX1" fmla="*/ 5172892 w 5172892"/>
                <a:gd name="connsiteY1" fmla="*/ 0 h 2160144"/>
                <a:gd name="connsiteX0" fmla="*/ 0 w 5172892"/>
                <a:gd name="connsiteY0" fmla="*/ 2159726 h 2160246"/>
                <a:gd name="connsiteX1" fmla="*/ 5172892 w 5172892"/>
                <a:gd name="connsiteY1" fmla="*/ 0 h 2160246"/>
                <a:gd name="connsiteX0" fmla="*/ 0 w 5172892"/>
                <a:gd name="connsiteY0" fmla="*/ 2159726 h 2187585"/>
                <a:gd name="connsiteX1" fmla="*/ 5172892 w 5172892"/>
                <a:gd name="connsiteY1" fmla="*/ 0 h 2187585"/>
                <a:gd name="connsiteX0" fmla="*/ 0 w 5172892"/>
                <a:gd name="connsiteY0" fmla="*/ 2159726 h 2197661"/>
                <a:gd name="connsiteX1" fmla="*/ 5172892 w 5172892"/>
                <a:gd name="connsiteY1" fmla="*/ 0 h 2197661"/>
              </a:gdLst>
              <a:ahLst/>
              <a:cxnLst>
                <a:cxn ang="0">
                  <a:pos x="connsiteX0" y="connsiteY0"/>
                </a:cxn>
                <a:cxn ang="0">
                  <a:pos x="connsiteX1" y="connsiteY1"/>
                </a:cxn>
              </a:cxnLst>
              <a:rect l="l" t="t" r="r" b="b"/>
              <a:pathLst>
                <a:path w="5172892" h="2197661">
                  <a:moveTo>
                    <a:pt x="0" y="2159726"/>
                  </a:moveTo>
                  <a:cubicBezTo>
                    <a:pt x="2311587" y="2418405"/>
                    <a:pt x="4673314" y="1316585"/>
                    <a:pt x="5172892" y="0"/>
                  </a:cubicBezTo>
                </a:path>
              </a:pathLst>
            </a:custGeom>
            <a:noFill/>
            <a:ln w="12700" cap="flat">
              <a:solidFill>
                <a:srgbClr val="0078D7"/>
              </a:solidFill>
              <a:prstDash val="solid"/>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1243431">
                <a:defRPr/>
              </a:pPr>
              <a:endParaRPr lang="en-US" sz="2448">
                <a:solidFill>
                  <a:srgbClr val="FFFFFF"/>
                </a:solidFill>
                <a:latin typeface="Segoe UI"/>
              </a:endParaRPr>
            </a:p>
          </p:txBody>
        </p:sp>
      </p:grpSp>
      <p:grpSp>
        <p:nvGrpSpPr>
          <p:cNvPr id="44" name="Group 43">
            <a:extLst>
              <a:ext uri="{FF2B5EF4-FFF2-40B4-BE49-F238E27FC236}">
                <a16:creationId xmlns:a16="http://schemas.microsoft.com/office/drawing/2014/main" id="{6988DD09-9F30-4D0E-B94B-057DE23496D2}"/>
              </a:ext>
            </a:extLst>
          </p:cNvPr>
          <p:cNvGrpSpPr/>
          <p:nvPr/>
        </p:nvGrpSpPr>
        <p:grpSpPr>
          <a:xfrm>
            <a:off x="1875098" y="1807042"/>
            <a:ext cx="1673924" cy="675689"/>
            <a:chOff x="655012" y="929489"/>
            <a:chExt cx="1655303" cy="664843"/>
          </a:xfrm>
        </p:grpSpPr>
        <p:pic>
          <p:nvPicPr>
            <p:cNvPr id="45" name="Graphic 54">
              <a:extLst>
                <a:ext uri="{FF2B5EF4-FFF2-40B4-BE49-F238E27FC236}">
                  <a16:creationId xmlns:a16="http://schemas.microsoft.com/office/drawing/2014/main" id="{BDC340CA-510D-4C30-A096-C4380D3B207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62664" y="966282"/>
              <a:ext cx="658444" cy="569735"/>
            </a:xfrm>
            <a:prstGeom prst="rect">
              <a:avLst/>
            </a:prstGeom>
          </p:spPr>
        </p:pic>
        <p:pic>
          <p:nvPicPr>
            <p:cNvPr id="46" name="Graphic 54">
              <a:extLst>
                <a:ext uri="{FF2B5EF4-FFF2-40B4-BE49-F238E27FC236}">
                  <a16:creationId xmlns:a16="http://schemas.microsoft.com/office/drawing/2014/main" id="{8D81EEC7-747E-4873-92A3-8B525B535CC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5012" y="1024597"/>
              <a:ext cx="658444" cy="569735"/>
            </a:xfrm>
            <a:prstGeom prst="rect">
              <a:avLst/>
            </a:prstGeom>
          </p:spPr>
        </p:pic>
        <p:pic>
          <p:nvPicPr>
            <p:cNvPr id="47" name="Graphic 54">
              <a:extLst>
                <a:ext uri="{FF2B5EF4-FFF2-40B4-BE49-F238E27FC236}">
                  <a16:creationId xmlns:a16="http://schemas.microsoft.com/office/drawing/2014/main" id="{807A66D6-6E2A-4332-9B4D-87EB33DDB6A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51871" y="929489"/>
              <a:ext cx="658444" cy="569735"/>
            </a:xfrm>
            <a:prstGeom prst="rect">
              <a:avLst/>
            </a:prstGeom>
          </p:spPr>
        </p:pic>
      </p:grpSp>
      <p:sp>
        <p:nvSpPr>
          <p:cNvPr id="48" name="Text Placeholder 3">
            <a:extLst>
              <a:ext uri="{FF2B5EF4-FFF2-40B4-BE49-F238E27FC236}">
                <a16:creationId xmlns:a16="http://schemas.microsoft.com/office/drawing/2014/main" id="{EB36BD39-8C76-48D2-8826-B72334CBE47E}"/>
              </a:ext>
            </a:extLst>
          </p:cNvPr>
          <p:cNvSpPr txBox="1">
            <a:spLocks/>
          </p:cNvSpPr>
          <p:nvPr/>
        </p:nvSpPr>
        <p:spPr>
          <a:xfrm>
            <a:off x="8146322" y="5276666"/>
            <a:ext cx="2818449" cy="444501"/>
          </a:xfrm>
          <a:prstGeom prst="rect">
            <a:avLst/>
          </a:prstGeom>
        </p:spPr>
        <p:txBody>
          <a:bodyPr vert="horz" wrap="square" lIns="149217" tIns="93260" rIns="149217" bIns="93260" rtlCol="0" anchor="b">
            <a:sp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400"/>
              </a:spcAft>
              <a:buClr>
                <a:srgbClr val="0078D7"/>
              </a:buClr>
              <a:buSzPct val="90000"/>
              <a:buFont typeface="Arial" pitchFamily="34" charset="0"/>
              <a:buNone/>
              <a:tabLst/>
              <a:defRPr lang="en-US" sz="1400" kern="1200" spc="0" baseline="0" dirty="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2573">
              <a:spcBef>
                <a:spcPts val="0"/>
              </a:spcBef>
              <a:spcAft>
                <a:spcPts val="612"/>
              </a:spcAft>
              <a:buClrTx/>
              <a:buSzTx/>
              <a:defRPr/>
            </a:pPr>
            <a:r>
              <a:rPr lang="en-US" sz="1632" b="1">
                <a:solidFill>
                  <a:srgbClr val="1A1A1A"/>
                </a:solidFill>
                <a:latin typeface="Segoe UI Semibold" panose="020B0502040204020203" pitchFamily="34" charset="0"/>
                <a:cs typeface="Segoe UI Semibold" panose="020B0502040204020203" pitchFamily="34" charset="0"/>
              </a:rPr>
              <a:t>Large database</a:t>
            </a:r>
          </a:p>
        </p:txBody>
      </p:sp>
      <p:sp>
        <p:nvSpPr>
          <p:cNvPr id="49" name="Rectangle 48">
            <a:extLst>
              <a:ext uri="{FF2B5EF4-FFF2-40B4-BE49-F238E27FC236}">
                <a16:creationId xmlns:a16="http://schemas.microsoft.com/office/drawing/2014/main" id="{FD988B30-3F50-4127-8708-3CDD953C68BE}"/>
              </a:ext>
            </a:extLst>
          </p:cNvPr>
          <p:cNvSpPr/>
          <p:nvPr/>
        </p:nvSpPr>
        <p:spPr bwMode="auto">
          <a:xfrm>
            <a:off x="8278804" y="5798897"/>
            <a:ext cx="2401958" cy="414353"/>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r>
              <a:rPr lang="en-US" sz="1428">
                <a:solidFill>
                  <a:srgbClr val="0078D7"/>
                </a:solidFill>
                <a:latin typeface="Segoe UI" panose="020B0502040204020203" pitchFamily="34" charset="0"/>
                <a:cs typeface="Segoe UI" panose="020B0502040204020203" pitchFamily="34" charset="0"/>
              </a:rPr>
              <a:t>Support for 100TB+</a:t>
            </a:r>
          </a:p>
        </p:txBody>
      </p:sp>
    </p:spTree>
    <p:extLst>
      <p:ext uri="{BB962C8B-B14F-4D97-AF65-F5344CB8AC3E}">
        <p14:creationId xmlns:p14="http://schemas.microsoft.com/office/powerpoint/2010/main" val="41157858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Hyperscale is the foundation for massive app growth</a:t>
            </a:r>
          </a:p>
        </p:txBody>
      </p:sp>
      <p:graphicFrame>
        <p:nvGraphicFramePr>
          <p:cNvPr id="43" name="Content Placeholder 42">
            <a:extLst>
              <a:ext uri="{FF2B5EF4-FFF2-40B4-BE49-F238E27FC236}">
                <a16:creationId xmlns:a16="http://schemas.microsoft.com/office/drawing/2014/main" id="{FEF1F9D0-F334-4A9E-9AA9-4DBC8F03075C}"/>
              </a:ext>
            </a:extLst>
          </p:cNvPr>
          <p:cNvGraphicFramePr>
            <a:graphicFrameLocks noGrp="1"/>
          </p:cNvGraphicFramePr>
          <p:nvPr>
            <p:ph sz="quarter" idx="13"/>
            <p:extLst>
              <p:ext uri="{D42A27DB-BD31-4B8C-83A1-F6EECF244321}">
                <p14:modId xmlns:p14="http://schemas.microsoft.com/office/powerpoint/2010/main" val="3668255920"/>
              </p:ext>
            </p:extLst>
          </p:nvPr>
        </p:nvGraphicFramePr>
        <p:xfrm>
          <a:off x="655639" y="1408113"/>
          <a:ext cx="56689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3" name="Group 48" descr="storage">
            <a:extLst>
              <a:ext uri="{FF2B5EF4-FFF2-40B4-BE49-F238E27FC236}">
                <a16:creationId xmlns:a16="http://schemas.microsoft.com/office/drawing/2014/main" id="{B3334694-5D18-441A-8B93-03A09026BDC5}"/>
              </a:ext>
            </a:extLst>
          </p:cNvPr>
          <p:cNvGrpSpPr>
            <a:grpSpLocks noChangeAspect="1"/>
          </p:cNvGrpSpPr>
          <p:nvPr/>
        </p:nvGrpSpPr>
        <p:grpSpPr bwMode="auto">
          <a:xfrm>
            <a:off x="8543002" y="5052281"/>
            <a:ext cx="1097468" cy="1032641"/>
            <a:chOff x="3443" y="1378"/>
            <a:chExt cx="237" cy="223"/>
          </a:xfrm>
        </p:grpSpPr>
        <p:sp>
          <p:nvSpPr>
            <p:cNvPr id="24" name="AutoShape 47">
              <a:extLst>
                <a:ext uri="{FF2B5EF4-FFF2-40B4-BE49-F238E27FC236}">
                  <a16:creationId xmlns:a16="http://schemas.microsoft.com/office/drawing/2014/main" id="{D0859988-BC4B-4429-AB41-83BF7630B8C1}"/>
                </a:ext>
              </a:extLst>
            </p:cNvPr>
            <p:cNvSpPr>
              <a:spLocks noChangeAspect="1" noChangeArrowheads="1" noTextEdit="1"/>
            </p:cNvSpPr>
            <p:nvPr/>
          </p:nvSpPr>
          <p:spPr bwMode="auto">
            <a:xfrm>
              <a:off x="3443" y="1378"/>
              <a:ext cx="23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25" name="Freeform 49">
              <a:extLst>
                <a:ext uri="{FF2B5EF4-FFF2-40B4-BE49-F238E27FC236}">
                  <a16:creationId xmlns:a16="http://schemas.microsoft.com/office/drawing/2014/main" id="{532B2742-2768-4A41-873C-F3440D4707FF}"/>
                </a:ext>
              </a:extLst>
            </p:cNvPr>
            <p:cNvSpPr>
              <a:spLocks/>
            </p:cNvSpPr>
            <p:nvPr/>
          </p:nvSpPr>
          <p:spPr bwMode="auto">
            <a:xfrm>
              <a:off x="3446" y="1390"/>
              <a:ext cx="188" cy="67"/>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26" name="Freeform 50">
              <a:extLst>
                <a:ext uri="{FF2B5EF4-FFF2-40B4-BE49-F238E27FC236}">
                  <a16:creationId xmlns:a16="http://schemas.microsoft.com/office/drawing/2014/main" id="{83DD3DEC-98CD-447B-A753-87170B61CB5D}"/>
                </a:ext>
              </a:extLst>
            </p:cNvPr>
            <p:cNvSpPr>
              <a:spLocks noEditPoints="1"/>
            </p:cNvSpPr>
            <p:nvPr/>
          </p:nvSpPr>
          <p:spPr bwMode="auto">
            <a:xfrm>
              <a:off x="3443" y="1386"/>
              <a:ext cx="196" cy="99"/>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27" name="Freeform 51">
              <a:extLst>
                <a:ext uri="{FF2B5EF4-FFF2-40B4-BE49-F238E27FC236}">
                  <a16:creationId xmlns:a16="http://schemas.microsoft.com/office/drawing/2014/main" id="{2D4D5AFD-EA53-4DCC-AFD2-961793542515}"/>
                </a:ext>
              </a:extLst>
            </p:cNvPr>
            <p:cNvSpPr>
              <a:spLocks/>
            </p:cNvSpPr>
            <p:nvPr/>
          </p:nvSpPr>
          <p:spPr bwMode="auto">
            <a:xfrm>
              <a:off x="3443" y="1465"/>
              <a:ext cx="196" cy="70"/>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28" name="Freeform 52">
              <a:extLst>
                <a:ext uri="{FF2B5EF4-FFF2-40B4-BE49-F238E27FC236}">
                  <a16:creationId xmlns:a16="http://schemas.microsoft.com/office/drawing/2014/main" id="{BE230AC5-ADA1-4DC2-94F4-41DFF65DC415}"/>
                </a:ext>
              </a:extLst>
            </p:cNvPr>
            <p:cNvSpPr>
              <a:spLocks/>
            </p:cNvSpPr>
            <p:nvPr/>
          </p:nvSpPr>
          <p:spPr bwMode="auto">
            <a:xfrm>
              <a:off x="3443" y="1516"/>
              <a:ext cx="196" cy="68"/>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sp>
        <p:nvSpPr>
          <p:cNvPr id="29" name="Freeform 146">
            <a:extLst>
              <a:ext uri="{FF2B5EF4-FFF2-40B4-BE49-F238E27FC236}">
                <a16:creationId xmlns:a16="http://schemas.microsoft.com/office/drawing/2014/main" id="{D86657A4-22A1-43E0-B423-2123DB71C35F}"/>
              </a:ext>
            </a:extLst>
          </p:cNvPr>
          <p:cNvSpPr>
            <a:spLocks noChangeAspect="1"/>
          </p:cNvSpPr>
          <p:nvPr/>
        </p:nvSpPr>
        <p:spPr bwMode="auto">
          <a:xfrm>
            <a:off x="6963536" y="1513078"/>
            <a:ext cx="3848352" cy="243719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0078D3">
              <a:lumMod val="20000"/>
              <a:lumOff val="80000"/>
            </a:srgbClr>
          </a:solidFill>
          <a:ln w="9525" cap="flat" cmpd="sng" algn="ctr">
            <a:solidFill>
              <a:srgbClr val="EBEBEB"/>
            </a:solidFill>
            <a:prstDash val="solid"/>
            <a:headEnd type="none" w="med" len="med"/>
            <a:tailEnd type="none" w="med" len="med"/>
          </a:ln>
          <a:effectLst/>
        </p:spPr>
        <p:txBody>
          <a:bodyPr rot="0" spcFirstLastPara="0" vertOverflow="overflow" horzOverflow="overflow" vert="horz" wrap="square" lIns="182828" tIns="146262" rIns="182828" bIns="0" numCol="1" spcCol="0" rtlCol="0" fromWordArt="0" anchor="ctr" anchorCtr="0" forceAA="0" compatLnSpc="1">
            <a:prstTxWarp prst="textNoShape">
              <a:avLst/>
            </a:prstTxWarp>
            <a:noAutofit/>
          </a:bodyPr>
          <a:lstStyle/>
          <a:p>
            <a:pPr marL="0" marR="0" lvl="0" indent="0" algn="ctr" defTabSz="932091" eaLnBrk="1" fontAlgn="base" latinLnBrk="0" hangingPunct="1">
              <a:lnSpc>
                <a:spcPct val="90000"/>
              </a:lnSpc>
              <a:spcBef>
                <a:spcPct val="0"/>
              </a:spcBef>
              <a:spcAft>
                <a:spcPct val="0"/>
              </a:spcAft>
              <a:buClrTx/>
              <a:buSzTx/>
              <a:buFontTx/>
              <a:buNone/>
              <a:tabLst/>
              <a:defRPr/>
            </a:pPr>
            <a:endParaRPr kumimoji="0" lang="en-IN" sz="1632"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grpSp>
        <p:nvGrpSpPr>
          <p:cNvPr id="30" name="Group 48" descr="storage">
            <a:extLst>
              <a:ext uri="{FF2B5EF4-FFF2-40B4-BE49-F238E27FC236}">
                <a16:creationId xmlns:a16="http://schemas.microsoft.com/office/drawing/2014/main" id="{20B5362A-ED69-4ED1-80EB-719B078B4A9D}"/>
              </a:ext>
            </a:extLst>
          </p:cNvPr>
          <p:cNvGrpSpPr>
            <a:grpSpLocks noChangeAspect="1"/>
          </p:cNvGrpSpPr>
          <p:nvPr/>
        </p:nvGrpSpPr>
        <p:grpSpPr bwMode="auto">
          <a:xfrm>
            <a:off x="8345889" y="2190569"/>
            <a:ext cx="1534303" cy="1443673"/>
            <a:chOff x="3443" y="1378"/>
            <a:chExt cx="237" cy="223"/>
          </a:xfrm>
        </p:grpSpPr>
        <p:sp>
          <p:nvSpPr>
            <p:cNvPr id="31" name="AutoShape 47">
              <a:extLst>
                <a:ext uri="{FF2B5EF4-FFF2-40B4-BE49-F238E27FC236}">
                  <a16:creationId xmlns:a16="http://schemas.microsoft.com/office/drawing/2014/main" id="{053BD361-AD33-4BDB-9E4B-7B984B5158D9}"/>
                </a:ext>
              </a:extLst>
            </p:cNvPr>
            <p:cNvSpPr>
              <a:spLocks noChangeAspect="1" noChangeArrowheads="1" noTextEdit="1"/>
            </p:cNvSpPr>
            <p:nvPr/>
          </p:nvSpPr>
          <p:spPr bwMode="auto">
            <a:xfrm>
              <a:off x="3443" y="1378"/>
              <a:ext cx="23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32" name="Freeform 49">
              <a:extLst>
                <a:ext uri="{FF2B5EF4-FFF2-40B4-BE49-F238E27FC236}">
                  <a16:creationId xmlns:a16="http://schemas.microsoft.com/office/drawing/2014/main" id="{F4325601-DFB8-4B3A-B436-F83CA1D7EF9A}"/>
                </a:ext>
              </a:extLst>
            </p:cNvPr>
            <p:cNvSpPr>
              <a:spLocks/>
            </p:cNvSpPr>
            <p:nvPr/>
          </p:nvSpPr>
          <p:spPr bwMode="auto">
            <a:xfrm>
              <a:off x="3446" y="1390"/>
              <a:ext cx="188" cy="67"/>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33" name="Freeform 50">
              <a:extLst>
                <a:ext uri="{FF2B5EF4-FFF2-40B4-BE49-F238E27FC236}">
                  <a16:creationId xmlns:a16="http://schemas.microsoft.com/office/drawing/2014/main" id="{32BBABB4-A648-4354-93D5-3C071EFA1DFE}"/>
                </a:ext>
              </a:extLst>
            </p:cNvPr>
            <p:cNvSpPr>
              <a:spLocks noEditPoints="1"/>
            </p:cNvSpPr>
            <p:nvPr/>
          </p:nvSpPr>
          <p:spPr bwMode="auto">
            <a:xfrm>
              <a:off x="3443" y="1386"/>
              <a:ext cx="196" cy="99"/>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34" name="Freeform 51">
              <a:extLst>
                <a:ext uri="{FF2B5EF4-FFF2-40B4-BE49-F238E27FC236}">
                  <a16:creationId xmlns:a16="http://schemas.microsoft.com/office/drawing/2014/main" id="{C612CFDD-82C0-4B1C-9771-6B5B39B8D745}"/>
                </a:ext>
              </a:extLst>
            </p:cNvPr>
            <p:cNvSpPr>
              <a:spLocks/>
            </p:cNvSpPr>
            <p:nvPr/>
          </p:nvSpPr>
          <p:spPr bwMode="auto">
            <a:xfrm>
              <a:off x="3443" y="1465"/>
              <a:ext cx="196" cy="70"/>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35" name="Freeform 52">
              <a:extLst>
                <a:ext uri="{FF2B5EF4-FFF2-40B4-BE49-F238E27FC236}">
                  <a16:creationId xmlns:a16="http://schemas.microsoft.com/office/drawing/2014/main" id="{DEBF67F7-042E-40F7-8E47-99BC40CD5C0C}"/>
                </a:ext>
              </a:extLst>
            </p:cNvPr>
            <p:cNvSpPr>
              <a:spLocks/>
            </p:cNvSpPr>
            <p:nvPr/>
          </p:nvSpPr>
          <p:spPr bwMode="auto">
            <a:xfrm>
              <a:off x="3443" y="1516"/>
              <a:ext cx="197" cy="68"/>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36" name="Freeform 53">
              <a:extLst>
                <a:ext uri="{FF2B5EF4-FFF2-40B4-BE49-F238E27FC236}">
                  <a16:creationId xmlns:a16="http://schemas.microsoft.com/office/drawing/2014/main" id="{17A37CF5-E0D8-49FD-8719-3DC927D1EAD3}"/>
                </a:ext>
              </a:extLst>
            </p:cNvPr>
            <p:cNvSpPr>
              <a:spLocks/>
            </p:cNvSpPr>
            <p:nvPr/>
          </p:nvSpPr>
          <p:spPr bwMode="auto">
            <a:xfrm>
              <a:off x="3588" y="1508"/>
              <a:ext cx="92" cy="92"/>
            </a:xfrm>
            <a:custGeom>
              <a:avLst/>
              <a:gdLst>
                <a:gd name="T0" fmla="*/ 82 w 165"/>
                <a:gd name="T1" fmla="*/ 165 h 165"/>
                <a:gd name="T2" fmla="*/ 165 w 165"/>
                <a:gd name="T3" fmla="*/ 83 h 165"/>
                <a:gd name="T4" fmla="*/ 82 w 165"/>
                <a:gd name="T5" fmla="*/ 0 h 165"/>
                <a:gd name="T6" fmla="*/ 0 w 165"/>
                <a:gd name="T7" fmla="*/ 83 h 165"/>
                <a:gd name="T8" fmla="*/ 82 w 165"/>
                <a:gd name="T9" fmla="*/ 165 h 165"/>
              </a:gdLst>
              <a:ahLst/>
              <a:cxnLst>
                <a:cxn ang="0">
                  <a:pos x="T0" y="T1"/>
                </a:cxn>
                <a:cxn ang="0">
                  <a:pos x="T2" y="T3"/>
                </a:cxn>
                <a:cxn ang="0">
                  <a:pos x="T4" y="T5"/>
                </a:cxn>
                <a:cxn ang="0">
                  <a:pos x="T6" y="T7"/>
                </a:cxn>
                <a:cxn ang="0">
                  <a:pos x="T8" y="T9"/>
                </a:cxn>
              </a:cxnLst>
              <a:rect l="0" t="0" r="r" b="b"/>
              <a:pathLst>
                <a:path w="165" h="165">
                  <a:moveTo>
                    <a:pt x="82" y="165"/>
                  </a:moveTo>
                  <a:cubicBezTo>
                    <a:pt x="128" y="165"/>
                    <a:pt x="165" y="128"/>
                    <a:pt x="165" y="83"/>
                  </a:cubicBezTo>
                  <a:cubicBezTo>
                    <a:pt x="165" y="37"/>
                    <a:pt x="128" y="0"/>
                    <a:pt x="82" y="0"/>
                  </a:cubicBezTo>
                  <a:cubicBezTo>
                    <a:pt x="37" y="0"/>
                    <a:pt x="0" y="37"/>
                    <a:pt x="0" y="83"/>
                  </a:cubicBezTo>
                  <a:cubicBezTo>
                    <a:pt x="0" y="128"/>
                    <a:pt x="36" y="165"/>
                    <a:pt x="82" y="165"/>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37" name="Freeform 54">
              <a:extLst>
                <a:ext uri="{FF2B5EF4-FFF2-40B4-BE49-F238E27FC236}">
                  <a16:creationId xmlns:a16="http://schemas.microsoft.com/office/drawing/2014/main" id="{1B90D69B-7516-4A3D-B366-5920340DB8DE}"/>
                </a:ext>
              </a:extLst>
            </p:cNvPr>
            <p:cNvSpPr>
              <a:spLocks/>
            </p:cNvSpPr>
            <p:nvPr/>
          </p:nvSpPr>
          <p:spPr bwMode="auto">
            <a:xfrm>
              <a:off x="3609" y="1532"/>
              <a:ext cx="49" cy="48"/>
            </a:xfrm>
            <a:custGeom>
              <a:avLst/>
              <a:gdLst>
                <a:gd name="T0" fmla="*/ 35 w 86"/>
                <a:gd name="T1" fmla="*/ 0 h 86"/>
                <a:gd name="T2" fmla="*/ 29 w 86"/>
                <a:gd name="T3" fmla="*/ 6 h 86"/>
                <a:gd name="T4" fmla="*/ 35 w 86"/>
                <a:gd name="T5" fmla="*/ 13 h 86"/>
                <a:gd name="T6" fmla="*/ 63 w 86"/>
                <a:gd name="T7" fmla="*/ 13 h 86"/>
                <a:gd name="T8" fmla="*/ 3 w 86"/>
                <a:gd name="T9" fmla="*/ 74 h 86"/>
                <a:gd name="T10" fmla="*/ 3 w 86"/>
                <a:gd name="T11" fmla="*/ 83 h 86"/>
                <a:gd name="T12" fmla="*/ 12 w 86"/>
                <a:gd name="T13" fmla="*/ 83 h 86"/>
                <a:gd name="T14" fmla="*/ 72 w 86"/>
                <a:gd name="T15" fmla="*/ 22 h 86"/>
                <a:gd name="T16" fmla="*/ 72 w 86"/>
                <a:gd name="T17" fmla="*/ 50 h 86"/>
                <a:gd name="T18" fmla="*/ 79 w 86"/>
                <a:gd name="T19" fmla="*/ 57 h 86"/>
                <a:gd name="T20" fmla="*/ 86 w 86"/>
                <a:gd name="T21" fmla="*/ 50 h 86"/>
                <a:gd name="T22" fmla="*/ 86 w 86"/>
                <a:gd name="T23" fmla="*/ 0 h 86"/>
                <a:gd name="T24" fmla="*/ 35 w 86"/>
                <a:gd name="T2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86">
                  <a:moveTo>
                    <a:pt x="35" y="0"/>
                  </a:moveTo>
                  <a:cubicBezTo>
                    <a:pt x="32" y="0"/>
                    <a:pt x="29" y="3"/>
                    <a:pt x="29" y="6"/>
                  </a:cubicBezTo>
                  <a:cubicBezTo>
                    <a:pt x="29" y="10"/>
                    <a:pt x="32" y="13"/>
                    <a:pt x="35" y="13"/>
                  </a:cubicBezTo>
                  <a:cubicBezTo>
                    <a:pt x="63" y="13"/>
                    <a:pt x="63" y="13"/>
                    <a:pt x="63" y="13"/>
                  </a:cubicBezTo>
                  <a:cubicBezTo>
                    <a:pt x="3" y="74"/>
                    <a:pt x="3" y="74"/>
                    <a:pt x="3" y="74"/>
                  </a:cubicBezTo>
                  <a:cubicBezTo>
                    <a:pt x="0" y="76"/>
                    <a:pt x="0" y="81"/>
                    <a:pt x="3" y="83"/>
                  </a:cubicBezTo>
                  <a:cubicBezTo>
                    <a:pt x="5" y="86"/>
                    <a:pt x="9" y="86"/>
                    <a:pt x="12" y="83"/>
                  </a:cubicBezTo>
                  <a:cubicBezTo>
                    <a:pt x="72" y="22"/>
                    <a:pt x="72" y="22"/>
                    <a:pt x="72" y="22"/>
                  </a:cubicBezTo>
                  <a:cubicBezTo>
                    <a:pt x="72" y="50"/>
                    <a:pt x="72" y="50"/>
                    <a:pt x="72" y="50"/>
                  </a:cubicBezTo>
                  <a:cubicBezTo>
                    <a:pt x="72" y="54"/>
                    <a:pt x="79" y="57"/>
                    <a:pt x="79" y="57"/>
                  </a:cubicBezTo>
                  <a:cubicBezTo>
                    <a:pt x="83" y="57"/>
                    <a:pt x="86" y="54"/>
                    <a:pt x="86" y="50"/>
                  </a:cubicBezTo>
                  <a:cubicBezTo>
                    <a:pt x="86" y="0"/>
                    <a:pt x="86" y="0"/>
                    <a:pt x="86" y="0"/>
                  </a:cubicBezTo>
                  <a:lnTo>
                    <a:pt x="3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sp>
        <p:nvSpPr>
          <p:cNvPr id="38" name="Arrow: Up 37">
            <a:extLst>
              <a:ext uri="{FF2B5EF4-FFF2-40B4-BE49-F238E27FC236}">
                <a16:creationId xmlns:a16="http://schemas.microsoft.com/office/drawing/2014/main" id="{FC88A2F9-1CCD-4522-9BFF-2C42C69B2DAA}"/>
              </a:ext>
            </a:extLst>
          </p:cNvPr>
          <p:cNvSpPr/>
          <p:nvPr/>
        </p:nvSpPr>
        <p:spPr bwMode="auto">
          <a:xfrm>
            <a:off x="8810189" y="4088384"/>
            <a:ext cx="327328" cy="748837"/>
          </a:xfrm>
          <a:prstGeom prst="upArrow">
            <a:avLst/>
          </a:prstGeom>
          <a:solidFill>
            <a:srgbClr val="50E6FF"/>
          </a:solid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defTabSz="951005"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12-Point Star 72">
            <a:extLst>
              <a:ext uri="{FF2B5EF4-FFF2-40B4-BE49-F238E27FC236}">
                <a16:creationId xmlns:a16="http://schemas.microsoft.com/office/drawing/2014/main" id="{8438C797-2065-43B6-A0B8-CD2408C251C4}"/>
              </a:ext>
            </a:extLst>
          </p:cNvPr>
          <p:cNvSpPr>
            <a:spLocks noChangeAspect="1"/>
          </p:cNvSpPr>
          <p:nvPr/>
        </p:nvSpPr>
        <p:spPr bwMode="auto">
          <a:xfrm>
            <a:off x="8664533" y="5369903"/>
            <a:ext cx="669178" cy="56418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none" lIns="190234" tIns="152188" rIns="190234" bIns="152188" numCol="1" spcCol="0" rtlCol="0" fromWordArt="0" anchor="ctr" anchorCtr="0" forceAA="0" compatLnSpc="1">
            <a:prstTxWarp prst="textNoShape">
              <a:avLst/>
            </a:prstTxWarp>
            <a:noAutofit/>
          </a:bodyPr>
          <a:lstStyle/>
          <a:p>
            <a:pPr marL="0" marR="0" lvl="0" indent="0" algn="ctr" defTabSz="969929"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rPr>
              <a:t>9</a:t>
            </a:r>
          </a:p>
          <a:p>
            <a:pPr marL="0" marR="0" lvl="0" indent="0" algn="ctr" defTabSz="969929"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rPr>
              <a:t>TB</a:t>
            </a:r>
          </a:p>
        </p:txBody>
      </p:sp>
      <p:sp>
        <p:nvSpPr>
          <p:cNvPr id="40" name="12-Point Star 72">
            <a:extLst>
              <a:ext uri="{FF2B5EF4-FFF2-40B4-BE49-F238E27FC236}">
                <a16:creationId xmlns:a16="http://schemas.microsoft.com/office/drawing/2014/main" id="{BAECEEC1-4E09-478C-B42A-6733A78031DC}"/>
              </a:ext>
            </a:extLst>
          </p:cNvPr>
          <p:cNvSpPr>
            <a:spLocks noChangeAspect="1"/>
          </p:cNvSpPr>
          <p:nvPr/>
        </p:nvSpPr>
        <p:spPr bwMode="auto">
          <a:xfrm>
            <a:off x="8464416" y="2795398"/>
            <a:ext cx="1108530" cy="56418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none" lIns="190234" tIns="152188" rIns="190234" bIns="152188" numCol="1" spcCol="0" rtlCol="0" fromWordArt="0" anchor="ctr" anchorCtr="0" forceAA="0" compatLnSpc="1">
            <a:prstTxWarp prst="textNoShape">
              <a:avLst/>
            </a:prstTxWarp>
            <a:noAutofit/>
          </a:bodyPr>
          <a:lstStyle/>
          <a:p>
            <a:pPr marL="0" marR="0" lvl="0" indent="0" algn="ctr" defTabSz="969929" eaLnBrk="1" fontAlgn="base" latinLnBrk="0" hangingPunct="1">
              <a:lnSpc>
                <a:spcPct val="90000"/>
              </a:lnSpc>
              <a:spcBef>
                <a:spcPct val="0"/>
              </a:spcBef>
              <a:spcAft>
                <a:spcPct val="0"/>
              </a:spcAft>
              <a:buClrTx/>
              <a:buSzTx/>
              <a:buFontTx/>
              <a:buNone/>
              <a:tabLst/>
              <a:defRPr/>
            </a:pPr>
            <a:r>
              <a:rPr kumimoji="0" lang="en-US" sz="2800" b="1"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100 </a:t>
            </a:r>
          </a:p>
          <a:p>
            <a:pPr marL="0" marR="0" lvl="0" indent="0" algn="ctr" defTabSz="969929" eaLnBrk="1" fontAlgn="base" latinLnBrk="0" hangingPunct="1">
              <a:lnSpc>
                <a:spcPct val="90000"/>
              </a:lnSpc>
              <a:spcBef>
                <a:spcPct val="0"/>
              </a:spcBef>
              <a:spcAft>
                <a:spcPct val="0"/>
              </a:spcAft>
              <a:buClrTx/>
              <a:buSzTx/>
              <a:buFontTx/>
              <a:buNone/>
              <a:tabLst/>
              <a:defRPr/>
            </a:pPr>
            <a:r>
              <a:rPr kumimoji="0" lang="en-US" sz="2800" b="1"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TB</a:t>
            </a:r>
          </a:p>
        </p:txBody>
      </p:sp>
    </p:spTree>
    <p:extLst>
      <p:ext uri="{BB962C8B-B14F-4D97-AF65-F5344CB8AC3E}">
        <p14:creationId xmlns:p14="http://schemas.microsoft.com/office/powerpoint/2010/main" val="13983476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Hyperscale components</a:t>
            </a:r>
          </a:p>
        </p:txBody>
      </p:sp>
      <p:sp>
        <p:nvSpPr>
          <p:cNvPr id="5" name="people_4" title="Icon of a person">
            <a:extLst>
              <a:ext uri="{FF2B5EF4-FFF2-40B4-BE49-F238E27FC236}">
                <a16:creationId xmlns:a16="http://schemas.microsoft.com/office/drawing/2014/main" id="{5C7E8F88-0C3F-495B-A2D7-0AE5A8ABFCC3}"/>
              </a:ext>
            </a:extLst>
          </p:cNvPr>
          <p:cNvSpPr>
            <a:spLocks noChangeAspect="1" noEditPoints="1"/>
          </p:cNvSpPr>
          <p:nvPr/>
        </p:nvSpPr>
        <p:spPr bwMode="auto">
          <a:xfrm>
            <a:off x="4109364" y="1121745"/>
            <a:ext cx="246944" cy="28887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39">
              <a:defRPr/>
            </a:pPr>
            <a:endParaRPr lang="en-US" kern="0">
              <a:solidFill>
                <a:srgbClr val="1A1A1A"/>
              </a:solidFill>
              <a:latin typeface="Segoe UI"/>
            </a:endParaRPr>
          </a:p>
        </p:txBody>
      </p:sp>
      <p:sp>
        <p:nvSpPr>
          <p:cNvPr id="6" name="TextBox 5">
            <a:extLst>
              <a:ext uri="{FF2B5EF4-FFF2-40B4-BE49-F238E27FC236}">
                <a16:creationId xmlns:a16="http://schemas.microsoft.com/office/drawing/2014/main" id="{721CC463-198C-4BBE-A594-C429D26A30A3}"/>
              </a:ext>
            </a:extLst>
          </p:cNvPr>
          <p:cNvSpPr txBox="1"/>
          <p:nvPr/>
        </p:nvSpPr>
        <p:spPr>
          <a:xfrm>
            <a:off x="3196315" y="1149806"/>
            <a:ext cx="978049" cy="168266"/>
          </a:xfrm>
          <a:prstGeom prst="rect">
            <a:avLst/>
          </a:prstGeom>
          <a:noFill/>
        </p:spPr>
        <p:txBody>
          <a:bodyPr wrap="square" lIns="0" tIns="0" rIns="0" bIns="0" rtlCol="0">
            <a:spAutoFit/>
          </a:bodyPr>
          <a:lstStyle/>
          <a:p>
            <a:pPr defTabSz="932539">
              <a:defRPr/>
            </a:pPr>
            <a:r>
              <a:rPr lang="en-US" sz="1072" kern="0">
                <a:gradFill>
                  <a:gsLst>
                    <a:gs pos="2917">
                      <a:srgbClr val="1A1A1A"/>
                    </a:gs>
                    <a:gs pos="30000">
                      <a:srgbClr val="1A1A1A"/>
                    </a:gs>
                  </a:gsLst>
                  <a:lin ang="5400000" scaled="0"/>
                </a:gradFill>
                <a:latin typeface="Segoe UI"/>
              </a:rPr>
              <a:t>Read &amp; Write</a:t>
            </a:r>
          </a:p>
        </p:txBody>
      </p:sp>
      <p:sp>
        <p:nvSpPr>
          <p:cNvPr id="7" name="TextBox 6">
            <a:extLst>
              <a:ext uri="{FF2B5EF4-FFF2-40B4-BE49-F238E27FC236}">
                <a16:creationId xmlns:a16="http://schemas.microsoft.com/office/drawing/2014/main" id="{B84A75F2-8186-4FD3-B9F1-5C5FB0E4CBB8}"/>
              </a:ext>
            </a:extLst>
          </p:cNvPr>
          <p:cNvSpPr txBox="1"/>
          <p:nvPr/>
        </p:nvSpPr>
        <p:spPr>
          <a:xfrm>
            <a:off x="4523127" y="1149806"/>
            <a:ext cx="865266" cy="168266"/>
          </a:xfrm>
          <a:prstGeom prst="rect">
            <a:avLst/>
          </a:prstGeom>
          <a:noFill/>
        </p:spPr>
        <p:txBody>
          <a:bodyPr wrap="square" lIns="0" tIns="0" rIns="0" bIns="0" rtlCol="0">
            <a:spAutoFit/>
          </a:bodyPr>
          <a:lstStyle/>
          <a:p>
            <a:pPr defTabSz="932539">
              <a:defRPr/>
            </a:pPr>
            <a:r>
              <a:rPr lang="en-US" sz="1072" kern="0">
                <a:gradFill>
                  <a:gsLst>
                    <a:gs pos="2917">
                      <a:srgbClr val="1A1A1A"/>
                    </a:gs>
                    <a:gs pos="30000">
                      <a:srgbClr val="1A1A1A"/>
                    </a:gs>
                  </a:gsLst>
                  <a:lin ang="5400000" scaled="0"/>
                </a:gradFill>
                <a:latin typeface="Segoe UI"/>
              </a:rPr>
              <a:t>Read Only</a:t>
            </a:r>
          </a:p>
        </p:txBody>
      </p:sp>
      <p:sp>
        <p:nvSpPr>
          <p:cNvPr id="8" name="Cylinder 513">
            <a:extLst>
              <a:ext uri="{FF2B5EF4-FFF2-40B4-BE49-F238E27FC236}">
                <a16:creationId xmlns:a16="http://schemas.microsoft.com/office/drawing/2014/main" id="{4FE52663-4C14-4E7A-BD07-40135962EB86}"/>
              </a:ext>
            </a:extLst>
          </p:cNvPr>
          <p:cNvSpPr/>
          <p:nvPr/>
        </p:nvSpPr>
        <p:spPr bwMode="auto">
          <a:xfrm>
            <a:off x="2773483" y="4970229"/>
            <a:ext cx="508905" cy="437463"/>
          </a:xfrm>
          <a:prstGeom prst="can">
            <a:avLst>
              <a:gd name="adj" fmla="val 39530"/>
            </a:avLst>
          </a:prstGeom>
          <a:no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05" fontAlgn="base">
              <a:lnSpc>
                <a:spcPct val="90000"/>
              </a:lnSpc>
              <a:spcBef>
                <a:spcPct val="0"/>
              </a:spcBef>
              <a:spcAft>
                <a:spcPct val="0"/>
              </a:spcAft>
              <a:defRPr/>
            </a:pPr>
            <a:endParaRPr lang="en-US" sz="714" kern="0">
              <a:solidFill>
                <a:srgbClr val="0078D7"/>
              </a:solidFill>
              <a:latin typeface="Segoe UI Semilight" panose="020B0402040204020203" pitchFamily="34" charset="0"/>
              <a:ea typeface="Segoe UI" pitchFamily="34" charset="0"/>
              <a:cs typeface="Segoe UI Semilight" panose="020B0402040204020203" pitchFamily="34" charset="0"/>
            </a:endParaRPr>
          </a:p>
        </p:txBody>
      </p:sp>
      <p:sp>
        <p:nvSpPr>
          <p:cNvPr id="9" name="Cylinder 513">
            <a:extLst>
              <a:ext uri="{FF2B5EF4-FFF2-40B4-BE49-F238E27FC236}">
                <a16:creationId xmlns:a16="http://schemas.microsoft.com/office/drawing/2014/main" id="{627F367E-5D97-4726-9EB8-99422F965D0D}"/>
              </a:ext>
            </a:extLst>
          </p:cNvPr>
          <p:cNvSpPr/>
          <p:nvPr/>
        </p:nvSpPr>
        <p:spPr bwMode="auto">
          <a:xfrm>
            <a:off x="2888517" y="5084173"/>
            <a:ext cx="508905" cy="437463"/>
          </a:xfrm>
          <a:prstGeom prst="can">
            <a:avLst>
              <a:gd name="adj" fmla="val 39530"/>
            </a:avLst>
          </a:prstGeom>
          <a:solidFill>
            <a:srgbClr val="FFFFFF"/>
          </a:solid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05" fontAlgn="base">
              <a:lnSpc>
                <a:spcPct val="90000"/>
              </a:lnSpc>
              <a:spcBef>
                <a:spcPct val="0"/>
              </a:spcBef>
              <a:spcAft>
                <a:spcPct val="0"/>
              </a:spcAft>
              <a:defRPr/>
            </a:pPr>
            <a:r>
              <a:rPr lang="en-US" sz="714" kern="0">
                <a:solidFill>
                  <a:srgbClr val="0078D7"/>
                </a:solidFill>
                <a:latin typeface="Segoe UI Semilight" panose="020B0402040204020203" pitchFamily="34" charset="0"/>
                <a:ea typeface="Segoe UI" pitchFamily="34" charset="0"/>
                <a:cs typeface="Segoe UI Semilight" panose="020B0402040204020203" pitchFamily="34" charset="0"/>
              </a:rPr>
              <a:t>Data Pages</a:t>
            </a:r>
          </a:p>
        </p:txBody>
      </p:sp>
      <p:sp>
        <p:nvSpPr>
          <p:cNvPr id="10" name="Cylinder 513">
            <a:extLst>
              <a:ext uri="{FF2B5EF4-FFF2-40B4-BE49-F238E27FC236}">
                <a16:creationId xmlns:a16="http://schemas.microsoft.com/office/drawing/2014/main" id="{46A9DA82-07AE-4A25-BE68-A8DDD90BC3B1}"/>
              </a:ext>
            </a:extLst>
          </p:cNvPr>
          <p:cNvSpPr/>
          <p:nvPr/>
        </p:nvSpPr>
        <p:spPr bwMode="auto">
          <a:xfrm>
            <a:off x="3709188" y="4971108"/>
            <a:ext cx="508905" cy="437462"/>
          </a:xfrm>
          <a:prstGeom prst="can">
            <a:avLst>
              <a:gd name="adj" fmla="val 39530"/>
            </a:avLst>
          </a:prstGeom>
          <a:no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05" fontAlgn="base">
              <a:lnSpc>
                <a:spcPct val="90000"/>
              </a:lnSpc>
              <a:spcBef>
                <a:spcPct val="0"/>
              </a:spcBef>
              <a:spcAft>
                <a:spcPct val="0"/>
              </a:spcAft>
              <a:defRPr/>
            </a:pPr>
            <a:endParaRPr lang="en-US" sz="714" kern="0">
              <a:solidFill>
                <a:srgbClr val="0078D7"/>
              </a:solidFill>
              <a:latin typeface="Segoe UI Semilight" panose="020B0402040204020203" pitchFamily="34" charset="0"/>
              <a:ea typeface="Segoe UI" pitchFamily="34" charset="0"/>
              <a:cs typeface="Segoe UI Semilight" panose="020B0402040204020203" pitchFamily="34" charset="0"/>
            </a:endParaRPr>
          </a:p>
        </p:txBody>
      </p:sp>
      <p:sp>
        <p:nvSpPr>
          <p:cNvPr id="11" name="Cylinder 513">
            <a:extLst>
              <a:ext uri="{FF2B5EF4-FFF2-40B4-BE49-F238E27FC236}">
                <a16:creationId xmlns:a16="http://schemas.microsoft.com/office/drawing/2014/main" id="{723EDF50-9204-4DF4-AF4A-CE974781AB57}"/>
              </a:ext>
            </a:extLst>
          </p:cNvPr>
          <p:cNvSpPr/>
          <p:nvPr/>
        </p:nvSpPr>
        <p:spPr bwMode="auto">
          <a:xfrm>
            <a:off x="3824222" y="5085054"/>
            <a:ext cx="508905" cy="437462"/>
          </a:xfrm>
          <a:prstGeom prst="can">
            <a:avLst>
              <a:gd name="adj" fmla="val 39530"/>
            </a:avLst>
          </a:prstGeom>
          <a:solidFill>
            <a:srgbClr val="FFFFFF"/>
          </a:solid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05" fontAlgn="base">
              <a:lnSpc>
                <a:spcPct val="90000"/>
              </a:lnSpc>
              <a:spcBef>
                <a:spcPct val="0"/>
              </a:spcBef>
              <a:spcAft>
                <a:spcPct val="0"/>
              </a:spcAft>
              <a:defRPr/>
            </a:pPr>
            <a:r>
              <a:rPr lang="en-US" sz="714" kern="0">
                <a:solidFill>
                  <a:srgbClr val="0078D7"/>
                </a:solidFill>
                <a:latin typeface="Segoe UI Semilight" panose="020B0402040204020203" pitchFamily="34" charset="0"/>
                <a:ea typeface="Segoe UI" pitchFamily="34" charset="0"/>
                <a:cs typeface="Segoe UI Semilight" panose="020B0402040204020203" pitchFamily="34" charset="0"/>
              </a:rPr>
              <a:t>Data Pages</a:t>
            </a:r>
          </a:p>
        </p:txBody>
      </p:sp>
      <p:sp>
        <p:nvSpPr>
          <p:cNvPr id="12" name="Cylinder 513">
            <a:extLst>
              <a:ext uri="{FF2B5EF4-FFF2-40B4-BE49-F238E27FC236}">
                <a16:creationId xmlns:a16="http://schemas.microsoft.com/office/drawing/2014/main" id="{28988D79-3448-4092-B109-38ABA3F2CD21}"/>
              </a:ext>
            </a:extLst>
          </p:cNvPr>
          <p:cNvSpPr/>
          <p:nvPr/>
        </p:nvSpPr>
        <p:spPr bwMode="auto">
          <a:xfrm>
            <a:off x="4910200" y="4971108"/>
            <a:ext cx="508905" cy="437462"/>
          </a:xfrm>
          <a:prstGeom prst="can">
            <a:avLst>
              <a:gd name="adj" fmla="val 39530"/>
            </a:avLst>
          </a:prstGeom>
          <a:no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05" fontAlgn="base">
              <a:lnSpc>
                <a:spcPct val="90000"/>
              </a:lnSpc>
              <a:spcBef>
                <a:spcPct val="0"/>
              </a:spcBef>
              <a:spcAft>
                <a:spcPct val="0"/>
              </a:spcAft>
              <a:defRPr/>
            </a:pPr>
            <a:endParaRPr lang="en-US" sz="714" kern="0">
              <a:solidFill>
                <a:srgbClr val="0078D7"/>
              </a:solidFill>
              <a:latin typeface="Segoe UI Semilight" panose="020B0402040204020203" pitchFamily="34" charset="0"/>
              <a:ea typeface="Segoe UI" pitchFamily="34" charset="0"/>
              <a:cs typeface="Segoe UI Semilight" panose="020B0402040204020203" pitchFamily="34" charset="0"/>
            </a:endParaRPr>
          </a:p>
        </p:txBody>
      </p:sp>
      <p:sp>
        <p:nvSpPr>
          <p:cNvPr id="13" name="Cylinder 513">
            <a:extLst>
              <a:ext uri="{FF2B5EF4-FFF2-40B4-BE49-F238E27FC236}">
                <a16:creationId xmlns:a16="http://schemas.microsoft.com/office/drawing/2014/main" id="{F265C43E-8E67-4E5B-927D-CDFB01B4FBBF}"/>
              </a:ext>
            </a:extLst>
          </p:cNvPr>
          <p:cNvSpPr/>
          <p:nvPr/>
        </p:nvSpPr>
        <p:spPr bwMode="auto">
          <a:xfrm>
            <a:off x="5025233" y="5085054"/>
            <a:ext cx="508905" cy="437462"/>
          </a:xfrm>
          <a:prstGeom prst="can">
            <a:avLst>
              <a:gd name="adj" fmla="val 39530"/>
            </a:avLst>
          </a:prstGeom>
          <a:solidFill>
            <a:srgbClr val="FFFFFF"/>
          </a:solid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05" fontAlgn="base">
              <a:lnSpc>
                <a:spcPct val="90000"/>
              </a:lnSpc>
              <a:spcBef>
                <a:spcPct val="0"/>
              </a:spcBef>
              <a:spcAft>
                <a:spcPct val="0"/>
              </a:spcAft>
              <a:defRPr/>
            </a:pPr>
            <a:r>
              <a:rPr lang="en-US" sz="714" kern="0">
                <a:solidFill>
                  <a:srgbClr val="0078D7"/>
                </a:solidFill>
                <a:latin typeface="Segoe UI Semilight" panose="020B0402040204020203" pitchFamily="34" charset="0"/>
                <a:ea typeface="Segoe UI" pitchFamily="34" charset="0"/>
                <a:cs typeface="Segoe UI Semilight" panose="020B0402040204020203" pitchFamily="34" charset="0"/>
              </a:rPr>
              <a:t>Data Pages</a:t>
            </a:r>
          </a:p>
        </p:txBody>
      </p:sp>
      <p:sp>
        <p:nvSpPr>
          <p:cNvPr id="14" name="TextBox 13">
            <a:extLst>
              <a:ext uri="{FF2B5EF4-FFF2-40B4-BE49-F238E27FC236}">
                <a16:creationId xmlns:a16="http://schemas.microsoft.com/office/drawing/2014/main" id="{38E70360-3435-4A07-AD6C-936C92DBB366}"/>
              </a:ext>
            </a:extLst>
          </p:cNvPr>
          <p:cNvSpPr txBox="1"/>
          <p:nvPr/>
        </p:nvSpPr>
        <p:spPr>
          <a:xfrm>
            <a:off x="4504578" y="5120372"/>
            <a:ext cx="265940" cy="256159"/>
          </a:xfrm>
          <a:prstGeom prst="rect">
            <a:avLst/>
          </a:prstGeom>
          <a:noFill/>
        </p:spPr>
        <p:txBody>
          <a:bodyPr wrap="square" lIns="0" tIns="0" rIns="0" bIns="0" rtlCol="0">
            <a:spAutoFit/>
          </a:bodyPr>
          <a:lstStyle/>
          <a:p>
            <a:pPr defTabSz="932539">
              <a:defRPr/>
            </a:pPr>
            <a:r>
              <a:rPr lang="en-US" sz="1632" kern="0">
                <a:gradFill>
                  <a:gsLst>
                    <a:gs pos="2917">
                      <a:srgbClr val="1A1A1A"/>
                    </a:gs>
                    <a:gs pos="30000">
                      <a:srgbClr val="1A1A1A"/>
                    </a:gs>
                  </a:gsLst>
                  <a:lin ang="5400000" scaled="0"/>
                </a:gradFill>
                <a:latin typeface="Segoe UI"/>
              </a:rPr>
              <a:t>…..</a:t>
            </a:r>
          </a:p>
        </p:txBody>
      </p:sp>
      <p:sp>
        <p:nvSpPr>
          <p:cNvPr id="15" name="Flowchart: Predefined Process 14">
            <a:extLst>
              <a:ext uri="{FF2B5EF4-FFF2-40B4-BE49-F238E27FC236}">
                <a16:creationId xmlns:a16="http://schemas.microsoft.com/office/drawing/2014/main" id="{65710656-D84B-4956-9016-EE85A13DDA01}"/>
              </a:ext>
            </a:extLst>
          </p:cNvPr>
          <p:cNvSpPr/>
          <p:nvPr/>
        </p:nvSpPr>
        <p:spPr bwMode="auto">
          <a:xfrm>
            <a:off x="2685288" y="5627367"/>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endParaRPr lang="en-US" sz="714" kern="0">
              <a:solidFill>
                <a:srgbClr val="1A1A1A"/>
              </a:solidFill>
              <a:latin typeface="Segoe UI"/>
            </a:endParaRPr>
          </a:p>
        </p:txBody>
      </p:sp>
      <p:sp>
        <p:nvSpPr>
          <p:cNvPr id="16" name="Flowchart: Predefined Process 15">
            <a:extLst>
              <a:ext uri="{FF2B5EF4-FFF2-40B4-BE49-F238E27FC236}">
                <a16:creationId xmlns:a16="http://schemas.microsoft.com/office/drawing/2014/main" id="{AB4B5C52-7EBD-4717-85B2-8268C06F2F36}"/>
              </a:ext>
            </a:extLst>
          </p:cNvPr>
          <p:cNvSpPr/>
          <p:nvPr/>
        </p:nvSpPr>
        <p:spPr bwMode="auto">
          <a:xfrm>
            <a:off x="2782123" y="5716809"/>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endParaRPr lang="en-US" sz="714" kern="0">
              <a:solidFill>
                <a:srgbClr val="1A1A1A"/>
              </a:solidFill>
              <a:latin typeface="Segoe UI"/>
            </a:endParaRPr>
          </a:p>
        </p:txBody>
      </p:sp>
      <p:sp>
        <p:nvSpPr>
          <p:cNvPr id="17" name="Flowchart: Predefined Process 16">
            <a:extLst>
              <a:ext uri="{FF2B5EF4-FFF2-40B4-BE49-F238E27FC236}">
                <a16:creationId xmlns:a16="http://schemas.microsoft.com/office/drawing/2014/main" id="{2F81B880-90D0-4DA4-8B02-92EC7143C668}"/>
              </a:ext>
            </a:extLst>
          </p:cNvPr>
          <p:cNvSpPr/>
          <p:nvPr/>
        </p:nvSpPr>
        <p:spPr bwMode="auto">
          <a:xfrm>
            <a:off x="2878960" y="5806249"/>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r>
              <a:rPr lang="en-US" sz="714" kern="0">
                <a:solidFill>
                  <a:srgbClr val="1A1A1A"/>
                </a:solidFill>
                <a:latin typeface="Segoe UI"/>
              </a:rPr>
              <a:t>File Snapshots</a:t>
            </a:r>
          </a:p>
        </p:txBody>
      </p:sp>
      <p:sp>
        <p:nvSpPr>
          <p:cNvPr id="18" name="Flowchart: Predefined Process 17">
            <a:extLst>
              <a:ext uri="{FF2B5EF4-FFF2-40B4-BE49-F238E27FC236}">
                <a16:creationId xmlns:a16="http://schemas.microsoft.com/office/drawing/2014/main" id="{0F41DD3E-B765-4334-8B83-80D73D62527A}"/>
              </a:ext>
            </a:extLst>
          </p:cNvPr>
          <p:cNvSpPr/>
          <p:nvPr/>
        </p:nvSpPr>
        <p:spPr bwMode="auto">
          <a:xfrm>
            <a:off x="3714631" y="5616116"/>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endParaRPr lang="en-US" sz="714" kern="0">
              <a:solidFill>
                <a:srgbClr val="1A1A1A"/>
              </a:solidFill>
              <a:latin typeface="Segoe UI"/>
            </a:endParaRPr>
          </a:p>
        </p:txBody>
      </p:sp>
      <p:sp>
        <p:nvSpPr>
          <p:cNvPr id="19" name="Flowchart: Predefined Process 18">
            <a:extLst>
              <a:ext uri="{FF2B5EF4-FFF2-40B4-BE49-F238E27FC236}">
                <a16:creationId xmlns:a16="http://schemas.microsoft.com/office/drawing/2014/main" id="{5135456C-4B9F-4E02-89E5-8ABF1E939262}"/>
              </a:ext>
            </a:extLst>
          </p:cNvPr>
          <p:cNvSpPr/>
          <p:nvPr/>
        </p:nvSpPr>
        <p:spPr bwMode="auto">
          <a:xfrm>
            <a:off x="3811466" y="5705556"/>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endParaRPr lang="en-US" sz="714" kern="0">
              <a:solidFill>
                <a:srgbClr val="1A1A1A"/>
              </a:solidFill>
              <a:latin typeface="Segoe UI"/>
            </a:endParaRPr>
          </a:p>
        </p:txBody>
      </p:sp>
      <p:sp>
        <p:nvSpPr>
          <p:cNvPr id="20" name="Flowchart: Predefined Process 19">
            <a:extLst>
              <a:ext uri="{FF2B5EF4-FFF2-40B4-BE49-F238E27FC236}">
                <a16:creationId xmlns:a16="http://schemas.microsoft.com/office/drawing/2014/main" id="{23256AD9-0422-47B7-87B6-92233EAABAFE}"/>
              </a:ext>
            </a:extLst>
          </p:cNvPr>
          <p:cNvSpPr/>
          <p:nvPr/>
        </p:nvSpPr>
        <p:spPr bwMode="auto">
          <a:xfrm>
            <a:off x="3908304" y="5794995"/>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r>
              <a:rPr lang="en-US" sz="714" kern="0">
                <a:solidFill>
                  <a:srgbClr val="1A1A1A"/>
                </a:solidFill>
                <a:latin typeface="Segoe UI"/>
              </a:rPr>
              <a:t>File Snapshots</a:t>
            </a:r>
          </a:p>
        </p:txBody>
      </p:sp>
      <p:sp>
        <p:nvSpPr>
          <p:cNvPr id="21" name="Flowchart: Predefined Process 20">
            <a:extLst>
              <a:ext uri="{FF2B5EF4-FFF2-40B4-BE49-F238E27FC236}">
                <a16:creationId xmlns:a16="http://schemas.microsoft.com/office/drawing/2014/main" id="{3D215608-93D4-44AE-9817-84F53984A3DA}"/>
              </a:ext>
            </a:extLst>
          </p:cNvPr>
          <p:cNvSpPr/>
          <p:nvPr/>
        </p:nvSpPr>
        <p:spPr bwMode="auto">
          <a:xfrm>
            <a:off x="4743975" y="5602057"/>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endParaRPr lang="en-US" sz="714" kern="0">
              <a:solidFill>
                <a:srgbClr val="1A1A1A"/>
              </a:solidFill>
              <a:latin typeface="Segoe UI"/>
            </a:endParaRPr>
          </a:p>
        </p:txBody>
      </p:sp>
      <p:sp>
        <p:nvSpPr>
          <p:cNvPr id="22" name="Flowchart: Predefined Process 21">
            <a:extLst>
              <a:ext uri="{FF2B5EF4-FFF2-40B4-BE49-F238E27FC236}">
                <a16:creationId xmlns:a16="http://schemas.microsoft.com/office/drawing/2014/main" id="{059184EC-D08A-42A2-AF36-79E0340C4201}"/>
              </a:ext>
            </a:extLst>
          </p:cNvPr>
          <p:cNvSpPr/>
          <p:nvPr/>
        </p:nvSpPr>
        <p:spPr bwMode="auto">
          <a:xfrm>
            <a:off x="4840810" y="5691498"/>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endParaRPr lang="en-US" sz="714" kern="0">
              <a:solidFill>
                <a:srgbClr val="1A1A1A"/>
              </a:solidFill>
              <a:latin typeface="Segoe UI"/>
            </a:endParaRPr>
          </a:p>
        </p:txBody>
      </p:sp>
      <p:sp>
        <p:nvSpPr>
          <p:cNvPr id="23" name="Flowchart: Predefined Process 22">
            <a:extLst>
              <a:ext uri="{FF2B5EF4-FFF2-40B4-BE49-F238E27FC236}">
                <a16:creationId xmlns:a16="http://schemas.microsoft.com/office/drawing/2014/main" id="{9EE4358B-605E-480C-8B13-621A70F3BACD}"/>
              </a:ext>
            </a:extLst>
          </p:cNvPr>
          <p:cNvSpPr/>
          <p:nvPr/>
        </p:nvSpPr>
        <p:spPr bwMode="auto">
          <a:xfrm>
            <a:off x="4937647" y="5780937"/>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r>
              <a:rPr lang="en-US" sz="714" kern="0">
                <a:solidFill>
                  <a:srgbClr val="1A1A1A"/>
                </a:solidFill>
                <a:latin typeface="Segoe UI"/>
              </a:rPr>
              <a:t>File Snapshots</a:t>
            </a:r>
          </a:p>
        </p:txBody>
      </p:sp>
      <p:sp>
        <p:nvSpPr>
          <p:cNvPr id="24" name="TextBox 23">
            <a:extLst>
              <a:ext uri="{FF2B5EF4-FFF2-40B4-BE49-F238E27FC236}">
                <a16:creationId xmlns:a16="http://schemas.microsoft.com/office/drawing/2014/main" id="{7E90B0C9-403E-43F4-8F3A-795773250F8F}"/>
              </a:ext>
            </a:extLst>
          </p:cNvPr>
          <p:cNvSpPr txBox="1"/>
          <p:nvPr/>
        </p:nvSpPr>
        <p:spPr>
          <a:xfrm>
            <a:off x="3823957" y="5948849"/>
            <a:ext cx="1316544" cy="176114"/>
          </a:xfrm>
          <a:prstGeom prst="rect">
            <a:avLst/>
          </a:prstGeom>
          <a:noFill/>
        </p:spPr>
        <p:txBody>
          <a:bodyPr wrap="square" lIns="0" tIns="0" rIns="0" bIns="0" rtlCol="0">
            <a:spAutoFit/>
          </a:bodyPr>
          <a:lstStyle/>
          <a:p>
            <a:pPr defTabSz="932539">
              <a:defRPr/>
            </a:pPr>
            <a:r>
              <a:rPr lang="en-US" sz="1122" kern="0">
                <a:gradFill>
                  <a:gsLst>
                    <a:gs pos="2917">
                      <a:srgbClr val="1A1A1A"/>
                    </a:gs>
                    <a:gs pos="30000">
                      <a:srgbClr val="1A1A1A"/>
                    </a:gs>
                  </a:gsLst>
                  <a:lin ang="5400000" scaled="0"/>
                </a:gradFill>
                <a:latin typeface="Segoe UI"/>
              </a:rPr>
              <a:t>Azure Storage</a:t>
            </a:r>
          </a:p>
        </p:txBody>
      </p:sp>
      <p:sp>
        <p:nvSpPr>
          <p:cNvPr id="25" name="Rectangle 24">
            <a:extLst>
              <a:ext uri="{FF2B5EF4-FFF2-40B4-BE49-F238E27FC236}">
                <a16:creationId xmlns:a16="http://schemas.microsoft.com/office/drawing/2014/main" id="{77436987-59A7-4993-AC58-3BF070284454}"/>
              </a:ext>
            </a:extLst>
          </p:cNvPr>
          <p:cNvSpPr/>
          <p:nvPr/>
        </p:nvSpPr>
        <p:spPr bwMode="auto">
          <a:xfrm>
            <a:off x="7001418" y="2578612"/>
            <a:ext cx="3275191" cy="1520701"/>
          </a:xfrm>
          <a:prstGeom prst="rect">
            <a:avLst/>
          </a:prstGeom>
          <a:noFill/>
          <a:ln w="19050" cap="flat" cmpd="sng" algn="ctr">
            <a:solidFill>
              <a:srgbClr val="00B050"/>
            </a:solidFill>
            <a:prstDash val="sysDot"/>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endParaRPr lang="en-US" sz="1632" kern="0">
              <a:gradFill>
                <a:gsLst>
                  <a:gs pos="40075">
                    <a:srgbClr val="FFFFFF"/>
                  </a:gs>
                  <a:gs pos="30000">
                    <a:srgbClr val="FFFFFF"/>
                  </a:gs>
                </a:gsLst>
                <a:lin ang="5400000" scaled="0"/>
              </a:gradFill>
              <a:latin typeface="Segoe UI"/>
            </a:endParaRPr>
          </a:p>
        </p:txBody>
      </p:sp>
      <p:sp>
        <p:nvSpPr>
          <p:cNvPr id="26" name="Rectangle 25">
            <a:extLst>
              <a:ext uri="{FF2B5EF4-FFF2-40B4-BE49-F238E27FC236}">
                <a16:creationId xmlns:a16="http://schemas.microsoft.com/office/drawing/2014/main" id="{0B1B027D-F48D-4A71-9111-BF5C0382E5D1}"/>
              </a:ext>
            </a:extLst>
          </p:cNvPr>
          <p:cNvSpPr/>
          <p:nvPr/>
        </p:nvSpPr>
        <p:spPr bwMode="auto">
          <a:xfrm>
            <a:off x="9287104" y="2644383"/>
            <a:ext cx="887167" cy="1054902"/>
          </a:xfrm>
          <a:prstGeom prst="rect">
            <a:avLst/>
          </a:prstGeom>
          <a:solidFill>
            <a:srgbClr val="E6E6E6"/>
          </a:solidFill>
          <a:ln w="22225"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endParaRPr lang="en-US" sz="1632" kern="0">
              <a:gradFill>
                <a:gsLst>
                  <a:gs pos="40075">
                    <a:srgbClr val="FFFFFF"/>
                  </a:gs>
                  <a:gs pos="30000">
                    <a:srgbClr val="FFFFFF"/>
                  </a:gs>
                </a:gsLst>
                <a:lin ang="5400000" scaled="0"/>
              </a:gradFill>
              <a:latin typeface="Segoe UI"/>
            </a:endParaRPr>
          </a:p>
        </p:txBody>
      </p:sp>
      <p:sp>
        <p:nvSpPr>
          <p:cNvPr id="27" name="Rectangle 26">
            <a:extLst>
              <a:ext uri="{FF2B5EF4-FFF2-40B4-BE49-F238E27FC236}">
                <a16:creationId xmlns:a16="http://schemas.microsoft.com/office/drawing/2014/main" id="{9845EA75-EF1E-4F47-9676-1EB006D7C685}"/>
              </a:ext>
            </a:extLst>
          </p:cNvPr>
          <p:cNvSpPr/>
          <p:nvPr/>
        </p:nvSpPr>
        <p:spPr bwMode="auto">
          <a:xfrm>
            <a:off x="9426787" y="3318822"/>
            <a:ext cx="634736" cy="297804"/>
          </a:xfrm>
          <a:prstGeom prst="rect">
            <a:avLst/>
          </a:prstGeom>
          <a:solidFill>
            <a:srgbClr val="FFC000"/>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r>
              <a:rPr lang="en-US" sz="1020" kern="0">
                <a:solidFill>
                  <a:srgbClr val="1A1A1A"/>
                </a:solidFill>
                <a:latin typeface="Segoe UI"/>
              </a:rPr>
              <a:t>Log Cache</a:t>
            </a:r>
          </a:p>
        </p:txBody>
      </p:sp>
      <p:sp>
        <p:nvSpPr>
          <p:cNvPr id="28" name="Rectangle 27">
            <a:extLst>
              <a:ext uri="{FF2B5EF4-FFF2-40B4-BE49-F238E27FC236}">
                <a16:creationId xmlns:a16="http://schemas.microsoft.com/office/drawing/2014/main" id="{C12963C0-78B5-426C-B874-04A975F057F5}"/>
              </a:ext>
            </a:extLst>
          </p:cNvPr>
          <p:cNvSpPr/>
          <p:nvPr/>
        </p:nvSpPr>
        <p:spPr bwMode="auto">
          <a:xfrm>
            <a:off x="9426787" y="2645605"/>
            <a:ext cx="634736" cy="297804"/>
          </a:xfrm>
          <a:prstGeom prst="rect">
            <a:avLst/>
          </a:prstGeom>
          <a:no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r>
              <a:rPr lang="en-US" sz="1020" kern="0">
                <a:solidFill>
                  <a:srgbClr val="1A1A1A"/>
                </a:solidFill>
                <a:latin typeface="Segoe UI"/>
              </a:rPr>
              <a:t>Log Service</a:t>
            </a:r>
          </a:p>
        </p:txBody>
      </p:sp>
      <p:cxnSp>
        <p:nvCxnSpPr>
          <p:cNvPr id="29" name="Connector: Elbow 28">
            <a:extLst>
              <a:ext uri="{FF2B5EF4-FFF2-40B4-BE49-F238E27FC236}">
                <a16:creationId xmlns:a16="http://schemas.microsoft.com/office/drawing/2014/main" id="{9B08B1BD-6E02-4DB9-8112-AFC0DA204567}"/>
              </a:ext>
            </a:extLst>
          </p:cNvPr>
          <p:cNvCxnSpPr>
            <a:cxnSpLocks/>
            <a:stCxn id="73" idx="0"/>
            <a:endCxn id="72" idx="3"/>
          </p:cNvCxnSpPr>
          <p:nvPr/>
        </p:nvCxnSpPr>
        <p:spPr>
          <a:xfrm rot="16200000" flipV="1">
            <a:off x="7091029" y="1015638"/>
            <a:ext cx="271356" cy="2829247"/>
          </a:xfrm>
          <a:prstGeom prst="bentConnector2">
            <a:avLst/>
          </a:prstGeom>
          <a:noFill/>
          <a:ln w="28575" cap="flat" cmpd="sng" algn="ctr">
            <a:solidFill>
              <a:srgbClr val="0279D8"/>
            </a:solidFill>
            <a:prstDash val="solid"/>
            <a:headEnd type="none" w="lg" len="med"/>
            <a:tailEnd type="triangle"/>
          </a:ln>
          <a:effectLst/>
        </p:spPr>
      </p:cxnSp>
      <p:sp>
        <p:nvSpPr>
          <p:cNvPr id="30" name="Scroll: Horizontal 29">
            <a:extLst>
              <a:ext uri="{FF2B5EF4-FFF2-40B4-BE49-F238E27FC236}">
                <a16:creationId xmlns:a16="http://schemas.microsoft.com/office/drawing/2014/main" id="{62A0DFEF-CAF5-4B69-91A7-0C9F36F10C72}"/>
              </a:ext>
            </a:extLst>
          </p:cNvPr>
          <p:cNvSpPr/>
          <p:nvPr/>
        </p:nvSpPr>
        <p:spPr bwMode="auto">
          <a:xfrm>
            <a:off x="7188543" y="2799886"/>
            <a:ext cx="1403014" cy="408725"/>
          </a:xfrm>
          <a:prstGeom prst="horizontalScroll">
            <a:avLst/>
          </a:prstGeom>
          <a:solidFill>
            <a:srgbClr val="E6E6E6"/>
          </a:solidFill>
          <a:ln w="22225"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r>
              <a:rPr lang="en-US" sz="816" kern="0">
                <a:solidFill>
                  <a:srgbClr val="1A1A1A"/>
                </a:solidFill>
                <a:latin typeface="Segoe UI"/>
              </a:rPr>
              <a:t>Landing Zone</a:t>
            </a:r>
          </a:p>
          <a:p>
            <a:pPr algn="ctr" defTabSz="951005" fontAlgn="base">
              <a:spcBef>
                <a:spcPct val="0"/>
              </a:spcBef>
              <a:spcAft>
                <a:spcPct val="0"/>
              </a:spcAft>
              <a:defRPr/>
            </a:pPr>
            <a:r>
              <a:rPr lang="en-US" sz="816" kern="0">
                <a:solidFill>
                  <a:srgbClr val="1A1A1A"/>
                </a:solidFill>
                <a:latin typeface="Segoe UI"/>
              </a:rPr>
              <a:t>(Azure Premium Storage)</a:t>
            </a:r>
          </a:p>
        </p:txBody>
      </p:sp>
      <p:sp>
        <p:nvSpPr>
          <p:cNvPr id="31" name="Scroll: Horizontal 30">
            <a:extLst>
              <a:ext uri="{FF2B5EF4-FFF2-40B4-BE49-F238E27FC236}">
                <a16:creationId xmlns:a16="http://schemas.microsoft.com/office/drawing/2014/main" id="{9F8FF885-2B21-4F38-A46B-68717D9E9133}"/>
              </a:ext>
            </a:extLst>
          </p:cNvPr>
          <p:cNvSpPr/>
          <p:nvPr/>
        </p:nvSpPr>
        <p:spPr bwMode="auto">
          <a:xfrm>
            <a:off x="7188542" y="3501442"/>
            <a:ext cx="1403013" cy="408725"/>
          </a:xfrm>
          <a:prstGeom prst="horizontalScroll">
            <a:avLst/>
          </a:prstGeom>
          <a:solidFill>
            <a:srgbClr val="E6E6E6"/>
          </a:solidFill>
          <a:ln w="22225"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r>
              <a:rPr lang="en-US" sz="816" kern="0">
                <a:solidFill>
                  <a:srgbClr val="1A1A1A"/>
                </a:solidFill>
                <a:latin typeface="Segoe UI"/>
              </a:rPr>
              <a:t>Long Term Storage for PITR</a:t>
            </a:r>
          </a:p>
          <a:p>
            <a:pPr algn="ctr" defTabSz="951005" fontAlgn="base">
              <a:spcBef>
                <a:spcPct val="0"/>
              </a:spcBef>
              <a:spcAft>
                <a:spcPct val="0"/>
              </a:spcAft>
              <a:defRPr/>
            </a:pPr>
            <a:r>
              <a:rPr lang="en-US" sz="816" kern="0">
                <a:solidFill>
                  <a:srgbClr val="1A1A1A"/>
                </a:solidFill>
                <a:latin typeface="Segoe UI"/>
              </a:rPr>
              <a:t>(Azure Standard Storage)</a:t>
            </a:r>
          </a:p>
        </p:txBody>
      </p:sp>
      <p:cxnSp>
        <p:nvCxnSpPr>
          <p:cNvPr id="32" name="Straight Arrow Connector 31">
            <a:extLst>
              <a:ext uri="{FF2B5EF4-FFF2-40B4-BE49-F238E27FC236}">
                <a16:creationId xmlns:a16="http://schemas.microsoft.com/office/drawing/2014/main" id="{29241FB1-0BD4-45C3-9A56-28C56934D62A}"/>
              </a:ext>
            </a:extLst>
          </p:cNvPr>
          <p:cNvCxnSpPr>
            <a:cxnSpLocks/>
          </p:cNvCxnSpPr>
          <p:nvPr/>
        </p:nvCxnSpPr>
        <p:spPr>
          <a:xfrm flipH="1">
            <a:off x="8612343" y="3699283"/>
            <a:ext cx="674762" cy="0"/>
          </a:xfrm>
          <a:prstGeom prst="straightConnector1">
            <a:avLst/>
          </a:prstGeom>
          <a:noFill/>
          <a:ln w="28575" cap="flat" cmpd="sng" algn="ctr">
            <a:solidFill>
              <a:srgbClr val="000000">
                <a:lumMod val="50000"/>
                <a:lumOff val="50000"/>
              </a:srgbClr>
            </a:solidFill>
            <a:prstDash val="solid"/>
            <a:headEnd type="none" w="lg" len="med"/>
            <a:tailEnd type="triangle"/>
          </a:ln>
          <a:effectLst/>
        </p:spPr>
      </p:cxnSp>
      <p:cxnSp>
        <p:nvCxnSpPr>
          <p:cNvPr id="33" name="Straight Arrow Connector 32">
            <a:extLst>
              <a:ext uri="{FF2B5EF4-FFF2-40B4-BE49-F238E27FC236}">
                <a16:creationId xmlns:a16="http://schemas.microsoft.com/office/drawing/2014/main" id="{53430CC1-FFDD-49FB-87F1-26ABC3FA002C}"/>
              </a:ext>
            </a:extLst>
          </p:cNvPr>
          <p:cNvCxnSpPr>
            <a:cxnSpLocks/>
          </p:cNvCxnSpPr>
          <p:nvPr/>
        </p:nvCxnSpPr>
        <p:spPr>
          <a:xfrm>
            <a:off x="8591557" y="3001566"/>
            <a:ext cx="695547" cy="0"/>
          </a:xfrm>
          <a:prstGeom prst="straightConnector1">
            <a:avLst/>
          </a:prstGeom>
          <a:noFill/>
          <a:ln w="28575" cap="flat" cmpd="sng" algn="ctr">
            <a:solidFill>
              <a:srgbClr val="000000">
                <a:lumMod val="50000"/>
                <a:lumOff val="50000"/>
              </a:srgbClr>
            </a:solidFill>
            <a:prstDash val="solid"/>
            <a:headEnd type="none" w="lg" len="med"/>
            <a:tailEnd type="triangle"/>
          </a:ln>
          <a:effectLst/>
        </p:spPr>
      </p:cxnSp>
      <p:sp>
        <p:nvSpPr>
          <p:cNvPr id="34" name="TextBox 33">
            <a:extLst>
              <a:ext uri="{FF2B5EF4-FFF2-40B4-BE49-F238E27FC236}">
                <a16:creationId xmlns:a16="http://schemas.microsoft.com/office/drawing/2014/main" id="{4A3BB3B3-CE1F-40CD-853C-9D9E2600A4CF}"/>
              </a:ext>
            </a:extLst>
          </p:cNvPr>
          <p:cNvSpPr txBox="1"/>
          <p:nvPr/>
        </p:nvSpPr>
        <p:spPr>
          <a:xfrm>
            <a:off x="8730016" y="3321108"/>
            <a:ext cx="653977" cy="288137"/>
          </a:xfrm>
          <a:prstGeom prst="rect">
            <a:avLst/>
          </a:prstGeom>
          <a:noFill/>
        </p:spPr>
        <p:txBody>
          <a:bodyPr wrap="square" lIns="0" tIns="0" rIns="0" bIns="0" rtlCol="0">
            <a:spAutoFit/>
          </a:bodyPr>
          <a:lstStyle/>
          <a:p>
            <a:pPr defTabSz="932539">
              <a:defRPr/>
            </a:pPr>
            <a:r>
              <a:rPr lang="en-US" sz="918" kern="0">
                <a:gradFill>
                  <a:gsLst>
                    <a:gs pos="2917">
                      <a:srgbClr val="1A1A1A"/>
                    </a:gs>
                    <a:gs pos="30000">
                      <a:srgbClr val="1A1A1A"/>
                    </a:gs>
                  </a:gsLst>
                  <a:lin ang="5400000" scaled="0"/>
                </a:gradFill>
                <a:latin typeface="Segoe UI"/>
              </a:rPr>
              <a:t>Log Destaging</a:t>
            </a:r>
          </a:p>
        </p:txBody>
      </p:sp>
      <p:sp>
        <p:nvSpPr>
          <p:cNvPr id="35" name="TextBox 34">
            <a:extLst>
              <a:ext uri="{FF2B5EF4-FFF2-40B4-BE49-F238E27FC236}">
                <a16:creationId xmlns:a16="http://schemas.microsoft.com/office/drawing/2014/main" id="{E041EB62-7084-4E93-B344-EB0F263D9907}"/>
              </a:ext>
            </a:extLst>
          </p:cNvPr>
          <p:cNvSpPr txBox="1"/>
          <p:nvPr/>
        </p:nvSpPr>
        <p:spPr>
          <a:xfrm>
            <a:off x="8849549" y="3832622"/>
            <a:ext cx="437556" cy="176114"/>
          </a:xfrm>
          <a:prstGeom prst="rect">
            <a:avLst/>
          </a:prstGeom>
          <a:noFill/>
        </p:spPr>
        <p:txBody>
          <a:bodyPr wrap="square" lIns="0" tIns="0" rIns="0" bIns="0" rtlCol="0">
            <a:spAutoFit/>
          </a:bodyPr>
          <a:lstStyle/>
          <a:p>
            <a:pPr defTabSz="932539">
              <a:defRPr/>
            </a:pPr>
            <a:r>
              <a:rPr lang="en-US" sz="1122" kern="0">
                <a:gradFill>
                  <a:gsLst>
                    <a:gs pos="2917">
                      <a:srgbClr val="1A1A1A"/>
                    </a:gs>
                    <a:gs pos="30000">
                      <a:srgbClr val="1A1A1A"/>
                    </a:gs>
                  </a:gsLst>
                  <a:lin ang="5400000" scaled="0"/>
                </a:gradFill>
                <a:latin typeface="Segoe UI"/>
              </a:rPr>
              <a:t>Log</a:t>
            </a:r>
          </a:p>
        </p:txBody>
      </p:sp>
      <p:cxnSp>
        <p:nvCxnSpPr>
          <p:cNvPr id="36" name="Connector: Elbow 35">
            <a:extLst>
              <a:ext uri="{FF2B5EF4-FFF2-40B4-BE49-F238E27FC236}">
                <a16:creationId xmlns:a16="http://schemas.microsoft.com/office/drawing/2014/main" id="{5188E421-087D-45EB-983A-87D5BA1952F1}"/>
              </a:ext>
            </a:extLst>
          </p:cNvPr>
          <p:cNvCxnSpPr>
            <a:cxnSpLocks/>
            <a:stCxn id="26" idx="2"/>
          </p:cNvCxnSpPr>
          <p:nvPr/>
        </p:nvCxnSpPr>
        <p:spPr>
          <a:xfrm rot="5400000">
            <a:off x="7596958" y="1897722"/>
            <a:ext cx="332169" cy="3935292"/>
          </a:xfrm>
          <a:prstGeom prst="bentConnector2">
            <a:avLst/>
          </a:prstGeom>
          <a:noFill/>
          <a:ln w="28575" cap="flat" cmpd="sng" algn="ctr">
            <a:solidFill>
              <a:srgbClr val="0279D8"/>
            </a:solidFill>
            <a:prstDash val="solid"/>
            <a:headEnd type="none" w="lg" len="med"/>
            <a:tailEnd type="triangle"/>
          </a:ln>
          <a:effectLst/>
        </p:spPr>
      </p:cxnSp>
      <p:sp>
        <p:nvSpPr>
          <p:cNvPr id="37" name="Rectangle 36">
            <a:extLst>
              <a:ext uri="{FF2B5EF4-FFF2-40B4-BE49-F238E27FC236}">
                <a16:creationId xmlns:a16="http://schemas.microsoft.com/office/drawing/2014/main" id="{E84307DB-671B-4DE9-BB82-C1C6D95E3270}"/>
              </a:ext>
            </a:extLst>
          </p:cNvPr>
          <p:cNvSpPr/>
          <p:nvPr/>
        </p:nvSpPr>
        <p:spPr>
          <a:xfrm>
            <a:off x="4347075" y="3054629"/>
            <a:ext cx="268454" cy="478376"/>
          </a:xfrm>
          <a:prstGeom prst="rect">
            <a:avLst/>
          </a:prstGeom>
        </p:spPr>
        <p:txBody>
          <a:bodyPr wrap="none">
            <a:spAutoFit/>
          </a:bodyPr>
          <a:lstStyle/>
          <a:p>
            <a:pPr defTabSz="1243431">
              <a:defRPr/>
            </a:pPr>
            <a:r>
              <a:rPr lang="en-US" sz="2448" kern="0">
                <a:solidFill>
                  <a:srgbClr val="000000"/>
                </a:solidFill>
                <a:latin typeface="Times New Roman" panose="02020603050405020304" pitchFamily="18" charset="0"/>
              </a:rPr>
              <a:t> </a:t>
            </a:r>
            <a:endParaRPr lang="en-US" sz="2448" kern="0">
              <a:solidFill>
                <a:srgbClr val="000000"/>
              </a:solidFill>
              <a:latin typeface="Segoe UI"/>
            </a:endParaRPr>
          </a:p>
        </p:txBody>
      </p:sp>
      <p:grpSp>
        <p:nvGrpSpPr>
          <p:cNvPr id="38" name="Group 37">
            <a:extLst>
              <a:ext uri="{FF2B5EF4-FFF2-40B4-BE49-F238E27FC236}">
                <a16:creationId xmlns:a16="http://schemas.microsoft.com/office/drawing/2014/main" id="{B368C9CE-9D64-4789-8ED9-1206AEA6B4E6}"/>
              </a:ext>
            </a:extLst>
          </p:cNvPr>
          <p:cNvGrpSpPr/>
          <p:nvPr/>
        </p:nvGrpSpPr>
        <p:grpSpPr>
          <a:xfrm>
            <a:off x="2744905" y="3555740"/>
            <a:ext cx="679055" cy="793749"/>
            <a:chOff x="9570256" y="1253716"/>
            <a:chExt cx="665801" cy="778256"/>
          </a:xfrm>
        </p:grpSpPr>
        <p:grpSp>
          <p:nvGrpSpPr>
            <p:cNvPr id="39" name="Group 38">
              <a:extLst>
                <a:ext uri="{FF2B5EF4-FFF2-40B4-BE49-F238E27FC236}">
                  <a16:creationId xmlns:a16="http://schemas.microsoft.com/office/drawing/2014/main" id="{22A9F43A-EB52-486E-9115-DDCE1CA45208}"/>
                </a:ext>
              </a:extLst>
            </p:cNvPr>
            <p:cNvGrpSpPr/>
            <p:nvPr/>
          </p:nvGrpSpPr>
          <p:grpSpPr>
            <a:xfrm flipH="1">
              <a:off x="9679775" y="1253716"/>
              <a:ext cx="556282" cy="680963"/>
              <a:chOff x="3003960" y="3685414"/>
              <a:chExt cx="403310" cy="493707"/>
            </a:xfrm>
          </p:grpSpPr>
          <p:sp>
            <p:nvSpPr>
              <p:cNvPr id="45" name="Snip Single Corner Rectangle 26">
                <a:extLst>
                  <a:ext uri="{FF2B5EF4-FFF2-40B4-BE49-F238E27FC236}">
                    <a16:creationId xmlns:a16="http://schemas.microsoft.com/office/drawing/2014/main" id="{D7C4984A-F8B1-4F6D-B92C-44E33E62AF2B}"/>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defRPr/>
                </a:pPr>
                <a:endParaRPr lang="en-US" sz="1072" kern="0">
                  <a:solidFill>
                    <a:srgbClr val="0078D7"/>
                  </a:solidFill>
                  <a:latin typeface="Segoe UI"/>
                  <a:cs typeface="Segoe UI Semilight" panose="020B0402040204020203" pitchFamily="34" charset="0"/>
                </a:endParaRPr>
              </a:p>
            </p:txBody>
          </p:sp>
          <p:sp>
            <p:nvSpPr>
              <p:cNvPr id="46" name="Triangle 27">
                <a:extLst>
                  <a:ext uri="{FF2B5EF4-FFF2-40B4-BE49-F238E27FC236}">
                    <a16:creationId xmlns:a16="http://schemas.microsoft.com/office/drawing/2014/main" id="{3ECC6E52-B8C2-4014-8DD4-C527CAC2FFCA}"/>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defRPr/>
                </a:pPr>
                <a:endParaRPr lang="en-US" sz="3264"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B98EE018-46C2-481C-887B-538FFB89EA3C}"/>
                </a:ext>
              </a:extLst>
            </p:cNvPr>
            <p:cNvGrpSpPr/>
            <p:nvPr/>
          </p:nvGrpSpPr>
          <p:grpSpPr>
            <a:xfrm flipH="1">
              <a:off x="9570256" y="1351009"/>
              <a:ext cx="556282" cy="680963"/>
              <a:chOff x="3003960" y="3685414"/>
              <a:chExt cx="403310" cy="493707"/>
            </a:xfrm>
          </p:grpSpPr>
          <p:sp>
            <p:nvSpPr>
              <p:cNvPr id="43" name="Snip Single Corner Rectangle 26">
                <a:extLst>
                  <a:ext uri="{FF2B5EF4-FFF2-40B4-BE49-F238E27FC236}">
                    <a16:creationId xmlns:a16="http://schemas.microsoft.com/office/drawing/2014/main" id="{DF4B7604-4CC0-44C7-8B29-0A6F9ACCA60B}"/>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defRPr/>
                </a:pPr>
                <a:endParaRPr lang="en-US" sz="1072" kern="0">
                  <a:solidFill>
                    <a:srgbClr val="0078D7"/>
                  </a:solidFill>
                  <a:latin typeface="Segoe UI"/>
                  <a:cs typeface="Segoe UI Semilight" panose="020B0402040204020203" pitchFamily="34" charset="0"/>
                </a:endParaRPr>
              </a:p>
            </p:txBody>
          </p:sp>
          <p:sp>
            <p:nvSpPr>
              <p:cNvPr id="44" name="Triangle 27">
                <a:extLst>
                  <a:ext uri="{FF2B5EF4-FFF2-40B4-BE49-F238E27FC236}">
                    <a16:creationId xmlns:a16="http://schemas.microsoft.com/office/drawing/2014/main" id="{1790793F-7E7F-42AD-8345-500462E0C471}"/>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defRPr/>
                </a:pPr>
                <a:endParaRPr lang="en-US" sz="3264"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1" name="Rectangle 40">
              <a:extLst>
                <a:ext uri="{FF2B5EF4-FFF2-40B4-BE49-F238E27FC236}">
                  <a16:creationId xmlns:a16="http://schemas.microsoft.com/office/drawing/2014/main" id="{16B072AB-0BA2-46CF-810D-BBDC6B0946E3}"/>
                </a:ext>
              </a:extLst>
            </p:cNvPr>
            <p:cNvSpPr/>
            <p:nvPr/>
          </p:nvSpPr>
          <p:spPr bwMode="auto">
            <a:xfrm>
              <a:off x="9602751" y="1362654"/>
              <a:ext cx="213464" cy="619709"/>
            </a:xfrm>
            <a:prstGeom prst="rect">
              <a:avLst/>
            </a:prstGeom>
            <a:solidFill>
              <a:srgbClr val="E6E6E6"/>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endParaRPr lang="en-US" sz="1632" kern="0">
                <a:gradFill>
                  <a:gsLst>
                    <a:gs pos="40075">
                      <a:srgbClr val="FFFFFF"/>
                    </a:gs>
                    <a:gs pos="30000">
                      <a:srgbClr val="FFFFFF"/>
                    </a:gs>
                  </a:gsLst>
                  <a:lin ang="5400000" scaled="0"/>
                </a:gradFill>
                <a:latin typeface="Segoe UI"/>
              </a:endParaRPr>
            </a:p>
          </p:txBody>
        </p:sp>
        <p:sp>
          <p:nvSpPr>
            <p:cNvPr id="42" name="Rectangle 41">
              <a:extLst>
                <a:ext uri="{FF2B5EF4-FFF2-40B4-BE49-F238E27FC236}">
                  <a16:creationId xmlns:a16="http://schemas.microsoft.com/office/drawing/2014/main" id="{E7F71026-FCA3-41A8-9F41-7BDB64C8DE47}"/>
                </a:ext>
              </a:extLst>
            </p:cNvPr>
            <p:cNvSpPr/>
            <p:nvPr/>
          </p:nvSpPr>
          <p:spPr bwMode="auto">
            <a:xfrm rot="5400000">
              <a:off x="9755555" y="1630847"/>
              <a:ext cx="213464" cy="519074"/>
            </a:xfrm>
            <a:prstGeom prst="rect">
              <a:avLst/>
            </a:prstGeom>
            <a:solidFill>
              <a:srgbClr val="E6E6E6"/>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endParaRPr lang="en-US" sz="1632" kern="0">
                <a:gradFill>
                  <a:gsLst>
                    <a:gs pos="40075">
                      <a:srgbClr val="FFFFFF"/>
                    </a:gs>
                    <a:gs pos="30000">
                      <a:srgbClr val="FFFFFF"/>
                    </a:gs>
                  </a:gsLst>
                  <a:lin ang="5400000" scaled="0"/>
                </a:gradFill>
                <a:latin typeface="Segoe UI"/>
              </a:endParaRPr>
            </a:p>
          </p:txBody>
        </p:sp>
      </p:grpSp>
      <p:sp>
        <p:nvSpPr>
          <p:cNvPr id="47" name="TextBox 46">
            <a:extLst>
              <a:ext uri="{FF2B5EF4-FFF2-40B4-BE49-F238E27FC236}">
                <a16:creationId xmlns:a16="http://schemas.microsoft.com/office/drawing/2014/main" id="{A05E5924-F8EF-4B2C-A81D-7A361C9BB2EF}"/>
              </a:ext>
            </a:extLst>
          </p:cNvPr>
          <p:cNvSpPr txBox="1"/>
          <p:nvPr/>
        </p:nvSpPr>
        <p:spPr>
          <a:xfrm>
            <a:off x="2767763" y="3888570"/>
            <a:ext cx="521639" cy="288203"/>
          </a:xfrm>
          <a:prstGeom prst="rect">
            <a:avLst/>
          </a:prstGeom>
          <a:solidFill>
            <a:srgbClr val="FFC000"/>
          </a:solidFill>
        </p:spPr>
        <p:txBody>
          <a:bodyPr wrap="square" lIns="0" tIns="0" rIns="0" bIns="0" rtlCol="0">
            <a:spAutoFit/>
          </a:bodyPr>
          <a:lstStyle/>
          <a:p>
            <a:pPr defTabSz="932539">
              <a:defRPr/>
            </a:pPr>
            <a:r>
              <a:rPr lang="en-US" sz="612" kern="0">
                <a:gradFill>
                  <a:gsLst>
                    <a:gs pos="2917">
                      <a:srgbClr val="1A1A1A"/>
                    </a:gs>
                    <a:gs pos="30000">
                      <a:srgbClr val="1A1A1A"/>
                    </a:gs>
                  </a:gsLst>
                  <a:lin ang="5400000" scaled="0"/>
                </a:gradFill>
                <a:latin typeface="Segoe UI"/>
              </a:rPr>
              <a:t>Covering RBPEX Data Cache</a:t>
            </a:r>
          </a:p>
        </p:txBody>
      </p:sp>
      <p:grpSp>
        <p:nvGrpSpPr>
          <p:cNvPr id="48" name="Group 47">
            <a:extLst>
              <a:ext uri="{FF2B5EF4-FFF2-40B4-BE49-F238E27FC236}">
                <a16:creationId xmlns:a16="http://schemas.microsoft.com/office/drawing/2014/main" id="{6E222174-A13F-406B-8AA7-99C2082896D4}"/>
              </a:ext>
            </a:extLst>
          </p:cNvPr>
          <p:cNvGrpSpPr/>
          <p:nvPr/>
        </p:nvGrpSpPr>
        <p:grpSpPr>
          <a:xfrm>
            <a:off x="3671946" y="3582694"/>
            <a:ext cx="679055" cy="793749"/>
            <a:chOff x="9570256" y="1253716"/>
            <a:chExt cx="665801" cy="778256"/>
          </a:xfrm>
        </p:grpSpPr>
        <p:grpSp>
          <p:nvGrpSpPr>
            <p:cNvPr id="49" name="Group 48">
              <a:extLst>
                <a:ext uri="{FF2B5EF4-FFF2-40B4-BE49-F238E27FC236}">
                  <a16:creationId xmlns:a16="http://schemas.microsoft.com/office/drawing/2014/main" id="{0E6BBB07-4367-4378-B615-7B7E7CA7B2FE}"/>
                </a:ext>
              </a:extLst>
            </p:cNvPr>
            <p:cNvGrpSpPr/>
            <p:nvPr/>
          </p:nvGrpSpPr>
          <p:grpSpPr>
            <a:xfrm flipH="1">
              <a:off x="9679775" y="1253716"/>
              <a:ext cx="556282" cy="680963"/>
              <a:chOff x="3003960" y="3685414"/>
              <a:chExt cx="403310" cy="493707"/>
            </a:xfrm>
          </p:grpSpPr>
          <p:sp>
            <p:nvSpPr>
              <p:cNvPr id="55" name="Snip Single Corner Rectangle 26">
                <a:extLst>
                  <a:ext uri="{FF2B5EF4-FFF2-40B4-BE49-F238E27FC236}">
                    <a16:creationId xmlns:a16="http://schemas.microsoft.com/office/drawing/2014/main" id="{AC36074C-4EC7-4391-8BC2-79A5537FA14C}"/>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defRPr/>
                </a:pPr>
                <a:endParaRPr lang="en-US" sz="1072" kern="0">
                  <a:solidFill>
                    <a:srgbClr val="0078D7"/>
                  </a:solidFill>
                  <a:latin typeface="Segoe UI"/>
                  <a:cs typeface="Segoe UI Semilight" panose="020B0402040204020203" pitchFamily="34" charset="0"/>
                </a:endParaRPr>
              </a:p>
            </p:txBody>
          </p:sp>
          <p:sp>
            <p:nvSpPr>
              <p:cNvPr id="56" name="Triangle 27">
                <a:extLst>
                  <a:ext uri="{FF2B5EF4-FFF2-40B4-BE49-F238E27FC236}">
                    <a16:creationId xmlns:a16="http://schemas.microsoft.com/office/drawing/2014/main" id="{AAB302BE-A2DA-42D4-A069-53B751A8A71F}"/>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defRPr/>
                </a:pPr>
                <a:endParaRPr lang="en-US" sz="3264"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0" name="Group 49">
              <a:extLst>
                <a:ext uri="{FF2B5EF4-FFF2-40B4-BE49-F238E27FC236}">
                  <a16:creationId xmlns:a16="http://schemas.microsoft.com/office/drawing/2014/main" id="{3FD75DA6-5774-4B9A-9245-C1BB2BFE41FB}"/>
                </a:ext>
              </a:extLst>
            </p:cNvPr>
            <p:cNvGrpSpPr/>
            <p:nvPr/>
          </p:nvGrpSpPr>
          <p:grpSpPr>
            <a:xfrm flipH="1">
              <a:off x="9570256" y="1351009"/>
              <a:ext cx="556282" cy="680963"/>
              <a:chOff x="3003960" y="3685414"/>
              <a:chExt cx="403310" cy="493707"/>
            </a:xfrm>
          </p:grpSpPr>
          <p:sp>
            <p:nvSpPr>
              <p:cNvPr id="53" name="Snip Single Corner Rectangle 26">
                <a:extLst>
                  <a:ext uri="{FF2B5EF4-FFF2-40B4-BE49-F238E27FC236}">
                    <a16:creationId xmlns:a16="http://schemas.microsoft.com/office/drawing/2014/main" id="{D40C9153-6C02-4783-86AF-2179B4039AAB}"/>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defRPr/>
                </a:pPr>
                <a:endParaRPr lang="en-US" sz="1072" kern="0">
                  <a:solidFill>
                    <a:srgbClr val="0078D7"/>
                  </a:solidFill>
                  <a:latin typeface="Segoe UI"/>
                  <a:cs typeface="Segoe UI Semilight" panose="020B0402040204020203" pitchFamily="34" charset="0"/>
                </a:endParaRPr>
              </a:p>
            </p:txBody>
          </p:sp>
          <p:sp>
            <p:nvSpPr>
              <p:cNvPr id="54" name="Triangle 27">
                <a:extLst>
                  <a:ext uri="{FF2B5EF4-FFF2-40B4-BE49-F238E27FC236}">
                    <a16:creationId xmlns:a16="http://schemas.microsoft.com/office/drawing/2014/main" id="{378A86E3-DBA0-45FD-9D8D-94687B61BB74}"/>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defRPr/>
                </a:pPr>
                <a:endParaRPr lang="en-US" sz="3264"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1" name="Rectangle 50">
              <a:extLst>
                <a:ext uri="{FF2B5EF4-FFF2-40B4-BE49-F238E27FC236}">
                  <a16:creationId xmlns:a16="http://schemas.microsoft.com/office/drawing/2014/main" id="{FCFFA401-46BA-4615-964D-1321CD25382F}"/>
                </a:ext>
              </a:extLst>
            </p:cNvPr>
            <p:cNvSpPr/>
            <p:nvPr/>
          </p:nvSpPr>
          <p:spPr bwMode="auto">
            <a:xfrm>
              <a:off x="9602751" y="1362654"/>
              <a:ext cx="213464" cy="619709"/>
            </a:xfrm>
            <a:prstGeom prst="rect">
              <a:avLst/>
            </a:prstGeom>
            <a:solidFill>
              <a:srgbClr val="E6E6E6"/>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endParaRPr lang="en-US" sz="1632" kern="0">
                <a:gradFill>
                  <a:gsLst>
                    <a:gs pos="40075">
                      <a:srgbClr val="FFFFFF"/>
                    </a:gs>
                    <a:gs pos="30000">
                      <a:srgbClr val="FFFFFF"/>
                    </a:gs>
                  </a:gsLst>
                  <a:lin ang="5400000" scaled="0"/>
                </a:gradFill>
                <a:latin typeface="Segoe UI"/>
              </a:endParaRPr>
            </a:p>
          </p:txBody>
        </p:sp>
        <p:sp>
          <p:nvSpPr>
            <p:cNvPr id="52" name="Rectangle 51">
              <a:extLst>
                <a:ext uri="{FF2B5EF4-FFF2-40B4-BE49-F238E27FC236}">
                  <a16:creationId xmlns:a16="http://schemas.microsoft.com/office/drawing/2014/main" id="{D1071FC6-8662-470D-BCFF-07167224A8FA}"/>
                </a:ext>
              </a:extLst>
            </p:cNvPr>
            <p:cNvSpPr/>
            <p:nvPr/>
          </p:nvSpPr>
          <p:spPr bwMode="auto">
            <a:xfrm rot="5400000">
              <a:off x="9737266" y="1649136"/>
              <a:ext cx="213464" cy="482495"/>
            </a:xfrm>
            <a:prstGeom prst="rect">
              <a:avLst/>
            </a:prstGeom>
            <a:solidFill>
              <a:srgbClr val="E6E6E6"/>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endParaRPr lang="en-US" sz="1632" kern="0">
                <a:gradFill>
                  <a:gsLst>
                    <a:gs pos="40075">
                      <a:srgbClr val="FFFFFF"/>
                    </a:gs>
                    <a:gs pos="30000">
                      <a:srgbClr val="FFFFFF"/>
                    </a:gs>
                  </a:gsLst>
                  <a:lin ang="5400000" scaled="0"/>
                </a:gradFill>
                <a:latin typeface="Segoe UI"/>
              </a:endParaRPr>
            </a:p>
          </p:txBody>
        </p:sp>
      </p:grpSp>
      <p:sp>
        <p:nvSpPr>
          <p:cNvPr id="57" name="TextBox 56">
            <a:extLst>
              <a:ext uri="{FF2B5EF4-FFF2-40B4-BE49-F238E27FC236}">
                <a16:creationId xmlns:a16="http://schemas.microsoft.com/office/drawing/2014/main" id="{5E757F12-C3E6-4C80-9095-9D3EBCDE9C74}"/>
              </a:ext>
            </a:extLst>
          </p:cNvPr>
          <p:cNvSpPr txBox="1"/>
          <p:nvPr/>
        </p:nvSpPr>
        <p:spPr>
          <a:xfrm>
            <a:off x="3694804" y="3915524"/>
            <a:ext cx="521639" cy="288203"/>
          </a:xfrm>
          <a:prstGeom prst="rect">
            <a:avLst/>
          </a:prstGeom>
          <a:solidFill>
            <a:srgbClr val="FFC000"/>
          </a:solidFill>
        </p:spPr>
        <p:txBody>
          <a:bodyPr wrap="square" lIns="0" tIns="0" rIns="0" bIns="0" rtlCol="0">
            <a:spAutoFit/>
          </a:bodyPr>
          <a:lstStyle/>
          <a:p>
            <a:pPr defTabSz="932539">
              <a:defRPr/>
            </a:pPr>
            <a:r>
              <a:rPr lang="en-US" sz="612" kern="0">
                <a:gradFill>
                  <a:gsLst>
                    <a:gs pos="2917">
                      <a:srgbClr val="1A1A1A"/>
                    </a:gs>
                    <a:gs pos="30000">
                      <a:srgbClr val="1A1A1A"/>
                    </a:gs>
                  </a:gsLst>
                  <a:lin ang="5400000" scaled="0"/>
                </a:gradFill>
                <a:latin typeface="Segoe UI"/>
              </a:rPr>
              <a:t>Covering RBPEX Data Cache</a:t>
            </a:r>
          </a:p>
        </p:txBody>
      </p:sp>
      <p:grpSp>
        <p:nvGrpSpPr>
          <p:cNvPr id="58" name="Group 57">
            <a:extLst>
              <a:ext uri="{FF2B5EF4-FFF2-40B4-BE49-F238E27FC236}">
                <a16:creationId xmlns:a16="http://schemas.microsoft.com/office/drawing/2014/main" id="{D20FC170-BB39-462C-9ECF-9E094BFA2DBB}"/>
              </a:ext>
            </a:extLst>
          </p:cNvPr>
          <p:cNvGrpSpPr/>
          <p:nvPr/>
        </p:nvGrpSpPr>
        <p:grpSpPr>
          <a:xfrm>
            <a:off x="4873162" y="3555740"/>
            <a:ext cx="679055" cy="793749"/>
            <a:chOff x="9570256" y="1253716"/>
            <a:chExt cx="665801" cy="778256"/>
          </a:xfrm>
        </p:grpSpPr>
        <p:grpSp>
          <p:nvGrpSpPr>
            <p:cNvPr id="59" name="Group 58">
              <a:extLst>
                <a:ext uri="{FF2B5EF4-FFF2-40B4-BE49-F238E27FC236}">
                  <a16:creationId xmlns:a16="http://schemas.microsoft.com/office/drawing/2014/main" id="{6C03D694-FE50-43BF-B6A9-C69C71D5E14E}"/>
                </a:ext>
              </a:extLst>
            </p:cNvPr>
            <p:cNvGrpSpPr/>
            <p:nvPr/>
          </p:nvGrpSpPr>
          <p:grpSpPr>
            <a:xfrm flipH="1">
              <a:off x="9679775" y="1253716"/>
              <a:ext cx="556282" cy="680963"/>
              <a:chOff x="3003960" y="3685414"/>
              <a:chExt cx="403310" cy="493707"/>
            </a:xfrm>
          </p:grpSpPr>
          <p:sp>
            <p:nvSpPr>
              <p:cNvPr id="65" name="Snip Single Corner Rectangle 26">
                <a:extLst>
                  <a:ext uri="{FF2B5EF4-FFF2-40B4-BE49-F238E27FC236}">
                    <a16:creationId xmlns:a16="http://schemas.microsoft.com/office/drawing/2014/main" id="{91B2828F-2645-43D2-A25E-EB115A9EEF32}"/>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defRPr/>
                </a:pPr>
                <a:endParaRPr lang="en-US" sz="1072" kern="0">
                  <a:solidFill>
                    <a:srgbClr val="0078D7"/>
                  </a:solidFill>
                  <a:latin typeface="Segoe UI"/>
                  <a:cs typeface="Segoe UI Semilight" panose="020B0402040204020203" pitchFamily="34" charset="0"/>
                </a:endParaRPr>
              </a:p>
            </p:txBody>
          </p:sp>
          <p:sp>
            <p:nvSpPr>
              <p:cNvPr id="66" name="Triangle 27">
                <a:extLst>
                  <a:ext uri="{FF2B5EF4-FFF2-40B4-BE49-F238E27FC236}">
                    <a16:creationId xmlns:a16="http://schemas.microsoft.com/office/drawing/2014/main" id="{28DCFC66-22A6-44F2-A35D-3763E0A2DB48}"/>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defRPr/>
                </a:pPr>
                <a:endParaRPr lang="en-US" sz="3264"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0" name="Group 59">
              <a:extLst>
                <a:ext uri="{FF2B5EF4-FFF2-40B4-BE49-F238E27FC236}">
                  <a16:creationId xmlns:a16="http://schemas.microsoft.com/office/drawing/2014/main" id="{E605FFCD-7E29-4C27-BE55-79B05F7FAB57}"/>
                </a:ext>
              </a:extLst>
            </p:cNvPr>
            <p:cNvGrpSpPr/>
            <p:nvPr/>
          </p:nvGrpSpPr>
          <p:grpSpPr>
            <a:xfrm flipH="1">
              <a:off x="9570256" y="1351009"/>
              <a:ext cx="556282" cy="680963"/>
              <a:chOff x="3003960" y="3685414"/>
              <a:chExt cx="403310" cy="493707"/>
            </a:xfrm>
          </p:grpSpPr>
          <p:sp>
            <p:nvSpPr>
              <p:cNvPr id="63" name="Snip Single Corner Rectangle 26">
                <a:extLst>
                  <a:ext uri="{FF2B5EF4-FFF2-40B4-BE49-F238E27FC236}">
                    <a16:creationId xmlns:a16="http://schemas.microsoft.com/office/drawing/2014/main" id="{3400F48D-C223-4325-B3B1-543508DD5E8B}"/>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defRPr/>
                </a:pPr>
                <a:endParaRPr lang="en-US" sz="1072" kern="0">
                  <a:solidFill>
                    <a:srgbClr val="0078D7"/>
                  </a:solidFill>
                  <a:latin typeface="Segoe UI"/>
                  <a:cs typeface="Segoe UI Semilight" panose="020B0402040204020203" pitchFamily="34" charset="0"/>
                </a:endParaRPr>
              </a:p>
            </p:txBody>
          </p:sp>
          <p:sp>
            <p:nvSpPr>
              <p:cNvPr id="64" name="Triangle 27">
                <a:extLst>
                  <a:ext uri="{FF2B5EF4-FFF2-40B4-BE49-F238E27FC236}">
                    <a16:creationId xmlns:a16="http://schemas.microsoft.com/office/drawing/2014/main" id="{DA09EDFF-8432-40D0-A3F6-8996EB18CCC5}"/>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defRPr/>
                </a:pPr>
                <a:endParaRPr lang="en-US" sz="3264"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1" name="Rectangle 60">
              <a:extLst>
                <a:ext uri="{FF2B5EF4-FFF2-40B4-BE49-F238E27FC236}">
                  <a16:creationId xmlns:a16="http://schemas.microsoft.com/office/drawing/2014/main" id="{4D3FC13E-0E82-41F9-B796-7C3D447B1FCC}"/>
                </a:ext>
              </a:extLst>
            </p:cNvPr>
            <p:cNvSpPr/>
            <p:nvPr/>
          </p:nvSpPr>
          <p:spPr bwMode="auto">
            <a:xfrm>
              <a:off x="9602751" y="1362654"/>
              <a:ext cx="213464" cy="619709"/>
            </a:xfrm>
            <a:prstGeom prst="rect">
              <a:avLst/>
            </a:prstGeom>
            <a:solidFill>
              <a:srgbClr val="E6E6E6"/>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endParaRPr lang="en-US" sz="1632" kern="0">
                <a:gradFill>
                  <a:gsLst>
                    <a:gs pos="40075">
                      <a:srgbClr val="FFFFFF"/>
                    </a:gs>
                    <a:gs pos="30000">
                      <a:srgbClr val="FFFFFF"/>
                    </a:gs>
                  </a:gsLst>
                  <a:lin ang="5400000" scaled="0"/>
                </a:gradFill>
                <a:latin typeface="Segoe UI"/>
              </a:endParaRPr>
            </a:p>
          </p:txBody>
        </p:sp>
        <p:sp>
          <p:nvSpPr>
            <p:cNvPr id="62" name="Rectangle 61">
              <a:extLst>
                <a:ext uri="{FF2B5EF4-FFF2-40B4-BE49-F238E27FC236}">
                  <a16:creationId xmlns:a16="http://schemas.microsoft.com/office/drawing/2014/main" id="{0288CB01-C2A8-4E20-9C84-FB5D0D14B273}"/>
                </a:ext>
              </a:extLst>
            </p:cNvPr>
            <p:cNvSpPr/>
            <p:nvPr/>
          </p:nvSpPr>
          <p:spPr bwMode="auto">
            <a:xfrm rot="5400000">
              <a:off x="9755555" y="1630847"/>
              <a:ext cx="213464" cy="519074"/>
            </a:xfrm>
            <a:prstGeom prst="rect">
              <a:avLst/>
            </a:prstGeom>
            <a:solidFill>
              <a:srgbClr val="E6E6E6"/>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endParaRPr lang="en-US" sz="1632" kern="0">
                <a:gradFill>
                  <a:gsLst>
                    <a:gs pos="40075">
                      <a:srgbClr val="FFFFFF"/>
                    </a:gs>
                    <a:gs pos="30000">
                      <a:srgbClr val="FFFFFF"/>
                    </a:gs>
                  </a:gsLst>
                  <a:lin ang="5400000" scaled="0"/>
                </a:gradFill>
                <a:latin typeface="Segoe UI"/>
              </a:endParaRPr>
            </a:p>
          </p:txBody>
        </p:sp>
      </p:grpSp>
      <p:sp>
        <p:nvSpPr>
          <p:cNvPr id="67" name="TextBox 66">
            <a:extLst>
              <a:ext uri="{FF2B5EF4-FFF2-40B4-BE49-F238E27FC236}">
                <a16:creationId xmlns:a16="http://schemas.microsoft.com/office/drawing/2014/main" id="{CF26A772-FFAD-4BD7-844A-B869D22538F0}"/>
              </a:ext>
            </a:extLst>
          </p:cNvPr>
          <p:cNvSpPr txBox="1"/>
          <p:nvPr/>
        </p:nvSpPr>
        <p:spPr>
          <a:xfrm>
            <a:off x="4896020" y="3888570"/>
            <a:ext cx="521639" cy="288203"/>
          </a:xfrm>
          <a:prstGeom prst="rect">
            <a:avLst/>
          </a:prstGeom>
          <a:solidFill>
            <a:srgbClr val="FFC000"/>
          </a:solidFill>
        </p:spPr>
        <p:txBody>
          <a:bodyPr wrap="square" lIns="0" tIns="0" rIns="0" bIns="0" rtlCol="0">
            <a:spAutoFit/>
          </a:bodyPr>
          <a:lstStyle/>
          <a:p>
            <a:pPr defTabSz="932539">
              <a:defRPr/>
            </a:pPr>
            <a:r>
              <a:rPr lang="en-US" sz="612" kern="0">
                <a:gradFill>
                  <a:gsLst>
                    <a:gs pos="2917">
                      <a:srgbClr val="1A1A1A"/>
                    </a:gs>
                    <a:gs pos="30000">
                      <a:srgbClr val="1A1A1A"/>
                    </a:gs>
                  </a:gsLst>
                  <a:lin ang="5400000" scaled="0"/>
                </a:gradFill>
                <a:latin typeface="Segoe UI"/>
              </a:rPr>
              <a:t>Covering RBPEX Data Cache</a:t>
            </a:r>
          </a:p>
        </p:txBody>
      </p:sp>
      <p:sp>
        <p:nvSpPr>
          <p:cNvPr id="68" name="TextBox 67">
            <a:extLst>
              <a:ext uri="{FF2B5EF4-FFF2-40B4-BE49-F238E27FC236}">
                <a16:creationId xmlns:a16="http://schemas.microsoft.com/office/drawing/2014/main" id="{37DCD2CC-5D89-45F2-9108-726F0FADD435}"/>
              </a:ext>
            </a:extLst>
          </p:cNvPr>
          <p:cNvSpPr txBox="1"/>
          <p:nvPr/>
        </p:nvSpPr>
        <p:spPr>
          <a:xfrm>
            <a:off x="4470674" y="3867798"/>
            <a:ext cx="265940" cy="256159"/>
          </a:xfrm>
          <a:prstGeom prst="rect">
            <a:avLst/>
          </a:prstGeom>
          <a:noFill/>
        </p:spPr>
        <p:txBody>
          <a:bodyPr wrap="square" lIns="0" tIns="0" rIns="0" bIns="0" rtlCol="0">
            <a:spAutoFit/>
          </a:bodyPr>
          <a:lstStyle/>
          <a:p>
            <a:pPr defTabSz="932539">
              <a:defRPr/>
            </a:pPr>
            <a:r>
              <a:rPr lang="en-US" sz="1632" kern="0">
                <a:gradFill>
                  <a:gsLst>
                    <a:gs pos="2917">
                      <a:srgbClr val="1A1A1A"/>
                    </a:gs>
                    <a:gs pos="30000">
                      <a:srgbClr val="1A1A1A"/>
                    </a:gs>
                  </a:gsLst>
                  <a:lin ang="5400000" scaled="0"/>
                </a:gradFill>
                <a:latin typeface="Segoe UI"/>
              </a:rPr>
              <a:t>…..</a:t>
            </a:r>
          </a:p>
        </p:txBody>
      </p:sp>
      <p:sp>
        <p:nvSpPr>
          <p:cNvPr id="69" name="Rectangle 68">
            <a:extLst>
              <a:ext uri="{FF2B5EF4-FFF2-40B4-BE49-F238E27FC236}">
                <a16:creationId xmlns:a16="http://schemas.microsoft.com/office/drawing/2014/main" id="{056E70A1-2695-4F83-A987-C7B972345B32}"/>
              </a:ext>
            </a:extLst>
          </p:cNvPr>
          <p:cNvSpPr/>
          <p:nvPr/>
        </p:nvSpPr>
        <p:spPr bwMode="auto">
          <a:xfrm>
            <a:off x="2611070" y="4846357"/>
            <a:ext cx="3201906" cy="1285486"/>
          </a:xfrm>
          <a:prstGeom prst="rect">
            <a:avLst/>
          </a:prstGeom>
          <a:noFill/>
          <a:ln w="19050" cap="flat" cmpd="sng" algn="ctr">
            <a:solidFill>
              <a:srgbClr val="0279D8"/>
            </a:solidFill>
            <a:prstDash val="lgDashDot"/>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endParaRPr lang="en-US" sz="1632" kern="0">
              <a:gradFill>
                <a:gsLst>
                  <a:gs pos="40075">
                    <a:srgbClr val="FFFFFF"/>
                  </a:gs>
                  <a:gs pos="30000">
                    <a:srgbClr val="FFFFFF"/>
                  </a:gs>
                </a:gsLst>
                <a:lin ang="5400000" scaled="0"/>
              </a:gradFill>
              <a:latin typeface="Segoe UI"/>
            </a:endParaRPr>
          </a:p>
        </p:txBody>
      </p:sp>
      <p:sp>
        <p:nvSpPr>
          <p:cNvPr id="70" name="Rectangle 69">
            <a:extLst>
              <a:ext uri="{FF2B5EF4-FFF2-40B4-BE49-F238E27FC236}">
                <a16:creationId xmlns:a16="http://schemas.microsoft.com/office/drawing/2014/main" id="{91E846CC-E6ED-4E0C-9872-C71610541356}"/>
              </a:ext>
            </a:extLst>
          </p:cNvPr>
          <p:cNvSpPr/>
          <p:nvPr/>
        </p:nvSpPr>
        <p:spPr bwMode="auto">
          <a:xfrm>
            <a:off x="2611070" y="3304775"/>
            <a:ext cx="3201906" cy="1285486"/>
          </a:xfrm>
          <a:prstGeom prst="rect">
            <a:avLst/>
          </a:prstGeom>
          <a:noFill/>
          <a:ln w="19050" cap="flat" cmpd="sng" algn="ctr">
            <a:solidFill>
              <a:srgbClr val="0279D8"/>
            </a:solidFill>
            <a:prstDash val="sysDash"/>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05" fontAlgn="base">
              <a:spcBef>
                <a:spcPct val="0"/>
              </a:spcBef>
              <a:spcAft>
                <a:spcPct val="0"/>
              </a:spcAft>
              <a:defRPr/>
            </a:pPr>
            <a:endParaRPr lang="en-US" sz="1632" kern="0">
              <a:gradFill>
                <a:gsLst>
                  <a:gs pos="40075">
                    <a:srgbClr val="FFFFFF"/>
                  </a:gs>
                  <a:gs pos="30000">
                    <a:srgbClr val="FFFFFF"/>
                  </a:gs>
                </a:gsLst>
                <a:lin ang="5400000" scaled="0"/>
              </a:gradFill>
              <a:latin typeface="Segoe UI"/>
            </a:endParaRPr>
          </a:p>
        </p:txBody>
      </p:sp>
      <p:sp>
        <p:nvSpPr>
          <p:cNvPr id="71" name="TextBox 70">
            <a:extLst>
              <a:ext uri="{FF2B5EF4-FFF2-40B4-BE49-F238E27FC236}">
                <a16:creationId xmlns:a16="http://schemas.microsoft.com/office/drawing/2014/main" id="{45C7C50E-9BA0-46D8-B75A-A1F0F554DCCB}"/>
              </a:ext>
            </a:extLst>
          </p:cNvPr>
          <p:cNvSpPr txBox="1"/>
          <p:nvPr/>
        </p:nvSpPr>
        <p:spPr>
          <a:xfrm>
            <a:off x="3656141" y="3339387"/>
            <a:ext cx="1316544" cy="176114"/>
          </a:xfrm>
          <a:prstGeom prst="rect">
            <a:avLst/>
          </a:prstGeom>
          <a:noFill/>
        </p:spPr>
        <p:txBody>
          <a:bodyPr wrap="square" lIns="0" tIns="0" rIns="0" bIns="0" rtlCol="0">
            <a:spAutoFit/>
          </a:bodyPr>
          <a:lstStyle/>
          <a:p>
            <a:pPr defTabSz="932539">
              <a:defRPr/>
            </a:pPr>
            <a:r>
              <a:rPr lang="en-US" sz="1122" kern="0">
                <a:gradFill>
                  <a:gsLst>
                    <a:gs pos="2917">
                      <a:srgbClr val="1A1A1A"/>
                    </a:gs>
                    <a:gs pos="30000">
                      <a:srgbClr val="1A1A1A"/>
                    </a:gs>
                  </a:gsLst>
                  <a:lin ang="5400000" scaled="0"/>
                </a:gradFill>
                <a:latin typeface="Segoe UI"/>
              </a:rPr>
              <a:t>Page Servers</a:t>
            </a:r>
          </a:p>
        </p:txBody>
      </p:sp>
      <p:sp>
        <p:nvSpPr>
          <p:cNvPr id="72" name="Rectangle 71">
            <a:extLst>
              <a:ext uri="{FF2B5EF4-FFF2-40B4-BE49-F238E27FC236}">
                <a16:creationId xmlns:a16="http://schemas.microsoft.com/office/drawing/2014/main" id="{CEC63C2C-8040-498D-B9DF-1CD346262708}"/>
              </a:ext>
            </a:extLst>
          </p:cNvPr>
          <p:cNvSpPr/>
          <p:nvPr/>
        </p:nvSpPr>
        <p:spPr bwMode="auto">
          <a:xfrm>
            <a:off x="2570673" y="1576286"/>
            <a:ext cx="3241410" cy="143659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ctr" anchorCtr="0" forceAA="0" compatLnSpc="1">
            <a:prstTxWarp prst="textNoShape">
              <a:avLst/>
            </a:prstTxWarp>
            <a:noAutofit/>
          </a:bodyPr>
          <a:lstStyle/>
          <a:p>
            <a:pPr algn="ctr" defTabSz="1268006" fontAlgn="base">
              <a:lnSpc>
                <a:spcPct val="90000"/>
              </a:lnSpc>
              <a:spcBef>
                <a:spcPct val="0"/>
              </a:spcBef>
              <a:spcAft>
                <a:spcPct val="0"/>
              </a:spcAft>
            </a:pPr>
            <a:r>
              <a:rPr lang="en-US" sz="3264">
                <a:gradFill>
                  <a:gsLst>
                    <a:gs pos="0">
                      <a:srgbClr val="FFFFFF"/>
                    </a:gs>
                    <a:gs pos="100000">
                      <a:srgbClr val="FFFFFF"/>
                    </a:gs>
                  </a:gsLst>
                  <a:lin ang="5400000" scaled="0"/>
                </a:gradFill>
                <a:latin typeface="Segoe UI"/>
                <a:ea typeface="Segoe UI" pitchFamily="34" charset="0"/>
                <a:cs typeface="Segoe UI" pitchFamily="34" charset="0"/>
              </a:rPr>
              <a:t>Compute</a:t>
            </a:r>
          </a:p>
          <a:p>
            <a:pPr algn="ctr" defTabSz="1268006" fontAlgn="base">
              <a:lnSpc>
                <a:spcPct val="90000"/>
              </a:lnSpc>
              <a:spcBef>
                <a:spcPct val="0"/>
              </a:spcBef>
              <a:spcAft>
                <a:spcPct val="0"/>
              </a:spcAft>
            </a:pPr>
            <a:r>
              <a:rPr lang="en-US" sz="2175">
                <a:gradFill>
                  <a:gsLst>
                    <a:gs pos="0">
                      <a:srgbClr val="FFFFFF"/>
                    </a:gs>
                    <a:gs pos="100000">
                      <a:srgbClr val="FFFFFF"/>
                    </a:gs>
                  </a:gsLst>
                  <a:lin ang="5400000" scaled="0"/>
                </a:gradFill>
                <a:latin typeface="Segoe UI"/>
                <a:ea typeface="Segoe UI" pitchFamily="34" charset="0"/>
                <a:cs typeface="Segoe UI" pitchFamily="34" charset="0"/>
              </a:rPr>
              <a:t>Stateless, Local SSD Cache</a:t>
            </a:r>
            <a:endParaRPr lang="en-US" sz="3264">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C978C4C3-4D58-4D54-9F28-A5DC55595774}"/>
              </a:ext>
            </a:extLst>
          </p:cNvPr>
          <p:cNvSpPr/>
          <p:nvPr/>
        </p:nvSpPr>
        <p:spPr bwMode="auto">
          <a:xfrm>
            <a:off x="6985695" y="2565939"/>
            <a:ext cx="3311267" cy="172612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ctr" anchorCtr="0" forceAA="0" compatLnSpc="1">
            <a:prstTxWarp prst="textNoShape">
              <a:avLst/>
            </a:prstTxWarp>
            <a:noAutofit/>
          </a:bodyPr>
          <a:lstStyle/>
          <a:p>
            <a:pPr algn="ctr" defTabSz="1268006" fontAlgn="base">
              <a:lnSpc>
                <a:spcPct val="90000"/>
              </a:lnSpc>
              <a:spcBef>
                <a:spcPct val="0"/>
              </a:spcBef>
              <a:spcAft>
                <a:spcPct val="0"/>
              </a:spcAft>
            </a:pPr>
            <a:r>
              <a:rPr lang="en-US" sz="3264">
                <a:gradFill>
                  <a:gsLst>
                    <a:gs pos="0">
                      <a:srgbClr val="FFFFFF"/>
                    </a:gs>
                    <a:gs pos="100000">
                      <a:srgbClr val="FFFFFF"/>
                    </a:gs>
                  </a:gsLst>
                  <a:lin ang="5400000" scaled="0"/>
                </a:gradFill>
                <a:latin typeface="Segoe UI"/>
                <a:ea typeface="Segoe UI" pitchFamily="34" charset="0"/>
                <a:cs typeface="Segoe UI" pitchFamily="34" charset="0"/>
              </a:rPr>
              <a:t>Log Service</a:t>
            </a:r>
          </a:p>
          <a:p>
            <a:pPr algn="ctr" defTabSz="1268006" fontAlgn="base">
              <a:lnSpc>
                <a:spcPct val="90000"/>
              </a:lnSpc>
              <a:spcBef>
                <a:spcPct val="0"/>
              </a:spcBef>
              <a:spcAft>
                <a:spcPct val="0"/>
              </a:spcAft>
            </a:pPr>
            <a:r>
              <a:rPr lang="en-US" sz="1904">
                <a:gradFill>
                  <a:gsLst>
                    <a:gs pos="0">
                      <a:srgbClr val="FFFFFF"/>
                    </a:gs>
                    <a:gs pos="100000">
                      <a:srgbClr val="FFFFFF"/>
                    </a:gs>
                  </a:gsLst>
                  <a:lin ang="5400000" scaled="0"/>
                </a:gradFill>
                <a:latin typeface="Segoe UI"/>
                <a:ea typeface="Segoe UI" pitchFamily="34" charset="0"/>
                <a:cs typeface="Segoe UI" pitchFamily="34" charset="0"/>
              </a:rPr>
              <a:t>Local SSD Cache</a:t>
            </a:r>
            <a:endParaRPr lang="en-US" sz="272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4" name="Rectangle 73">
            <a:extLst>
              <a:ext uri="{FF2B5EF4-FFF2-40B4-BE49-F238E27FC236}">
                <a16:creationId xmlns:a16="http://schemas.microsoft.com/office/drawing/2014/main" id="{B3EA0F3B-DF42-4EDB-A33A-8B5A7A0533F1}"/>
              </a:ext>
            </a:extLst>
          </p:cNvPr>
          <p:cNvSpPr/>
          <p:nvPr/>
        </p:nvSpPr>
        <p:spPr bwMode="auto">
          <a:xfrm>
            <a:off x="2584645" y="3292229"/>
            <a:ext cx="3241409" cy="131565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pPr>
            <a:r>
              <a:rPr lang="en-US" sz="3264">
                <a:gradFill>
                  <a:gsLst>
                    <a:gs pos="0">
                      <a:srgbClr val="FFFFFF"/>
                    </a:gs>
                    <a:gs pos="100000">
                      <a:srgbClr val="FFFFFF"/>
                    </a:gs>
                  </a:gsLst>
                  <a:lin ang="5400000" scaled="0"/>
                </a:gradFill>
                <a:latin typeface="Segoe UI"/>
                <a:ea typeface="Segoe UI" pitchFamily="34" charset="0"/>
                <a:cs typeface="Segoe UI" pitchFamily="34" charset="0"/>
              </a:rPr>
              <a:t>Page Servers</a:t>
            </a:r>
          </a:p>
          <a:p>
            <a:pPr algn="ctr" defTabSz="1268006" fontAlgn="base">
              <a:lnSpc>
                <a:spcPct val="90000"/>
              </a:lnSpc>
              <a:spcBef>
                <a:spcPct val="0"/>
              </a:spcBef>
              <a:spcAft>
                <a:spcPct val="0"/>
              </a:spcAft>
            </a:pPr>
            <a:r>
              <a:rPr lang="en-US" sz="1904">
                <a:gradFill>
                  <a:gsLst>
                    <a:gs pos="0">
                      <a:srgbClr val="FFFFFF"/>
                    </a:gs>
                    <a:gs pos="100000">
                      <a:srgbClr val="FFFFFF"/>
                    </a:gs>
                  </a:gsLst>
                  <a:lin ang="5400000" scaled="0"/>
                </a:gradFill>
                <a:latin typeface="Segoe UI"/>
                <a:ea typeface="Segoe UI" pitchFamily="34" charset="0"/>
                <a:cs typeface="Segoe UI" pitchFamily="34" charset="0"/>
              </a:rPr>
              <a:t>Local SSD Cache</a:t>
            </a:r>
            <a:endParaRPr lang="en-US" sz="272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44C2E8F4-BBE9-43F9-A355-3DD61E1FD52B}"/>
              </a:ext>
            </a:extLst>
          </p:cNvPr>
          <p:cNvSpPr/>
          <p:nvPr/>
        </p:nvSpPr>
        <p:spPr bwMode="auto">
          <a:xfrm>
            <a:off x="2570674" y="4826772"/>
            <a:ext cx="3267024" cy="131798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ctr" anchorCtr="0" forceAA="0" compatLnSpc="1">
            <a:prstTxWarp prst="textNoShape">
              <a:avLst/>
            </a:prstTxWarp>
            <a:noAutofit/>
          </a:bodyPr>
          <a:lstStyle/>
          <a:p>
            <a:pPr algn="ctr" defTabSz="1268006" fontAlgn="base">
              <a:lnSpc>
                <a:spcPct val="90000"/>
              </a:lnSpc>
              <a:spcBef>
                <a:spcPct val="0"/>
              </a:spcBef>
              <a:spcAft>
                <a:spcPct val="0"/>
              </a:spcAft>
            </a:pPr>
            <a:r>
              <a:rPr lang="en-US" sz="2720">
                <a:gradFill>
                  <a:gsLst>
                    <a:gs pos="0">
                      <a:srgbClr val="FFFFFF"/>
                    </a:gs>
                    <a:gs pos="100000">
                      <a:srgbClr val="FFFFFF"/>
                    </a:gs>
                  </a:gsLst>
                  <a:lin ang="5400000" scaled="0"/>
                </a:gradFill>
                <a:latin typeface="Segoe UI"/>
                <a:ea typeface="Segoe UI" pitchFamily="34" charset="0"/>
                <a:cs typeface="Segoe UI" pitchFamily="34" charset="0"/>
              </a:rPr>
              <a:t>Remote Data Storage</a:t>
            </a:r>
            <a:endParaRPr lang="en-US" sz="2175">
              <a:gradFill>
                <a:gsLst>
                  <a:gs pos="0">
                    <a:srgbClr val="FFFFFF"/>
                  </a:gs>
                  <a:gs pos="100000">
                    <a:srgbClr val="FFFFFF"/>
                  </a:gs>
                </a:gsLst>
                <a:lin ang="5400000" scaled="0"/>
              </a:gradFill>
              <a:latin typeface="Segoe UI"/>
              <a:ea typeface="Segoe UI" pitchFamily="34" charset="0"/>
              <a:cs typeface="Segoe UI" pitchFamily="34" charset="0"/>
            </a:endParaRPr>
          </a:p>
          <a:p>
            <a:pPr algn="ctr" defTabSz="1268006" fontAlgn="base">
              <a:lnSpc>
                <a:spcPct val="90000"/>
              </a:lnSpc>
              <a:spcBef>
                <a:spcPct val="0"/>
              </a:spcBef>
              <a:spcAft>
                <a:spcPct val="0"/>
              </a:spcAft>
            </a:pPr>
            <a:r>
              <a:rPr lang="en-US" sz="1904">
                <a:gradFill>
                  <a:gsLst>
                    <a:gs pos="0">
                      <a:srgbClr val="FFFFFF"/>
                    </a:gs>
                    <a:gs pos="100000">
                      <a:srgbClr val="FFFFFF"/>
                    </a:gs>
                  </a:gsLst>
                  <a:lin ang="5400000" scaled="0"/>
                </a:gradFill>
                <a:latin typeface="Segoe UI"/>
                <a:ea typeface="Segoe UI" pitchFamily="34" charset="0"/>
                <a:cs typeface="Segoe UI" pitchFamily="34" charset="0"/>
              </a:rPr>
              <a:t>Azure Storage</a:t>
            </a:r>
          </a:p>
        </p:txBody>
      </p:sp>
      <p:cxnSp>
        <p:nvCxnSpPr>
          <p:cNvPr id="76" name="Connector: Elbow 75">
            <a:extLst>
              <a:ext uri="{FF2B5EF4-FFF2-40B4-BE49-F238E27FC236}">
                <a16:creationId xmlns:a16="http://schemas.microsoft.com/office/drawing/2014/main" id="{AE84E1C4-EFD2-482C-B9DC-A8CDA5FC7E4D}"/>
              </a:ext>
            </a:extLst>
          </p:cNvPr>
          <p:cNvCxnSpPr>
            <a:cxnSpLocks/>
          </p:cNvCxnSpPr>
          <p:nvPr/>
        </p:nvCxnSpPr>
        <p:spPr>
          <a:xfrm>
            <a:off x="5812083" y="2748525"/>
            <a:ext cx="1168984" cy="511718"/>
          </a:xfrm>
          <a:prstGeom prst="bentConnector3">
            <a:avLst>
              <a:gd name="adj1" fmla="val 50000"/>
            </a:avLst>
          </a:prstGeom>
          <a:noFill/>
          <a:ln w="28575" cap="flat" cmpd="sng" algn="ctr">
            <a:solidFill>
              <a:srgbClr val="0279D8"/>
            </a:solidFill>
            <a:prstDash val="solid"/>
            <a:headEnd type="none" w="lg" len="med"/>
            <a:tailEnd type="triangle"/>
          </a:ln>
          <a:effectLst/>
        </p:spPr>
      </p:cxnSp>
      <p:cxnSp>
        <p:nvCxnSpPr>
          <p:cNvPr id="77" name="Straight Arrow Connector 76">
            <a:extLst>
              <a:ext uri="{FF2B5EF4-FFF2-40B4-BE49-F238E27FC236}">
                <a16:creationId xmlns:a16="http://schemas.microsoft.com/office/drawing/2014/main" id="{16306304-5F17-40F7-AAC3-FACE9DED54F5}"/>
              </a:ext>
            </a:extLst>
          </p:cNvPr>
          <p:cNvCxnSpPr>
            <a:cxnSpLocks/>
          </p:cNvCxnSpPr>
          <p:nvPr/>
        </p:nvCxnSpPr>
        <p:spPr>
          <a:xfrm flipV="1">
            <a:off x="4077389" y="2974360"/>
            <a:ext cx="0" cy="526251"/>
          </a:xfrm>
          <a:prstGeom prst="straightConnector1">
            <a:avLst/>
          </a:prstGeom>
          <a:noFill/>
          <a:ln w="28575" cap="flat" cmpd="sng" algn="ctr">
            <a:solidFill>
              <a:srgbClr val="C00000"/>
            </a:solidFill>
            <a:prstDash val="solid"/>
            <a:headEnd type="none" w="lg" len="med"/>
            <a:tailEnd type="triangle"/>
          </a:ln>
          <a:effectLst/>
        </p:spPr>
      </p:cxnSp>
      <p:cxnSp>
        <p:nvCxnSpPr>
          <p:cNvPr id="78" name="Connector: Elbow 77">
            <a:extLst>
              <a:ext uri="{FF2B5EF4-FFF2-40B4-BE49-F238E27FC236}">
                <a16:creationId xmlns:a16="http://schemas.microsoft.com/office/drawing/2014/main" id="{EE2738B9-4D21-402E-9EC4-EC3EBE58595D}"/>
              </a:ext>
            </a:extLst>
          </p:cNvPr>
          <p:cNvCxnSpPr>
            <a:cxnSpLocks/>
          </p:cNvCxnSpPr>
          <p:nvPr/>
        </p:nvCxnSpPr>
        <p:spPr>
          <a:xfrm rot="10800000" flipV="1">
            <a:off x="3220680" y="1354867"/>
            <a:ext cx="857133" cy="387118"/>
          </a:xfrm>
          <a:prstGeom prst="bentConnector3">
            <a:avLst>
              <a:gd name="adj1" fmla="val 101002"/>
            </a:avLst>
          </a:prstGeom>
          <a:noFill/>
          <a:ln w="28575" cap="flat" cmpd="sng" algn="ctr">
            <a:solidFill>
              <a:srgbClr val="00B050"/>
            </a:solidFill>
            <a:prstDash val="solid"/>
            <a:headEnd type="none" w="lg" len="med"/>
            <a:tailEnd type="triangle"/>
          </a:ln>
          <a:effectLst/>
        </p:spPr>
      </p:cxnSp>
      <p:cxnSp>
        <p:nvCxnSpPr>
          <p:cNvPr id="79" name="Connector: Elbow 78">
            <a:extLst>
              <a:ext uri="{FF2B5EF4-FFF2-40B4-BE49-F238E27FC236}">
                <a16:creationId xmlns:a16="http://schemas.microsoft.com/office/drawing/2014/main" id="{99CC4B54-12AC-4936-9D19-68D93A6300A6}"/>
              </a:ext>
            </a:extLst>
          </p:cNvPr>
          <p:cNvCxnSpPr>
            <a:cxnSpLocks/>
          </p:cNvCxnSpPr>
          <p:nvPr/>
        </p:nvCxnSpPr>
        <p:spPr>
          <a:xfrm>
            <a:off x="4356259" y="1349069"/>
            <a:ext cx="930327" cy="411746"/>
          </a:xfrm>
          <a:prstGeom prst="bentConnector2">
            <a:avLst/>
          </a:prstGeom>
          <a:noFill/>
          <a:ln w="28575" cap="flat" cmpd="sng" algn="ctr">
            <a:solidFill>
              <a:srgbClr val="F0493E"/>
            </a:solidFill>
            <a:prstDash val="solid"/>
            <a:headEnd type="none" w="lg" len="med"/>
            <a:tailEnd type="triangle"/>
          </a:ln>
          <a:effectLst/>
        </p:spPr>
      </p:cxnSp>
      <p:cxnSp>
        <p:nvCxnSpPr>
          <p:cNvPr id="80" name="Straight Arrow Connector 79">
            <a:extLst>
              <a:ext uri="{FF2B5EF4-FFF2-40B4-BE49-F238E27FC236}">
                <a16:creationId xmlns:a16="http://schemas.microsoft.com/office/drawing/2014/main" id="{18843C6E-1EC5-4EBE-969D-9945A41D0548}"/>
              </a:ext>
            </a:extLst>
          </p:cNvPr>
          <p:cNvCxnSpPr>
            <a:cxnSpLocks/>
          </p:cNvCxnSpPr>
          <p:nvPr/>
        </p:nvCxnSpPr>
        <p:spPr>
          <a:xfrm>
            <a:off x="3215690" y="1582768"/>
            <a:ext cx="0" cy="188475"/>
          </a:xfrm>
          <a:prstGeom prst="straightConnector1">
            <a:avLst/>
          </a:prstGeom>
          <a:noFill/>
          <a:ln w="28575" cap="flat" cmpd="sng" algn="ctr">
            <a:solidFill>
              <a:schemeClr val="bg1"/>
            </a:solidFill>
            <a:prstDash val="solid"/>
            <a:headEnd type="none" w="lg" len="med"/>
            <a:tailEnd type="triangle"/>
          </a:ln>
          <a:effectLst/>
        </p:spPr>
      </p:cxnSp>
      <p:sp>
        <p:nvSpPr>
          <p:cNvPr id="81" name="TextBox 80">
            <a:extLst>
              <a:ext uri="{FF2B5EF4-FFF2-40B4-BE49-F238E27FC236}">
                <a16:creationId xmlns:a16="http://schemas.microsoft.com/office/drawing/2014/main" id="{8C93C9FE-FC56-4241-83A5-F71588EBD60E}"/>
              </a:ext>
            </a:extLst>
          </p:cNvPr>
          <p:cNvSpPr txBox="1"/>
          <p:nvPr/>
        </p:nvSpPr>
        <p:spPr>
          <a:xfrm>
            <a:off x="3315111" y="4277938"/>
            <a:ext cx="558740" cy="256093"/>
          </a:xfrm>
          <a:prstGeom prst="rect">
            <a:avLst/>
          </a:prstGeom>
          <a:noFill/>
        </p:spPr>
        <p:txBody>
          <a:bodyPr wrap="square" lIns="0" tIns="0" rIns="0" bIns="0" rtlCol="0">
            <a:spAutoFit/>
          </a:bodyPr>
          <a:lstStyle/>
          <a:p>
            <a:pPr algn="ctr" defTabSz="932539">
              <a:defRPr/>
            </a:pPr>
            <a:r>
              <a:rPr lang="en-US" sz="816" kern="0">
                <a:solidFill>
                  <a:srgbClr val="FFFFFF"/>
                </a:solidFill>
                <a:latin typeface="Segoe UI"/>
              </a:rPr>
              <a:t>1 TB data file</a:t>
            </a:r>
          </a:p>
        </p:txBody>
      </p:sp>
      <p:sp>
        <p:nvSpPr>
          <p:cNvPr id="82" name="TextBox 81">
            <a:extLst>
              <a:ext uri="{FF2B5EF4-FFF2-40B4-BE49-F238E27FC236}">
                <a16:creationId xmlns:a16="http://schemas.microsoft.com/office/drawing/2014/main" id="{93B2F1C1-3919-4A29-96C0-865A78EBF178}"/>
              </a:ext>
            </a:extLst>
          </p:cNvPr>
          <p:cNvSpPr txBox="1"/>
          <p:nvPr/>
        </p:nvSpPr>
        <p:spPr>
          <a:xfrm>
            <a:off x="4171822" y="4277938"/>
            <a:ext cx="558740" cy="256093"/>
          </a:xfrm>
          <a:prstGeom prst="rect">
            <a:avLst/>
          </a:prstGeom>
          <a:noFill/>
        </p:spPr>
        <p:txBody>
          <a:bodyPr wrap="square" lIns="0" tIns="0" rIns="0" bIns="0" rtlCol="0">
            <a:spAutoFit/>
          </a:bodyPr>
          <a:lstStyle/>
          <a:p>
            <a:pPr algn="ctr" defTabSz="932539">
              <a:defRPr/>
            </a:pPr>
            <a:r>
              <a:rPr lang="en-US" sz="816" kern="0">
                <a:solidFill>
                  <a:srgbClr val="FFFFFF"/>
                </a:solidFill>
                <a:latin typeface="Segoe UI"/>
              </a:rPr>
              <a:t>1 TB data file</a:t>
            </a:r>
          </a:p>
        </p:txBody>
      </p:sp>
      <p:sp>
        <p:nvSpPr>
          <p:cNvPr id="83" name="TextBox 82">
            <a:extLst>
              <a:ext uri="{FF2B5EF4-FFF2-40B4-BE49-F238E27FC236}">
                <a16:creationId xmlns:a16="http://schemas.microsoft.com/office/drawing/2014/main" id="{39B43086-3427-411A-9151-1637F38AE0CD}"/>
              </a:ext>
            </a:extLst>
          </p:cNvPr>
          <p:cNvSpPr txBox="1"/>
          <p:nvPr/>
        </p:nvSpPr>
        <p:spPr>
          <a:xfrm>
            <a:off x="5028331" y="4277938"/>
            <a:ext cx="558740" cy="256093"/>
          </a:xfrm>
          <a:prstGeom prst="rect">
            <a:avLst/>
          </a:prstGeom>
          <a:noFill/>
        </p:spPr>
        <p:txBody>
          <a:bodyPr wrap="square" lIns="0" tIns="0" rIns="0" bIns="0" rtlCol="0">
            <a:spAutoFit/>
          </a:bodyPr>
          <a:lstStyle/>
          <a:p>
            <a:pPr algn="ctr" defTabSz="932539">
              <a:defRPr/>
            </a:pPr>
            <a:r>
              <a:rPr lang="en-US" sz="816" kern="0">
                <a:solidFill>
                  <a:srgbClr val="FFFFFF"/>
                </a:solidFill>
                <a:latin typeface="Segoe UI"/>
              </a:rPr>
              <a:t>1 TB data file</a:t>
            </a:r>
          </a:p>
        </p:txBody>
      </p:sp>
      <p:cxnSp>
        <p:nvCxnSpPr>
          <p:cNvPr id="84" name="Straight Arrow Connector 83">
            <a:extLst>
              <a:ext uri="{FF2B5EF4-FFF2-40B4-BE49-F238E27FC236}">
                <a16:creationId xmlns:a16="http://schemas.microsoft.com/office/drawing/2014/main" id="{973DF5BF-73D8-456A-A83D-A979DCEFF1B0}"/>
              </a:ext>
            </a:extLst>
          </p:cNvPr>
          <p:cNvCxnSpPr>
            <a:cxnSpLocks/>
          </p:cNvCxnSpPr>
          <p:nvPr/>
        </p:nvCxnSpPr>
        <p:spPr>
          <a:xfrm flipH="1" flipV="1">
            <a:off x="4910200" y="4216565"/>
            <a:ext cx="7814" cy="652822"/>
          </a:xfrm>
          <a:prstGeom prst="straightConnector1">
            <a:avLst/>
          </a:prstGeom>
          <a:noFill/>
          <a:ln w="28575" cap="flat" cmpd="sng" algn="ctr">
            <a:solidFill>
              <a:srgbClr val="C00000"/>
            </a:solidFill>
            <a:prstDash val="solid"/>
            <a:headEnd type="none" w="lg" len="med"/>
            <a:tailEnd type="triangle"/>
          </a:ln>
          <a:effectLst/>
        </p:spPr>
      </p:cxnSp>
      <p:cxnSp>
        <p:nvCxnSpPr>
          <p:cNvPr id="85" name="Straight Arrow Connector 84">
            <a:extLst>
              <a:ext uri="{FF2B5EF4-FFF2-40B4-BE49-F238E27FC236}">
                <a16:creationId xmlns:a16="http://schemas.microsoft.com/office/drawing/2014/main" id="{FAB4B12F-C24D-48D6-8BD5-93153B75DB1E}"/>
              </a:ext>
            </a:extLst>
          </p:cNvPr>
          <p:cNvCxnSpPr>
            <a:cxnSpLocks/>
          </p:cNvCxnSpPr>
          <p:nvPr/>
        </p:nvCxnSpPr>
        <p:spPr>
          <a:xfrm flipV="1">
            <a:off x="4061508" y="4218048"/>
            <a:ext cx="223" cy="651340"/>
          </a:xfrm>
          <a:prstGeom prst="straightConnector1">
            <a:avLst/>
          </a:prstGeom>
          <a:noFill/>
          <a:ln w="28575" cap="flat" cmpd="sng" algn="ctr">
            <a:solidFill>
              <a:srgbClr val="C00000"/>
            </a:solidFill>
            <a:prstDash val="solid"/>
            <a:headEnd type="none" w="lg" len="med"/>
            <a:tailEnd type="triangle"/>
          </a:ln>
          <a:effectLst/>
        </p:spPr>
      </p:cxnSp>
      <p:cxnSp>
        <p:nvCxnSpPr>
          <p:cNvPr id="86" name="Straight Arrow Connector 85">
            <a:extLst>
              <a:ext uri="{FF2B5EF4-FFF2-40B4-BE49-F238E27FC236}">
                <a16:creationId xmlns:a16="http://schemas.microsoft.com/office/drawing/2014/main" id="{FCD68758-DF9A-4AF7-AF46-5460794AC0F0}"/>
              </a:ext>
            </a:extLst>
          </p:cNvPr>
          <p:cNvCxnSpPr>
            <a:cxnSpLocks/>
          </p:cNvCxnSpPr>
          <p:nvPr/>
        </p:nvCxnSpPr>
        <p:spPr>
          <a:xfrm flipV="1">
            <a:off x="3204150" y="4216566"/>
            <a:ext cx="646" cy="652822"/>
          </a:xfrm>
          <a:prstGeom prst="straightConnector1">
            <a:avLst/>
          </a:prstGeom>
          <a:noFill/>
          <a:ln w="28575" cap="flat" cmpd="sng" algn="ctr">
            <a:solidFill>
              <a:srgbClr val="C00000"/>
            </a:solidFill>
            <a:prstDash val="solid"/>
            <a:headEnd type="none" w="lg" len="med"/>
            <a:tailEnd type="triangle"/>
          </a:ln>
          <a:effectLst/>
        </p:spPr>
      </p:cxnSp>
    </p:spTree>
    <p:extLst>
      <p:ext uri="{BB962C8B-B14F-4D97-AF65-F5344CB8AC3E}">
        <p14:creationId xmlns:p14="http://schemas.microsoft.com/office/powerpoint/2010/main" val="13254018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Hyperscale architecture</a:t>
            </a:r>
          </a:p>
        </p:txBody>
      </p:sp>
      <p:sp>
        <p:nvSpPr>
          <p:cNvPr id="335" name="Rectangle 334">
            <a:extLst>
              <a:ext uri="{FF2B5EF4-FFF2-40B4-BE49-F238E27FC236}">
                <a16:creationId xmlns:a16="http://schemas.microsoft.com/office/drawing/2014/main" id="{FA833022-7A07-4661-8A8E-FC32431E6E80}"/>
              </a:ext>
            </a:extLst>
          </p:cNvPr>
          <p:cNvSpPr/>
          <p:nvPr/>
        </p:nvSpPr>
        <p:spPr bwMode="auto">
          <a:xfrm>
            <a:off x="3212355" y="1765147"/>
            <a:ext cx="2789315" cy="1040440"/>
          </a:xfrm>
          <a:prstGeom prst="rect">
            <a:avLst/>
          </a:prstGeom>
          <a:solidFill>
            <a:srgbClr val="3C3C41">
              <a:lumMod val="20000"/>
              <a:lumOff val="80000"/>
            </a:srgbClr>
          </a:solidFill>
          <a:ln w="1905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40075">
                    <a:srgbClr val="FFFFFF"/>
                  </a:gs>
                  <a:gs pos="30000">
                    <a:srgbClr val="FFFFFF"/>
                  </a:gs>
                </a:gsLst>
                <a:lin ang="5400000" scaled="0"/>
              </a:gradFill>
              <a:effectLst/>
              <a:uLnTx/>
              <a:uFillTx/>
            </a:endParaRPr>
          </a:p>
        </p:txBody>
      </p:sp>
      <p:grpSp>
        <p:nvGrpSpPr>
          <p:cNvPr id="336" name="Group 335">
            <a:extLst>
              <a:ext uri="{FF2B5EF4-FFF2-40B4-BE49-F238E27FC236}">
                <a16:creationId xmlns:a16="http://schemas.microsoft.com/office/drawing/2014/main" id="{32C7AD70-F92D-462E-BC0B-DCB5C354CC6B}"/>
              </a:ext>
            </a:extLst>
          </p:cNvPr>
          <p:cNvGrpSpPr/>
          <p:nvPr/>
        </p:nvGrpSpPr>
        <p:grpSpPr>
          <a:xfrm>
            <a:off x="2253188" y="1805944"/>
            <a:ext cx="3702108" cy="959284"/>
            <a:chOff x="1387660" y="1720925"/>
            <a:chExt cx="3629847" cy="940560"/>
          </a:xfrm>
        </p:grpSpPr>
        <p:grpSp>
          <p:nvGrpSpPr>
            <p:cNvPr id="337" name="Group 336">
              <a:extLst>
                <a:ext uri="{FF2B5EF4-FFF2-40B4-BE49-F238E27FC236}">
                  <a16:creationId xmlns:a16="http://schemas.microsoft.com/office/drawing/2014/main" id="{040AC1CE-18A0-4EC9-86B9-D075972C1343}"/>
                </a:ext>
              </a:extLst>
            </p:cNvPr>
            <p:cNvGrpSpPr/>
            <p:nvPr/>
          </p:nvGrpSpPr>
          <p:grpSpPr>
            <a:xfrm>
              <a:off x="3261429" y="1720925"/>
              <a:ext cx="852579" cy="871707"/>
              <a:chOff x="3261429" y="1720925"/>
              <a:chExt cx="852579" cy="871707"/>
            </a:xfrm>
          </p:grpSpPr>
          <p:sp>
            <p:nvSpPr>
              <p:cNvPr id="347" name="Cylinder 513">
                <a:extLst>
                  <a:ext uri="{FF2B5EF4-FFF2-40B4-BE49-F238E27FC236}">
                    <a16:creationId xmlns:a16="http://schemas.microsoft.com/office/drawing/2014/main" id="{12526C07-89D6-4201-B334-AC3D2736C7A7}"/>
                  </a:ext>
                </a:extLst>
              </p:cNvPr>
              <p:cNvSpPr/>
              <p:nvPr/>
            </p:nvSpPr>
            <p:spPr bwMode="auto">
              <a:xfrm>
                <a:off x="3439438" y="1921810"/>
                <a:ext cx="547306" cy="670822"/>
              </a:xfrm>
              <a:prstGeom prst="can">
                <a:avLst>
                  <a:gd name="adj" fmla="val 39530"/>
                </a:avLst>
              </a:prstGeom>
              <a:solidFill>
                <a:srgbClr val="FFFFFF"/>
              </a:solidFill>
              <a:ln w="12700" cap="flat" cmpd="sng" algn="ctr">
                <a:solidFill>
                  <a:srgbClr val="505050"/>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408" b="0" i="0" u="none" strike="noStrike" kern="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348" name="TextBox 347">
                <a:extLst>
                  <a:ext uri="{FF2B5EF4-FFF2-40B4-BE49-F238E27FC236}">
                    <a16:creationId xmlns:a16="http://schemas.microsoft.com/office/drawing/2014/main" id="{CCFB1844-2CB1-448A-9BA8-F9CF470A3B17}"/>
                  </a:ext>
                </a:extLst>
              </p:cNvPr>
              <p:cNvSpPr txBox="1"/>
              <p:nvPr/>
            </p:nvSpPr>
            <p:spPr>
              <a:xfrm>
                <a:off x="3261429" y="1720925"/>
                <a:ext cx="852579" cy="172676"/>
              </a:xfrm>
              <a:prstGeom prst="rect">
                <a:avLst/>
              </a:prstGeom>
              <a:noFill/>
            </p:spPr>
            <p:txBody>
              <a:bodyPr wrap="square" lIns="0" tIns="0" rIns="0" bIns="0" rtlCol="0">
                <a:spAutoFit/>
              </a:body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srgbClr val="1A1A1A"/>
                        </a:gs>
                        <a:gs pos="30000">
                          <a:srgbClr val="1A1A1A"/>
                        </a:gs>
                      </a:gsLst>
                      <a:lin ang="5400000" scaled="0"/>
                    </a:gradFill>
                    <a:effectLst/>
                    <a:uLnTx/>
                    <a:uFillTx/>
                  </a:rPr>
                  <a:t>HS_Gen4_1</a:t>
                </a:r>
              </a:p>
            </p:txBody>
          </p:sp>
        </p:grpSp>
        <p:grpSp>
          <p:nvGrpSpPr>
            <p:cNvPr id="338" name="Group 337">
              <a:extLst>
                <a:ext uri="{FF2B5EF4-FFF2-40B4-BE49-F238E27FC236}">
                  <a16:creationId xmlns:a16="http://schemas.microsoft.com/office/drawing/2014/main" id="{44F98326-545E-41C2-B0F7-A96079A0327A}"/>
                </a:ext>
              </a:extLst>
            </p:cNvPr>
            <p:cNvGrpSpPr/>
            <p:nvPr/>
          </p:nvGrpSpPr>
          <p:grpSpPr>
            <a:xfrm>
              <a:off x="2408677" y="1720925"/>
              <a:ext cx="852579" cy="883959"/>
              <a:chOff x="2408677" y="1720925"/>
              <a:chExt cx="852579" cy="883959"/>
            </a:xfrm>
          </p:grpSpPr>
          <p:sp>
            <p:nvSpPr>
              <p:cNvPr id="345" name="Cylinder 513">
                <a:extLst>
                  <a:ext uri="{FF2B5EF4-FFF2-40B4-BE49-F238E27FC236}">
                    <a16:creationId xmlns:a16="http://schemas.microsoft.com/office/drawing/2014/main" id="{79D0210A-7947-4554-A6B5-A349077C51A1}"/>
                  </a:ext>
                </a:extLst>
              </p:cNvPr>
              <p:cNvSpPr/>
              <p:nvPr/>
            </p:nvSpPr>
            <p:spPr bwMode="auto">
              <a:xfrm>
                <a:off x="2561313" y="1934062"/>
                <a:ext cx="547306" cy="670822"/>
              </a:xfrm>
              <a:prstGeom prst="can">
                <a:avLst>
                  <a:gd name="adj" fmla="val 39530"/>
                </a:avLst>
              </a:prstGeom>
              <a:solidFill>
                <a:srgbClr val="FFFFFF"/>
              </a:solidFill>
              <a:ln w="12700" cap="flat" cmpd="sng" algn="ctr">
                <a:solidFill>
                  <a:srgbClr val="505050"/>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408" b="0" i="0" u="none" strike="noStrike" kern="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346" name="TextBox 345">
                <a:extLst>
                  <a:ext uri="{FF2B5EF4-FFF2-40B4-BE49-F238E27FC236}">
                    <a16:creationId xmlns:a16="http://schemas.microsoft.com/office/drawing/2014/main" id="{C5355200-4BD0-4A68-A17F-30F9A70453DD}"/>
                  </a:ext>
                </a:extLst>
              </p:cNvPr>
              <p:cNvSpPr txBox="1"/>
              <p:nvPr/>
            </p:nvSpPr>
            <p:spPr>
              <a:xfrm>
                <a:off x="2408677" y="1720925"/>
                <a:ext cx="852579" cy="172676"/>
              </a:xfrm>
              <a:prstGeom prst="rect">
                <a:avLst/>
              </a:prstGeom>
              <a:noFill/>
            </p:spPr>
            <p:txBody>
              <a:bodyPr wrap="square" lIns="0" tIns="0" rIns="0" bIns="0" rtlCol="0">
                <a:spAutoFit/>
              </a:body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srgbClr val="1A1A1A"/>
                        </a:gs>
                        <a:gs pos="30000">
                          <a:srgbClr val="1A1A1A"/>
                        </a:gs>
                      </a:gsLst>
                      <a:lin ang="5400000" scaled="0"/>
                    </a:gradFill>
                    <a:effectLst/>
                    <a:uLnTx/>
                    <a:uFillTx/>
                  </a:rPr>
                  <a:t>HS_Gen4_1</a:t>
                </a:r>
              </a:p>
            </p:txBody>
          </p:sp>
        </p:grpSp>
        <p:grpSp>
          <p:nvGrpSpPr>
            <p:cNvPr id="339" name="Group 338">
              <a:extLst>
                <a:ext uri="{FF2B5EF4-FFF2-40B4-BE49-F238E27FC236}">
                  <a16:creationId xmlns:a16="http://schemas.microsoft.com/office/drawing/2014/main" id="{3057B1FF-63B7-4395-A3FE-BF040C810006}"/>
                </a:ext>
              </a:extLst>
            </p:cNvPr>
            <p:cNvGrpSpPr/>
            <p:nvPr/>
          </p:nvGrpSpPr>
          <p:grpSpPr>
            <a:xfrm>
              <a:off x="1387660" y="1720925"/>
              <a:ext cx="852579" cy="940560"/>
              <a:chOff x="1387660" y="1720925"/>
              <a:chExt cx="852579" cy="940560"/>
            </a:xfrm>
          </p:grpSpPr>
          <p:sp>
            <p:nvSpPr>
              <p:cNvPr id="343" name="Cylinder 513">
                <a:extLst>
                  <a:ext uri="{FF2B5EF4-FFF2-40B4-BE49-F238E27FC236}">
                    <a16:creationId xmlns:a16="http://schemas.microsoft.com/office/drawing/2014/main" id="{4F6C6B26-B9D4-459A-A3AF-9CFD2C3B846B}"/>
                  </a:ext>
                </a:extLst>
              </p:cNvPr>
              <p:cNvSpPr/>
              <p:nvPr/>
            </p:nvSpPr>
            <p:spPr bwMode="auto">
              <a:xfrm>
                <a:off x="1540296" y="1912241"/>
                <a:ext cx="547307" cy="749244"/>
              </a:xfrm>
              <a:prstGeom prst="can">
                <a:avLst>
                  <a:gd name="adj" fmla="val 39530"/>
                </a:avLst>
              </a:prstGeom>
              <a:noFill/>
              <a:ln w="22225"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408" b="0" i="0" u="none" strike="noStrike" kern="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344" name="TextBox 343">
                <a:extLst>
                  <a:ext uri="{FF2B5EF4-FFF2-40B4-BE49-F238E27FC236}">
                    <a16:creationId xmlns:a16="http://schemas.microsoft.com/office/drawing/2014/main" id="{61259C55-AEB5-4E0B-8BA0-91F0BA176C4C}"/>
                  </a:ext>
                </a:extLst>
              </p:cNvPr>
              <p:cNvSpPr txBox="1"/>
              <p:nvPr/>
            </p:nvSpPr>
            <p:spPr>
              <a:xfrm>
                <a:off x="1387660" y="1720925"/>
                <a:ext cx="852579" cy="172676"/>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srgbClr val="1A1A1A"/>
                        </a:gs>
                        <a:gs pos="30000">
                          <a:srgbClr val="1A1A1A"/>
                        </a:gs>
                      </a:gsLst>
                      <a:lin ang="5400000" scaled="0"/>
                    </a:gradFill>
                    <a:effectLst/>
                    <a:uLnTx/>
                    <a:uFillTx/>
                  </a:rPr>
                  <a:t>HS_Gen4_1</a:t>
                </a:r>
              </a:p>
            </p:txBody>
          </p:sp>
        </p:grpSp>
        <p:grpSp>
          <p:nvGrpSpPr>
            <p:cNvPr id="340" name="Group 339">
              <a:extLst>
                <a:ext uri="{FF2B5EF4-FFF2-40B4-BE49-F238E27FC236}">
                  <a16:creationId xmlns:a16="http://schemas.microsoft.com/office/drawing/2014/main" id="{1DA020E3-CCA4-47FC-9BB6-4724D89A0D0E}"/>
                </a:ext>
              </a:extLst>
            </p:cNvPr>
            <p:cNvGrpSpPr/>
            <p:nvPr/>
          </p:nvGrpSpPr>
          <p:grpSpPr>
            <a:xfrm>
              <a:off x="4164928" y="1720925"/>
              <a:ext cx="852579" cy="882922"/>
              <a:chOff x="4164928" y="1720925"/>
              <a:chExt cx="852579" cy="882922"/>
            </a:xfrm>
          </p:grpSpPr>
          <p:sp>
            <p:nvSpPr>
              <p:cNvPr id="341" name="Cylinder 513">
                <a:extLst>
                  <a:ext uri="{FF2B5EF4-FFF2-40B4-BE49-F238E27FC236}">
                    <a16:creationId xmlns:a16="http://schemas.microsoft.com/office/drawing/2014/main" id="{F94D18A0-1787-4BBA-823F-A5284F0D33F3}"/>
                  </a:ext>
                </a:extLst>
              </p:cNvPr>
              <p:cNvSpPr/>
              <p:nvPr/>
            </p:nvSpPr>
            <p:spPr bwMode="auto">
              <a:xfrm>
                <a:off x="4312802" y="1933025"/>
                <a:ext cx="547306" cy="670822"/>
              </a:xfrm>
              <a:prstGeom prst="can">
                <a:avLst>
                  <a:gd name="adj" fmla="val 39530"/>
                </a:avLst>
              </a:prstGeom>
              <a:solidFill>
                <a:srgbClr val="FFFFFF"/>
              </a:solidFill>
              <a:ln w="12700" cap="flat" cmpd="sng" algn="ctr">
                <a:solidFill>
                  <a:srgbClr val="505050"/>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408" b="0" i="0" u="none" strike="noStrike" kern="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342" name="TextBox 341">
                <a:extLst>
                  <a:ext uri="{FF2B5EF4-FFF2-40B4-BE49-F238E27FC236}">
                    <a16:creationId xmlns:a16="http://schemas.microsoft.com/office/drawing/2014/main" id="{314F75BC-FC59-4772-890C-09394F1A36D6}"/>
                  </a:ext>
                </a:extLst>
              </p:cNvPr>
              <p:cNvSpPr txBox="1"/>
              <p:nvPr/>
            </p:nvSpPr>
            <p:spPr>
              <a:xfrm>
                <a:off x="4164928" y="1720925"/>
                <a:ext cx="852579" cy="172676"/>
              </a:xfrm>
              <a:prstGeom prst="rect">
                <a:avLst/>
              </a:prstGeom>
              <a:noFill/>
            </p:spPr>
            <p:txBody>
              <a:bodyPr wrap="square" lIns="0" tIns="0" rIns="0" bIns="0" rtlCol="0">
                <a:spAutoFit/>
              </a:body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srgbClr val="1A1A1A"/>
                        </a:gs>
                        <a:gs pos="30000">
                          <a:srgbClr val="1A1A1A"/>
                        </a:gs>
                      </a:gsLst>
                      <a:lin ang="5400000" scaled="0"/>
                    </a:gradFill>
                    <a:effectLst/>
                    <a:uLnTx/>
                    <a:uFillTx/>
                  </a:rPr>
                  <a:t>HS_Gen4_1</a:t>
                </a:r>
              </a:p>
            </p:txBody>
          </p:sp>
        </p:grpSp>
      </p:grpSp>
      <p:sp>
        <p:nvSpPr>
          <p:cNvPr id="349" name="Rectangle 348">
            <a:extLst>
              <a:ext uri="{FF2B5EF4-FFF2-40B4-BE49-F238E27FC236}">
                <a16:creationId xmlns:a16="http://schemas.microsoft.com/office/drawing/2014/main" id="{F6E89585-3158-4BAC-BBF2-38A11228DD1D}"/>
              </a:ext>
            </a:extLst>
          </p:cNvPr>
          <p:cNvSpPr/>
          <p:nvPr/>
        </p:nvSpPr>
        <p:spPr bwMode="auto">
          <a:xfrm>
            <a:off x="2050455" y="1603270"/>
            <a:ext cx="4045545" cy="1388338"/>
          </a:xfrm>
          <a:prstGeom prst="rect">
            <a:avLst/>
          </a:prstGeom>
          <a:noFill/>
          <a:ln w="19050" cap="flat" cmpd="sng" algn="ctr">
            <a:solidFill>
              <a:srgbClr val="50E6FF">
                <a:lumMod val="75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350" name="TextBox 349">
            <a:extLst>
              <a:ext uri="{FF2B5EF4-FFF2-40B4-BE49-F238E27FC236}">
                <a16:creationId xmlns:a16="http://schemas.microsoft.com/office/drawing/2014/main" id="{1F7541D3-F8B9-4F90-B7AE-74BE7DD2D289}"/>
              </a:ext>
            </a:extLst>
          </p:cNvPr>
          <p:cNvSpPr txBox="1"/>
          <p:nvPr/>
        </p:nvSpPr>
        <p:spPr>
          <a:xfrm>
            <a:off x="3563743" y="2804173"/>
            <a:ext cx="980273" cy="160091"/>
          </a:xfrm>
          <a:prstGeom prst="rect">
            <a:avLst/>
          </a:prstGeom>
          <a:noFill/>
        </p:spPr>
        <p:txBody>
          <a:bodyPr wrap="square" lIns="0" tIns="0" rIns="0" bIns="0" rtlCol="0">
            <a:spAutoFit/>
          </a:body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gradFill>
                  <a:gsLst>
                    <a:gs pos="2917">
                      <a:srgbClr val="1A1A1A"/>
                    </a:gs>
                    <a:gs pos="30000">
                      <a:srgbClr val="1A1A1A"/>
                    </a:gs>
                  </a:gsLst>
                  <a:lin ang="5400000" scaled="0"/>
                </a:gradFill>
                <a:effectLst/>
                <a:uLnTx/>
                <a:uFillTx/>
              </a:rPr>
              <a:t>Compute</a:t>
            </a:r>
          </a:p>
        </p:txBody>
      </p:sp>
      <p:sp>
        <p:nvSpPr>
          <p:cNvPr id="351" name="people_4" title="Icon of a person">
            <a:extLst>
              <a:ext uri="{FF2B5EF4-FFF2-40B4-BE49-F238E27FC236}">
                <a16:creationId xmlns:a16="http://schemas.microsoft.com/office/drawing/2014/main" id="{8D0F0CA3-A634-469A-A161-87B049ACEADF}"/>
              </a:ext>
            </a:extLst>
          </p:cNvPr>
          <p:cNvSpPr>
            <a:spLocks noChangeAspect="1" noEditPoints="1"/>
          </p:cNvSpPr>
          <p:nvPr/>
        </p:nvSpPr>
        <p:spPr bwMode="auto">
          <a:xfrm>
            <a:off x="3537972" y="1113019"/>
            <a:ext cx="246944" cy="28887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cxnSp>
        <p:nvCxnSpPr>
          <p:cNvPr id="352" name="Connector: Elbow 351">
            <a:extLst>
              <a:ext uri="{FF2B5EF4-FFF2-40B4-BE49-F238E27FC236}">
                <a16:creationId xmlns:a16="http://schemas.microsoft.com/office/drawing/2014/main" id="{7F794944-617B-41D7-B06A-516B5E1E4168}"/>
              </a:ext>
            </a:extLst>
          </p:cNvPr>
          <p:cNvCxnSpPr>
            <a:cxnSpLocks/>
            <a:stCxn id="351" idx="7"/>
          </p:cNvCxnSpPr>
          <p:nvPr/>
        </p:nvCxnSpPr>
        <p:spPr>
          <a:xfrm flipH="1">
            <a:off x="2726164" y="1401892"/>
            <a:ext cx="811808" cy="358261"/>
          </a:xfrm>
          <a:prstGeom prst="bentConnector3">
            <a:avLst>
              <a:gd name="adj1" fmla="val 100317"/>
            </a:avLst>
          </a:prstGeom>
          <a:noFill/>
          <a:ln w="19050" cap="flat" cmpd="sng" algn="ctr">
            <a:solidFill>
              <a:srgbClr val="00B050"/>
            </a:solidFill>
            <a:prstDash val="solid"/>
            <a:headEnd type="none" w="lg" len="med"/>
            <a:tailEnd type="triangle"/>
          </a:ln>
          <a:effectLst/>
        </p:spPr>
      </p:cxnSp>
      <p:cxnSp>
        <p:nvCxnSpPr>
          <p:cNvPr id="353" name="Connector: Elbow 352">
            <a:extLst>
              <a:ext uri="{FF2B5EF4-FFF2-40B4-BE49-F238E27FC236}">
                <a16:creationId xmlns:a16="http://schemas.microsoft.com/office/drawing/2014/main" id="{479114BF-3495-43F9-ADB8-0E51AEC42277}"/>
              </a:ext>
            </a:extLst>
          </p:cNvPr>
          <p:cNvCxnSpPr>
            <a:cxnSpLocks/>
            <a:stCxn id="351" idx="5"/>
            <a:endCxn id="335" idx="0"/>
          </p:cNvCxnSpPr>
          <p:nvPr/>
        </p:nvCxnSpPr>
        <p:spPr>
          <a:xfrm>
            <a:off x="3784916" y="1401892"/>
            <a:ext cx="822096" cy="363255"/>
          </a:xfrm>
          <a:prstGeom prst="bentConnector2">
            <a:avLst/>
          </a:prstGeom>
          <a:noFill/>
          <a:ln w="19050" cap="flat" cmpd="sng" algn="ctr">
            <a:solidFill>
              <a:srgbClr val="F0493E"/>
            </a:solidFill>
            <a:prstDash val="solid"/>
            <a:headEnd type="none" w="lg" len="med"/>
            <a:tailEnd type="triangle"/>
          </a:ln>
          <a:effectLst/>
        </p:spPr>
      </p:cxnSp>
      <p:sp>
        <p:nvSpPr>
          <p:cNvPr id="354" name="TextBox 353">
            <a:extLst>
              <a:ext uri="{FF2B5EF4-FFF2-40B4-BE49-F238E27FC236}">
                <a16:creationId xmlns:a16="http://schemas.microsoft.com/office/drawing/2014/main" id="{7FBA439C-EF38-489D-B3C3-8CA6DEC6279F}"/>
              </a:ext>
            </a:extLst>
          </p:cNvPr>
          <p:cNvSpPr txBox="1"/>
          <p:nvPr/>
        </p:nvSpPr>
        <p:spPr>
          <a:xfrm>
            <a:off x="2627759" y="1127013"/>
            <a:ext cx="978049" cy="168266"/>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072" b="0" i="0" u="none" strike="noStrike" kern="0" cap="none" spc="0" normalizeH="0" baseline="0" noProof="0">
                <a:ln>
                  <a:noFill/>
                </a:ln>
                <a:gradFill>
                  <a:gsLst>
                    <a:gs pos="2917">
                      <a:srgbClr val="1A1A1A"/>
                    </a:gs>
                    <a:gs pos="30000">
                      <a:srgbClr val="1A1A1A"/>
                    </a:gs>
                  </a:gsLst>
                  <a:lin ang="5400000" scaled="0"/>
                </a:gradFill>
                <a:effectLst/>
                <a:uLnTx/>
                <a:uFillTx/>
              </a:rPr>
              <a:t>Read &amp; Write</a:t>
            </a:r>
          </a:p>
        </p:txBody>
      </p:sp>
      <p:sp>
        <p:nvSpPr>
          <p:cNvPr id="355" name="TextBox 354">
            <a:extLst>
              <a:ext uri="{FF2B5EF4-FFF2-40B4-BE49-F238E27FC236}">
                <a16:creationId xmlns:a16="http://schemas.microsoft.com/office/drawing/2014/main" id="{150267CB-8746-4C70-99A6-F404475EAED5}"/>
              </a:ext>
            </a:extLst>
          </p:cNvPr>
          <p:cNvSpPr txBox="1"/>
          <p:nvPr/>
        </p:nvSpPr>
        <p:spPr>
          <a:xfrm>
            <a:off x="3845111" y="1132754"/>
            <a:ext cx="865266" cy="168266"/>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072" b="0" i="0" u="none" strike="noStrike" kern="0" cap="none" spc="0" normalizeH="0" baseline="0" noProof="0">
                <a:ln>
                  <a:noFill/>
                </a:ln>
                <a:gradFill>
                  <a:gsLst>
                    <a:gs pos="2917">
                      <a:srgbClr val="1A1A1A"/>
                    </a:gs>
                    <a:gs pos="30000">
                      <a:srgbClr val="1A1A1A"/>
                    </a:gs>
                  </a:gsLst>
                  <a:lin ang="5400000" scaled="0"/>
                </a:gradFill>
                <a:effectLst/>
                <a:uLnTx/>
                <a:uFillTx/>
              </a:rPr>
              <a:t>Read Only</a:t>
            </a:r>
          </a:p>
        </p:txBody>
      </p:sp>
      <p:sp>
        <p:nvSpPr>
          <p:cNvPr id="356" name="Cylinder 513">
            <a:extLst>
              <a:ext uri="{FF2B5EF4-FFF2-40B4-BE49-F238E27FC236}">
                <a16:creationId xmlns:a16="http://schemas.microsoft.com/office/drawing/2014/main" id="{F7DED8CD-E34C-437E-A2F1-DBF36D5E2AB4}"/>
              </a:ext>
            </a:extLst>
          </p:cNvPr>
          <p:cNvSpPr/>
          <p:nvPr/>
        </p:nvSpPr>
        <p:spPr bwMode="auto">
          <a:xfrm>
            <a:off x="2563613" y="5157337"/>
            <a:ext cx="508905" cy="437463"/>
          </a:xfrm>
          <a:prstGeom prst="can">
            <a:avLst>
              <a:gd name="adj" fmla="val 39530"/>
            </a:avLst>
          </a:prstGeom>
          <a:no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05" fontAlgn="base">
              <a:lnSpc>
                <a:spcPct val="90000"/>
              </a:lnSpc>
              <a:spcBef>
                <a:spcPct val="0"/>
              </a:spcBef>
              <a:spcAft>
                <a:spcPct val="0"/>
              </a:spcAft>
              <a:defRPr/>
            </a:pPr>
            <a:endParaRPr lang="en-US" sz="714" kern="0">
              <a:solidFill>
                <a:srgbClr val="0078D7"/>
              </a:solidFill>
              <a:latin typeface="Segoe UI Semilight" panose="020B0402040204020203" pitchFamily="34" charset="0"/>
              <a:ea typeface="Segoe UI" pitchFamily="34" charset="0"/>
              <a:cs typeface="Segoe UI Semilight" panose="020B0402040204020203" pitchFamily="34" charset="0"/>
            </a:endParaRPr>
          </a:p>
        </p:txBody>
      </p:sp>
      <p:sp>
        <p:nvSpPr>
          <p:cNvPr id="357" name="Cylinder 513">
            <a:extLst>
              <a:ext uri="{FF2B5EF4-FFF2-40B4-BE49-F238E27FC236}">
                <a16:creationId xmlns:a16="http://schemas.microsoft.com/office/drawing/2014/main" id="{B2A50926-9EDF-4942-88EF-0F2AA59700D3}"/>
              </a:ext>
            </a:extLst>
          </p:cNvPr>
          <p:cNvSpPr/>
          <p:nvPr/>
        </p:nvSpPr>
        <p:spPr bwMode="auto">
          <a:xfrm>
            <a:off x="2678647" y="5271281"/>
            <a:ext cx="508905" cy="437463"/>
          </a:xfrm>
          <a:prstGeom prst="can">
            <a:avLst>
              <a:gd name="adj" fmla="val 39530"/>
            </a:avLst>
          </a:prstGeom>
          <a:solidFill>
            <a:srgbClr val="FFFFFF"/>
          </a:solid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05" fontAlgn="base">
              <a:lnSpc>
                <a:spcPct val="90000"/>
              </a:lnSpc>
              <a:spcBef>
                <a:spcPct val="0"/>
              </a:spcBef>
              <a:spcAft>
                <a:spcPct val="0"/>
              </a:spcAft>
              <a:defRPr/>
            </a:pPr>
            <a:r>
              <a:rPr lang="en-US" sz="714" kern="0">
                <a:solidFill>
                  <a:srgbClr val="3C3C41"/>
                </a:solidFill>
                <a:ea typeface="Segoe UI" panose="020B0502040204020203" pitchFamily="34" charset="0"/>
                <a:cs typeface="Segoe UI" panose="020B0502040204020203" pitchFamily="34" charset="0"/>
              </a:rPr>
              <a:t>Data Pages</a:t>
            </a:r>
          </a:p>
        </p:txBody>
      </p:sp>
      <p:sp>
        <p:nvSpPr>
          <p:cNvPr id="358" name="Cylinder 513">
            <a:extLst>
              <a:ext uri="{FF2B5EF4-FFF2-40B4-BE49-F238E27FC236}">
                <a16:creationId xmlns:a16="http://schemas.microsoft.com/office/drawing/2014/main" id="{1A8EE684-D7EF-4173-94E3-A121E84C7266}"/>
              </a:ext>
            </a:extLst>
          </p:cNvPr>
          <p:cNvSpPr/>
          <p:nvPr/>
        </p:nvSpPr>
        <p:spPr bwMode="auto">
          <a:xfrm>
            <a:off x="3494461" y="5158216"/>
            <a:ext cx="508905" cy="437462"/>
          </a:xfrm>
          <a:prstGeom prst="can">
            <a:avLst>
              <a:gd name="adj" fmla="val 39530"/>
            </a:avLst>
          </a:prstGeom>
          <a:no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05" fontAlgn="base">
              <a:lnSpc>
                <a:spcPct val="90000"/>
              </a:lnSpc>
              <a:spcBef>
                <a:spcPct val="0"/>
              </a:spcBef>
              <a:spcAft>
                <a:spcPct val="0"/>
              </a:spcAft>
              <a:defRPr/>
            </a:pPr>
            <a:endParaRPr lang="en-US" sz="714" kern="0">
              <a:solidFill>
                <a:srgbClr val="0078D7"/>
              </a:solidFill>
              <a:latin typeface="Segoe UI Semilight" panose="020B0402040204020203" pitchFamily="34" charset="0"/>
              <a:ea typeface="Segoe UI" pitchFamily="34" charset="0"/>
              <a:cs typeface="Segoe UI Semilight" panose="020B0402040204020203" pitchFamily="34" charset="0"/>
            </a:endParaRPr>
          </a:p>
        </p:txBody>
      </p:sp>
      <p:sp>
        <p:nvSpPr>
          <p:cNvPr id="359" name="Cylinder 513">
            <a:extLst>
              <a:ext uri="{FF2B5EF4-FFF2-40B4-BE49-F238E27FC236}">
                <a16:creationId xmlns:a16="http://schemas.microsoft.com/office/drawing/2014/main" id="{226CE834-296C-4DA5-A0B5-04B7B4CB204E}"/>
              </a:ext>
            </a:extLst>
          </p:cNvPr>
          <p:cNvSpPr/>
          <p:nvPr/>
        </p:nvSpPr>
        <p:spPr bwMode="auto">
          <a:xfrm>
            <a:off x="3609494" y="5272162"/>
            <a:ext cx="508905" cy="437462"/>
          </a:xfrm>
          <a:prstGeom prst="can">
            <a:avLst>
              <a:gd name="adj" fmla="val 39530"/>
            </a:avLst>
          </a:prstGeom>
          <a:solidFill>
            <a:srgbClr val="FFFFFF"/>
          </a:solid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05" fontAlgn="base">
              <a:lnSpc>
                <a:spcPct val="90000"/>
              </a:lnSpc>
              <a:spcBef>
                <a:spcPct val="0"/>
              </a:spcBef>
              <a:spcAft>
                <a:spcPct val="0"/>
              </a:spcAft>
              <a:defRPr/>
            </a:pPr>
            <a:r>
              <a:rPr lang="en-US" sz="714" kern="0">
                <a:solidFill>
                  <a:srgbClr val="3C3C41"/>
                </a:solidFill>
                <a:ea typeface="Segoe UI" panose="020B0502040204020203" pitchFamily="34" charset="0"/>
                <a:cs typeface="Segoe UI" panose="020B0502040204020203" pitchFamily="34" charset="0"/>
              </a:rPr>
              <a:t>Data Pages</a:t>
            </a:r>
          </a:p>
        </p:txBody>
      </p:sp>
      <p:sp>
        <p:nvSpPr>
          <p:cNvPr id="360" name="Cylinder 513">
            <a:extLst>
              <a:ext uri="{FF2B5EF4-FFF2-40B4-BE49-F238E27FC236}">
                <a16:creationId xmlns:a16="http://schemas.microsoft.com/office/drawing/2014/main" id="{910DF5A7-ADD6-4C13-900F-AC3F9C7F97A5}"/>
              </a:ext>
            </a:extLst>
          </p:cNvPr>
          <p:cNvSpPr/>
          <p:nvPr/>
        </p:nvSpPr>
        <p:spPr bwMode="auto">
          <a:xfrm>
            <a:off x="4695472" y="5158216"/>
            <a:ext cx="508905" cy="437462"/>
          </a:xfrm>
          <a:prstGeom prst="can">
            <a:avLst>
              <a:gd name="adj" fmla="val 39530"/>
            </a:avLst>
          </a:prstGeom>
          <a:no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05" fontAlgn="base">
              <a:lnSpc>
                <a:spcPct val="90000"/>
              </a:lnSpc>
              <a:spcBef>
                <a:spcPct val="0"/>
              </a:spcBef>
              <a:spcAft>
                <a:spcPct val="0"/>
              </a:spcAft>
              <a:defRPr/>
            </a:pPr>
            <a:endParaRPr lang="en-US" sz="714" kern="0">
              <a:solidFill>
                <a:srgbClr val="0078D7"/>
              </a:solidFill>
              <a:latin typeface="Segoe UI Semilight" panose="020B0402040204020203" pitchFamily="34" charset="0"/>
              <a:ea typeface="Segoe UI" pitchFamily="34" charset="0"/>
              <a:cs typeface="Segoe UI Semilight" panose="020B0402040204020203" pitchFamily="34" charset="0"/>
            </a:endParaRPr>
          </a:p>
        </p:txBody>
      </p:sp>
      <p:sp>
        <p:nvSpPr>
          <p:cNvPr id="361" name="Cylinder 513">
            <a:extLst>
              <a:ext uri="{FF2B5EF4-FFF2-40B4-BE49-F238E27FC236}">
                <a16:creationId xmlns:a16="http://schemas.microsoft.com/office/drawing/2014/main" id="{E6B954B7-901B-4A67-BE15-9B4B7FFF7670}"/>
              </a:ext>
            </a:extLst>
          </p:cNvPr>
          <p:cNvSpPr/>
          <p:nvPr/>
        </p:nvSpPr>
        <p:spPr bwMode="auto">
          <a:xfrm>
            <a:off x="4810505" y="5272162"/>
            <a:ext cx="508905" cy="437462"/>
          </a:xfrm>
          <a:prstGeom prst="can">
            <a:avLst>
              <a:gd name="adj" fmla="val 39530"/>
            </a:avLst>
          </a:prstGeom>
          <a:solidFill>
            <a:srgbClr val="FFFFFF"/>
          </a:solid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05" fontAlgn="base">
              <a:lnSpc>
                <a:spcPct val="90000"/>
              </a:lnSpc>
              <a:spcBef>
                <a:spcPct val="0"/>
              </a:spcBef>
              <a:spcAft>
                <a:spcPct val="0"/>
              </a:spcAft>
              <a:defRPr/>
            </a:pPr>
            <a:r>
              <a:rPr lang="en-US" sz="714" kern="0">
                <a:solidFill>
                  <a:srgbClr val="3C3C41"/>
                </a:solidFill>
                <a:ea typeface="Segoe UI" panose="020B0502040204020203" pitchFamily="34" charset="0"/>
                <a:cs typeface="Segoe UI" panose="020B0502040204020203" pitchFamily="34" charset="0"/>
              </a:rPr>
              <a:t>Data Pages</a:t>
            </a:r>
          </a:p>
        </p:txBody>
      </p:sp>
      <p:sp>
        <p:nvSpPr>
          <p:cNvPr id="362" name="TextBox 361">
            <a:extLst>
              <a:ext uri="{FF2B5EF4-FFF2-40B4-BE49-F238E27FC236}">
                <a16:creationId xmlns:a16="http://schemas.microsoft.com/office/drawing/2014/main" id="{5046C10E-B19C-4855-AEF1-D3D0CEE0A610}"/>
              </a:ext>
            </a:extLst>
          </p:cNvPr>
          <p:cNvSpPr txBox="1"/>
          <p:nvPr/>
        </p:nvSpPr>
        <p:spPr>
          <a:xfrm>
            <a:off x="4294708" y="5307480"/>
            <a:ext cx="265940" cy="256159"/>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gradFill>
                  <a:gsLst>
                    <a:gs pos="2917">
                      <a:srgbClr val="1A1A1A"/>
                    </a:gs>
                    <a:gs pos="30000">
                      <a:srgbClr val="1A1A1A"/>
                    </a:gs>
                  </a:gsLst>
                  <a:lin ang="5400000" scaled="0"/>
                </a:gradFill>
                <a:effectLst/>
                <a:uLnTx/>
                <a:uFillTx/>
              </a:rPr>
              <a:t>…..</a:t>
            </a:r>
          </a:p>
        </p:txBody>
      </p:sp>
      <p:sp>
        <p:nvSpPr>
          <p:cNvPr id="363" name="Flowchart: Predefined Process 362">
            <a:extLst>
              <a:ext uri="{FF2B5EF4-FFF2-40B4-BE49-F238E27FC236}">
                <a16:creationId xmlns:a16="http://schemas.microsoft.com/office/drawing/2014/main" id="{DF3E6239-215C-4CEC-A929-5355CF537DBF}"/>
              </a:ext>
            </a:extLst>
          </p:cNvPr>
          <p:cNvSpPr/>
          <p:nvPr/>
        </p:nvSpPr>
        <p:spPr bwMode="auto">
          <a:xfrm>
            <a:off x="2475418" y="5814475"/>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714" b="0" i="0" u="none" strike="noStrike" kern="0" cap="none" spc="0" normalizeH="0" baseline="0" noProof="0">
              <a:ln>
                <a:noFill/>
              </a:ln>
              <a:solidFill>
                <a:srgbClr val="1A1A1A"/>
              </a:solidFill>
              <a:effectLst/>
              <a:uLnTx/>
              <a:uFillTx/>
            </a:endParaRPr>
          </a:p>
        </p:txBody>
      </p:sp>
      <p:sp>
        <p:nvSpPr>
          <p:cNvPr id="364" name="Flowchart: Predefined Process 363">
            <a:extLst>
              <a:ext uri="{FF2B5EF4-FFF2-40B4-BE49-F238E27FC236}">
                <a16:creationId xmlns:a16="http://schemas.microsoft.com/office/drawing/2014/main" id="{629ABEF9-0409-4C03-A972-1E2AF193D937}"/>
              </a:ext>
            </a:extLst>
          </p:cNvPr>
          <p:cNvSpPr/>
          <p:nvPr/>
        </p:nvSpPr>
        <p:spPr bwMode="auto">
          <a:xfrm>
            <a:off x="2572253" y="5903917"/>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714" b="0" i="0" u="none" strike="noStrike" kern="0" cap="none" spc="0" normalizeH="0" baseline="0" noProof="0">
              <a:ln>
                <a:noFill/>
              </a:ln>
              <a:solidFill>
                <a:srgbClr val="1A1A1A"/>
              </a:solidFill>
              <a:effectLst/>
              <a:uLnTx/>
              <a:uFillTx/>
            </a:endParaRPr>
          </a:p>
        </p:txBody>
      </p:sp>
      <p:sp>
        <p:nvSpPr>
          <p:cNvPr id="365" name="Flowchart: Predefined Process 364">
            <a:extLst>
              <a:ext uri="{FF2B5EF4-FFF2-40B4-BE49-F238E27FC236}">
                <a16:creationId xmlns:a16="http://schemas.microsoft.com/office/drawing/2014/main" id="{B094B496-E2E7-4F67-BF8B-9C504D9C76F4}"/>
              </a:ext>
            </a:extLst>
          </p:cNvPr>
          <p:cNvSpPr/>
          <p:nvPr/>
        </p:nvSpPr>
        <p:spPr bwMode="auto">
          <a:xfrm>
            <a:off x="2669090" y="5993357"/>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714" b="0" i="0" u="none" strike="noStrike" kern="0" cap="none" spc="0" normalizeH="0" baseline="0" noProof="0">
                <a:ln>
                  <a:noFill/>
                </a:ln>
                <a:solidFill>
                  <a:srgbClr val="1A1A1A"/>
                </a:solidFill>
                <a:effectLst/>
                <a:uLnTx/>
                <a:uFillTx/>
              </a:rPr>
              <a:t>File Snapshots</a:t>
            </a:r>
          </a:p>
        </p:txBody>
      </p:sp>
      <p:sp>
        <p:nvSpPr>
          <p:cNvPr id="366" name="Flowchart: Predefined Process 365">
            <a:extLst>
              <a:ext uri="{FF2B5EF4-FFF2-40B4-BE49-F238E27FC236}">
                <a16:creationId xmlns:a16="http://schemas.microsoft.com/office/drawing/2014/main" id="{FEA6F030-4CB5-43DB-BC45-0BD93F1D9B28}"/>
              </a:ext>
            </a:extLst>
          </p:cNvPr>
          <p:cNvSpPr/>
          <p:nvPr/>
        </p:nvSpPr>
        <p:spPr bwMode="auto">
          <a:xfrm>
            <a:off x="3504761" y="5803224"/>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714" b="0" i="0" u="none" strike="noStrike" kern="0" cap="none" spc="0" normalizeH="0" baseline="0" noProof="0">
              <a:ln>
                <a:noFill/>
              </a:ln>
              <a:solidFill>
                <a:srgbClr val="1A1A1A"/>
              </a:solidFill>
              <a:effectLst/>
              <a:uLnTx/>
              <a:uFillTx/>
            </a:endParaRPr>
          </a:p>
        </p:txBody>
      </p:sp>
      <p:sp>
        <p:nvSpPr>
          <p:cNvPr id="367" name="Flowchart: Predefined Process 366">
            <a:extLst>
              <a:ext uri="{FF2B5EF4-FFF2-40B4-BE49-F238E27FC236}">
                <a16:creationId xmlns:a16="http://schemas.microsoft.com/office/drawing/2014/main" id="{28814FE0-1A1B-4ECA-BCE0-C76765AB92F7}"/>
              </a:ext>
            </a:extLst>
          </p:cNvPr>
          <p:cNvSpPr/>
          <p:nvPr/>
        </p:nvSpPr>
        <p:spPr bwMode="auto">
          <a:xfrm>
            <a:off x="3601596" y="5892664"/>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714" b="0" i="0" u="none" strike="noStrike" kern="0" cap="none" spc="0" normalizeH="0" baseline="0" noProof="0">
              <a:ln>
                <a:noFill/>
              </a:ln>
              <a:solidFill>
                <a:srgbClr val="1A1A1A"/>
              </a:solidFill>
              <a:effectLst/>
              <a:uLnTx/>
              <a:uFillTx/>
            </a:endParaRPr>
          </a:p>
        </p:txBody>
      </p:sp>
      <p:sp>
        <p:nvSpPr>
          <p:cNvPr id="368" name="Flowchart: Predefined Process 367">
            <a:extLst>
              <a:ext uri="{FF2B5EF4-FFF2-40B4-BE49-F238E27FC236}">
                <a16:creationId xmlns:a16="http://schemas.microsoft.com/office/drawing/2014/main" id="{3F04A083-39CE-4A8C-8EDE-5A8D8B4A26FC}"/>
              </a:ext>
            </a:extLst>
          </p:cNvPr>
          <p:cNvSpPr/>
          <p:nvPr/>
        </p:nvSpPr>
        <p:spPr bwMode="auto">
          <a:xfrm>
            <a:off x="3698434" y="5982103"/>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714" b="0" i="0" u="none" strike="noStrike" kern="0" cap="none" spc="0" normalizeH="0" baseline="0" noProof="0">
                <a:ln>
                  <a:noFill/>
                </a:ln>
                <a:solidFill>
                  <a:srgbClr val="1A1A1A"/>
                </a:solidFill>
                <a:effectLst/>
                <a:uLnTx/>
                <a:uFillTx/>
              </a:rPr>
              <a:t>File Snapshots</a:t>
            </a:r>
          </a:p>
        </p:txBody>
      </p:sp>
      <p:sp>
        <p:nvSpPr>
          <p:cNvPr id="369" name="Flowchart: Predefined Process 368">
            <a:extLst>
              <a:ext uri="{FF2B5EF4-FFF2-40B4-BE49-F238E27FC236}">
                <a16:creationId xmlns:a16="http://schemas.microsoft.com/office/drawing/2014/main" id="{585B9A87-58A5-42C1-9984-438D88A04E48}"/>
              </a:ext>
            </a:extLst>
          </p:cNvPr>
          <p:cNvSpPr/>
          <p:nvPr/>
        </p:nvSpPr>
        <p:spPr bwMode="auto">
          <a:xfrm>
            <a:off x="4534105" y="5789165"/>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714" b="0" i="0" u="none" strike="noStrike" kern="0" cap="none" spc="0" normalizeH="0" baseline="0" noProof="0">
              <a:ln>
                <a:noFill/>
              </a:ln>
              <a:solidFill>
                <a:srgbClr val="1A1A1A"/>
              </a:solidFill>
              <a:effectLst/>
              <a:uLnTx/>
              <a:uFillTx/>
            </a:endParaRPr>
          </a:p>
        </p:txBody>
      </p:sp>
      <p:sp>
        <p:nvSpPr>
          <p:cNvPr id="370" name="Flowchart: Predefined Process 369">
            <a:extLst>
              <a:ext uri="{FF2B5EF4-FFF2-40B4-BE49-F238E27FC236}">
                <a16:creationId xmlns:a16="http://schemas.microsoft.com/office/drawing/2014/main" id="{B6AC4FDD-D3CC-476A-9C55-DF2CFF2D912A}"/>
              </a:ext>
            </a:extLst>
          </p:cNvPr>
          <p:cNvSpPr/>
          <p:nvPr/>
        </p:nvSpPr>
        <p:spPr bwMode="auto">
          <a:xfrm>
            <a:off x="4630940" y="5878606"/>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714" b="0" i="0" u="none" strike="noStrike" kern="0" cap="none" spc="0" normalizeH="0" baseline="0" noProof="0">
              <a:ln>
                <a:noFill/>
              </a:ln>
              <a:solidFill>
                <a:srgbClr val="1A1A1A"/>
              </a:solidFill>
              <a:effectLst/>
              <a:uLnTx/>
              <a:uFillTx/>
            </a:endParaRPr>
          </a:p>
        </p:txBody>
      </p:sp>
      <p:sp>
        <p:nvSpPr>
          <p:cNvPr id="371" name="Flowchart: Predefined Process 370">
            <a:extLst>
              <a:ext uri="{FF2B5EF4-FFF2-40B4-BE49-F238E27FC236}">
                <a16:creationId xmlns:a16="http://schemas.microsoft.com/office/drawing/2014/main" id="{CD42C733-BE35-411C-9F9D-5410B6665331}"/>
              </a:ext>
            </a:extLst>
          </p:cNvPr>
          <p:cNvSpPr/>
          <p:nvPr/>
        </p:nvSpPr>
        <p:spPr bwMode="auto">
          <a:xfrm>
            <a:off x="4727777" y="5968045"/>
            <a:ext cx="801109" cy="118191"/>
          </a:xfrm>
          <a:prstGeom prst="flowChartPredefinedProcess">
            <a:avLst/>
          </a:prstGeom>
          <a:solidFill>
            <a:srgbClr val="FFFFFF"/>
          </a:solidFill>
          <a:ln w="2540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714" b="0" i="0" u="none" strike="noStrike" kern="0" cap="none" spc="0" normalizeH="0" baseline="0" noProof="0">
                <a:ln>
                  <a:noFill/>
                </a:ln>
                <a:solidFill>
                  <a:srgbClr val="1A1A1A"/>
                </a:solidFill>
                <a:effectLst/>
                <a:uLnTx/>
                <a:uFillTx/>
              </a:rPr>
              <a:t>File Snapshots</a:t>
            </a:r>
          </a:p>
        </p:txBody>
      </p:sp>
      <p:sp>
        <p:nvSpPr>
          <p:cNvPr id="372" name="TextBox 371">
            <a:extLst>
              <a:ext uri="{FF2B5EF4-FFF2-40B4-BE49-F238E27FC236}">
                <a16:creationId xmlns:a16="http://schemas.microsoft.com/office/drawing/2014/main" id="{167B7F50-1281-45E5-BAEC-30445A01C8B0}"/>
              </a:ext>
            </a:extLst>
          </p:cNvPr>
          <p:cNvSpPr txBox="1"/>
          <p:nvPr/>
        </p:nvSpPr>
        <p:spPr>
          <a:xfrm>
            <a:off x="3269501" y="6137920"/>
            <a:ext cx="1316544" cy="168070"/>
          </a:xfrm>
          <a:prstGeom prst="rect">
            <a:avLst/>
          </a:prstGeom>
          <a:noFill/>
        </p:spPr>
        <p:txBody>
          <a:bodyPr wrap="square" lIns="0" tIns="0" rIns="0" bIns="0" rtlCol="0">
            <a:spAutoFit/>
          </a:body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gradFill>
                  <a:gsLst>
                    <a:gs pos="2917">
                      <a:srgbClr val="1A1A1A"/>
                    </a:gs>
                    <a:gs pos="30000">
                      <a:srgbClr val="1A1A1A"/>
                    </a:gs>
                  </a:gsLst>
                  <a:lin ang="5400000" scaled="0"/>
                </a:gradFill>
                <a:effectLst/>
                <a:uLnTx/>
                <a:uFillTx/>
              </a:rPr>
              <a:t>Azure Storage</a:t>
            </a:r>
          </a:p>
        </p:txBody>
      </p:sp>
      <p:cxnSp>
        <p:nvCxnSpPr>
          <p:cNvPr id="373" name="Straight Arrow Connector 372">
            <a:extLst>
              <a:ext uri="{FF2B5EF4-FFF2-40B4-BE49-F238E27FC236}">
                <a16:creationId xmlns:a16="http://schemas.microsoft.com/office/drawing/2014/main" id="{ABDC092F-2D4F-4FF1-8C3E-1AC8948F4C5A}"/>
              </a:ext>
            </a:extLst>
          </p:cNvPr>
          <p:cNvCxnSpPr>
            <a:cxnSpLocks/>
          </p:cNvCxnSpPr>
          <p:nvPr/>
        </p:nvCxnSpPr>
        <p:spPr>
          <a:xfrm flipV="1">
            <a:off x="2475418" y="2839380"/>
            <a:ext cx="0" cy="652503"/>
          </a:xfrm>
          <a:prstGeom prst="straightConnector1">
            <a:avLst/>
          </a:prstGeom>
          <a:noFill/>
          <a:ln w="28575" cap="flat" cmpd="sng" algn="ctr">
            <a:solidFill>
              <a:srgbClr val="C00000"/>
            </a:solidFill>
            <a:prstDash val="solid"/>
            <a:headEnd type="none" w="lg" len="med"/>
            <a:tailEnd type="triangle"/>
          </a:ln>
          <a:effectLst/>
        </p:spPr>
      </p:cxnSp>
      <p:sp>
        <p:nvSpPr>
          <p:cNvPr id="374" name="Rectangle 373">
            <a:extLst>
              <a:ext uri="{FF2B5EF4-FFF2-40B4-BE49-F238E27FC236}">
                <a16:creationId xmlns:a16="http://schemas.microsoft.com/office/drawing/2014/main" id="{13CA329A-8905-4C55-8FB6-02850378C947}"/>
              </a:ext>
            </a:extLst>
          </p:cNvPr>
          <p:cNvSpPr/>
          <p:nvPr/>
        </p:nvSpPr>
        <p:spPr bwMode="auto">
          <a:xfrm>
            <a:off x="6791548" y="2569886"/>
            <a:ext cx="3275191" cy="1548688"/>
          </a:xfrm>
          <a:prstGeom prst="rect">
            <a:avLst/>
          </a:prstGeom>
          <a:noFill/>
          <a:ln w="19050" cap="flat" cmpd="sng" algn="ctr">
            <a:solidFill>
              <a:srgbClr val="50E6FF">
                <a:lumMod val="75000"/>
              </a:srgbClr>
            </a:solidFill>
            <a:prstDash val="sysDot"/>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375" name="Rectangle 374">
            <a:extLst>
              <a:ext uri="{FF2B5EF4-FFF2-40B4-BE49-F238E27FC236}">
                <a16:creationId xmlns:a16="http://schemas.microsoft.com/office/drawing/2014/main" id="{CFD46862-752F-4CBE-8F38-0081BFD900F1}"/>
              </a:ext>
            </a:extLst>
          </p:cNvPr>
          <p:cNvSpPr/>
          <p:nvPr/>
        </p:nvSpPr>
        <p:spPr bwMode="auto">
          <a:xfrm>
            <a:off x="9077234" y="2635657"/>
            <a:ext cx="887167" cy="1054902"/>
          </a:xfrm>
          <a:prstGeom prst="rect">
            <a:avLst/>
          </a:prstGeom>
          <a:solidFill>
            <a:srgbClr val="E6E6E6"/>
          </a:solidFill>
          <a:ln w="22225"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376" name="Rectangle 375">
            <a:extLst>
              <a:ext uri="{FF2B5EF4-FFF2-40B4-BE49-F238E27FC236}">
                <a16:creationId xmlns:a16="http://schemas.microsoft.com/office/drawing/2014/main" id="{C825506E-E173-4ECC-9506-EE80B79A6C7D}"/>
              </a:ext>
            </a:extLst>
          </p:cNvPr>
          <p:cNvSpPr/>
          <p:nvPr/>
        </p:nvSpPr>
        <p:spPr bwMode="auto">
          <a:xfrm>
            <a:off x="9090470" y="3310096"/>
            <a:ext cx="864601" cy="297804"/>
          </a:xfrm>
          <a:prstGeom prst="rect">
            <a:avLst/>
          </a:prstGeom>
          <a:solidFill>
            <a:srgbClr val="50E6FF">
              <a:lumMod val="60000"/>
              <a:lumOff val="40000"/>
            </a:srgbClr>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1020" b="0" i="0" u="none" strike="noStrike" kern="0" cap="none" spc="0" normalizeH="0" baseline="0" noProof="0">
                <a:ln>
                  <a:noFill/>
                </a:ln>
                <a:solidFill>
                  <a:srgbClr val="1A1A1A"/>
                </a:solidFill>
                <a:effectLst/>
                <a:uLnTx/>
                <a:uFillTx/>
              </a:rPr>
              <a:t>Log Cache</a:t>
            </a:r>
          </a:p>
        </p:txBody>
      </p:sp>
      <p:sp>
        <p:nvSpPr>
          <p:cNvPr id="377" name="Rectangle 376">
            <a:extLst>
              <a:ext uri="{FF2B5EF4-FFF2-40B4-BE49-F238E27FC236}">
                <a16:creationId xmlns:a16="http://schemas.microsoft.com/office/drawing/2014/main" id="{D81CA054-01F9-4491-BA25-57F400E9C932}"/>
              </a:ext>
            </a:extLst>
          </p:cNvPr>
          <p:cNvSpPr/>
          <p:nvPr/>
        </p:nvSpPr>
        <p:spPr bwMode="auto">
          <a:xfrm>
            <a:off x="9077233" y="2649658"/>
            <a:ext cx="860235" cy="297804"/>
          </a:xfrm>
          <a:prstGeom prst="rect">
            <a:avLst/>
          </a:prstGeom>
          <a:no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1020" b="0" i="0" u="none" strike="noStrike" kern="0" cap="none" spc="0" normalizeH="0" baseline="0" noProof="0">
                <a:ln>
                  <a:noFill/>
                </a:ln>
                <a:solidFill>
                  <a:srgbClr val="1A1A1A"/>
                </a:solidFill>
                <a:effectLst/>
                <a:uLnTx/>
                <a:uFillTx/>
              </a:rPr>
              <a:t>Log Service</a:t>
            </a:r>
          </a:p>
        </p:txBody>
      </p:sp>
      <p:cxnSp>
        <p:nvCxnSpPr>
          <p:cNvPr id="378" name="Connector: Elbow 377">
            <a:extLst>
              <a:ext uri="{FF2B5EF4-FFF2-40B4-BE49-F238E27FC236}">
                <a16:creationId xmlns:a16="http://schemas.microsoft.com/office/drawing/2014/main" id="{02ACA5C1-C7E3-4A12-97B3-3C0E2055A24A}"/>
              </a:ext>
            </a:extLst>
          </p:cNvPr>
          <p:cNvCxnSpPr>
            <a:cxnSpLocks/>
            <a:stCxn id="377" idx="0"/>
            <a:endCxn id="349" idx="3"/>
          </p:cNvCxnSpPr>
          <p:nvPr/>
        </p:nvCxnSpPr>
        <p:spPr>
          <a:xfrm rot="16200000" flipV="1">
            <a:off x="7625566" y="767873"/>
            <a:ext cx="352219" cy="3411351"/>
          </a:xfrm>
          <a:prstGeom prst="bentConnector2">
            <a:avLst/>
          </a:prstGeom>
          <a:noFill/>
          <a:ln w="28575" cap="flat" cmpd="sng" algn="ctr">
            <a:solidFill>
              <a:srgbClr val="0279D8"/>
            </a:solidFill>
            <a:prstDash val="solid"/>
            <a:headEnd type="none" w="lg" len="med"/>
            <a:tailEnd type="triangle"/>
          </a:ln>
          <a:effectLst/>
        </p:spPr>
      </p:cxnSp>
      <p:sp>
        <p:nvSpPr>
          <p:cNvPr id="379" name="Scroll: Horizontal 378">
            <a:extLst>
              <a:ext uri="{FF2B5EF4-FFF2-40B4-BE49-F238E27FC236}">
                <a16:creationId xmlns:a16="http://schemas.microsoft.com/office/drawing/2014/main" id="{F10AE322-9F58-477C-9784-129BEFDD514A}"/>
              </a:ext>
            </a:extLst>
          </p:cNvPr>
          <p:cNvSpPr/>
          <p:nvPr/>
        </p:nvSpPr>
        <p:spPr bwMode="auto">
          <a:xfrm>
            <a:off x="6978673" y="2791160"/>
            <a:ext cx="1403014" cy="408725"/>
          </a:xfrm>
          <a:prstGeom prst="horizontalScroll">
            <a:avLst/>
          </a:prstGeom>
          <a:solidFill>
            <a:srgbClr val="E6E6E6"/>
          </a:solidFill>
          <a:ln w="22225"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816" b="0" i="0" u="none" strike="noStrike" kern="0" cap="none" spc="0" normalizeH="0" baseline="0" noProof="0">
                <a:ln>
                  <a:noFill/>
                </a:ln>
                <a:solidFill>
                  <a:srgbClr val="1A1A1A"/>
                </a:solidFill>
                <a:effectLst/>
                <a:uLnTx/>
                <a:uFillTx/>
              </a:rPr>
              <a:t>Landing Zone</a:t>
            </a:r>
          </a:p>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816" b="0" i="0" u="none" strike="noStrike" kern="0" cap="none" spc="0" normalizeH="0" baseline="0" noProof="0">
                <a:ln>
                  <a:noFill/>
                </a:ln>
                <a:solidFill>
                  <a:srgbClr val="1A1A1A"/>
                </a:solidFill>
                <a:effectLst/>
                <a:uLnTx/>
                <a:uFillTx/>
              </a:rPr>
              <a:t>(Azure Premium Storage)</a:t>
            </a:r>
          </a:p>
        </p:txBody>
      </p:sp>
      <p:sp>
        <p:nvSpPr>
          <p:cNvPr id="380" name="Scroll: Horizontal 379">
            <a:extLst>
              <a:ext uri="{FF2B5EF4-FFF2-40B4-BE49-F238E27FC236}">
                <a16:creationId xmlns:a16="http://schemas.microsoft.com/office/drawing/2014/main" id="{EAB19045-0C11-48BE-A021-AABB2F9549DE}"/>
              </a:ext>
            </a:extLst>
          </p:cNvPr>
          <p:cNvSpPr/>
          <p:nvPr/>
        </p:nvSpPr>
        <p:spPr bwMode="auto">
          <a:xfrm>
            <a:off x="6978672" y="3492716"/>
            <a:ext cx="1403013" cy="408725"/>
          </a:xfrm>
          <a:prstGeom prst="horizontalScroll">
            <a:avLst/>
          </a:prstGeom>
          <a:solidFill>
            <a:srgbClr val="E6E6E6"/>
          </a:solidFill>
          <a:ln w="22225"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816" b="0" i="0" u="none" strike="noStrike" kern="0" cap="none" spc="0" normalizeH="0" baseline="0" noProof="0">
                <a:ln>
                  <a:noFill/>
                </a:ln>
                <a:solidFill>
                  <a:srgbClr val="1A1A1A"/>
                </a:solidFill>
                <a:effectLst/>
                <a:uLnTx/>
                <a:uFillTx/>
              </a:rPr>
              <a:t>Long Term Storage for PITR</a:t>
            </a:r>
          </a:p>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816" b="0" i="0" u="none" strike="noStrike" kern="0" cap="none" spc="0" normalizeH="0" baseline="0" noProof="0">
                <a:ln>
                  <a:noFill/>
                </a:ln>
                <a:solidFill>
                  <a:srgbClr val="1A1A1A"/>
                </a:solidFill>
                <a:effectLst/>
                <a:uLnTx/>
                <a:uFillTx/>
              </a:rPr>
              <a:t>(Azure Standard Storage)</a:t>
            </a:r>
          </a:p>
        </p:txBody>
      </p:sp>
      <p:cxnSp>
        <p:nvCxnSpPr>
          <p:cNvPr id="381" name="Straight Arrow Connector 380">
            <a:extLst>
              <a:ext uri="{FF2B5EF4-FFF2-40B4-BE49-F238E27FC236}">
                <a16:creationId xmlns:a16="http://schemas.microsoft.com/office/drawing/2014/main" id="{63EDA449-3A35-4604-9DB3-4E80A9911614}"/>
              </a:ext>
            </a:extLst>
          </p:cNvPr>
          <p:cNvCxnSpPr>
            <a:cxnSpLocks/>
          </p:cNvCxnSpPr>
          <p:nvPr/>
        </p:nvCxnSpPr>
        <p:spPr>
          <a:xfrm flipH="1">
            <a:off x="8402473" y="3690557"/>
            <a:ext cx="674762" cy="0"/>
          </a:xfrm>
          <a:prstGeom prst="straightConnector1">
            <a:avLst/>
          </a:prstGeom>
          <a:noFill/>
          <a:ln w="28575" cap="flat" cmpd="sng" algn="ctr">
            <a:solidFill>
              <a:srgbClr val="000000">
                <a:lumMod val="50000"/>
                <a:lumOff val="50000"/>
              </a:srgbClr>
            </a:solidFill>
            <a:prstDash val="solid"/>
            <a:headEnd type="none" w="lg" len="med"/>
            <a:tailEnd type="triangle"/>
          </a:ln>
          <a:effectLst/>
        </p:spPr>
      </p:cxnSp>
      <p:cxnSp>
        <p:nvCxnSpPr>
          <p:cNvPr id="382" name="Connector: Elbow 381">
            <a:extLst>
              <a:ext uri="{FF2B5EF4-FFF2-40B4-BE49-F238E27FC236}">
                <a16:creationId xmlns:a16="http://schemas.microsoft.com/office/drawing/2014/main" id="{6432E6ED-C9E9-4333-A0DA-0772A412A03B}"/>
              </a:ext>
            </a:extLst>
          </p:cNvPr>
          <p:cNvCxnSpPr>
            <a:cxnSpLocks/>
          </p:cNvCxnSpPr>
          <p:nvPr/>
        </p:nvCxnSpPr>
        <p:spPr>
          <a:xfrm rot="16200000" flipH="1">
            <a:off x="4693847" y="768662"/>
            <a:ext cx="265671" cy="4277442"/>
          </a:xfrm>
          <a:prstGeom prst="bentConnector2">
            <a:avLst/>
          </a:prstGeom>
          <a:noFill/>
          <a:ln w="28575" cap="flat" cmpd="sng" algn="ctr">
            <a:solidFill>
              <a:srgbClr val="0279D8"/>
            </a:solidFill>
            <a:prstDash val="solid"/>
            <a:headEnd type="none" w="lg" len="med"/>
            <a:tailEnd type="triangle"/>
          </a:ln>
          <a:effectLst/>
        </p:spPr>
      </p:cxnSp>
      <p:cxnSp>
        <p:nvCxnSpPr>
          <p:cNvPr id="383" name="Straight Arrow Connector 382">
            <a:extLst>
              <a:ext uri="{FF2B5EF4-FFF2-40B4-BE49-F238E27FC236}">
                <a16:creationId xmlns:a16="http://schemas.microsoft.com/office/drawing/2014/main" id="{BCD026D3-2B3F-4593-8DE8-5997D15259F0}"/>
              </a:ext>
            </a:extLst>
          </p:cNvPr>
          <p:cNvCxnSpPr>
            <a:cxnSpLocks/>
          </p:cNvCxnSpPr>
          <p:nvPr/>
        </p:nvCxnSpPr>
        <p:spPr>
          <a:xfrm>
            <a:off x="8381687" y="2992840"/>
            <a:ext cx="695547" cy="0"/>
          </a:xfrm>
          <a:prstGeom prst="straightConnector1">
            <a:avLst/>
          </a:prstGeom>
          <a:noFill/>
          <a:ln w="28575" cap="flat" cmpd="sng" algn="ctr">
            <a:solidFill>
              <a:srgbClr val="000000">
                <a:lumMod val="50000"/>
                <a:lumOff val="50000"/>
              </a:srgbClr>
            </a:solidFill>
            <a:prstDash val="solid"/>
            <a:headEnd type="none" w="lg" len="med"/>
            <a:tailEnd type="triangle"/>
          </a:ln>
          <a:effectLst/>
        </p:spPr>
      </p:cxnSp>
      <p:sp>
        <p:nvSpPr>
          <p:cNvPr id="384" name="TextBox 383">
            <a:extLst>
              <a:ext uri="{FF2B5EF4-FFF2-40B4-BE49-F238E27FC236}">
                <a16:creationId xmlns:a16="http://schemas.microsoft.com/office/drawing/2014/main" id="{63866A60-0805-4A7B-9FE8-7E359BA4E74E}"/>
              </a:ext>
            </a:extLst>
          </p:cNvPr>
          <p:cNvSpPr txBox="1"/>
          <p:nvPr/>
        </p:nvSpPr>
        <p:spPr>
          <a:xfrm>
            <a:off x="8520146" y="3312382"/>
            <a:ext cx="653977" cy="288137"/>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gradFill>
                  <a:gsLst>
                    <a:gs pos="2917">
                      <a:srgbClr val="1A1A1A"/>
                    </a:gs>
                    <a:gs pos="30000">
                      <a:srgbClr val="1A1A1A"/>
                    </a:gs>
                  </a:gsLst>
                  <a:lin ang="5400000" scaled="0"/>
                </a:gradFill>
                <a:effectLst/>
                <a:uLnTx/>
                <a:uFillTx/>
              </a:rPr>
              <a:t>Log Destaging</a:t>
            </a:r>
          </a:p>
        </p:txBody>
      </p:sp>
      <p:sp>
        <p:nvSpPr>
          <p:cNvPr id="385" name="TextBox 384">
            <a:extLst>
              <a:ext uri="{FF2B5EF4-FFF2-40B4-BE49-F238E27FC236}">
                <a16:creationId xmlns:a16="http://schemas.microsoft.com/office/drawing/2014/main" id="{D78D850D-8913-487F-AADC-3504D7E59CFE}"/>
              </a:ext>
            </a:extLst>
          </p:cNvPr>
          <p:cNvSpPr txBox="1"/>
          <p:nvPr/>
        </p:nvSpPr>
        <p:spPr>
          <a:xfrm>
            <a:off x="8568654" y="3801203"/>
            <a:ext cx="437556" cy="168070"/>
          </a:xfrm>
          <a:prstGeom prst="rect">
            <a:avLst/>
          </a:prstGeom>
          <a:noFill/>
        </p:spPr>
        <p:txBody>
          <a:bodyPr wrap="square" lIns="0" tIns="0" rIns="0" bIns="0" rtlCol="0">
            <a:spAutoFit/>
          </a:bodyPr>
          <a:lstStyle>
            <a:defPPr>
              <a:defRPr lang="en-US"/>
            </a:defPPr>
            <a:lvl1pPr algn="ctr" defTabSz="914344">
              <a:defRPr sz="1050" kern="0">
                <a:gradFill>
                  <a:gsLst>
                    <a:gs pos="2917">
                      <a:srgbClr val="1A1A1A"/>
                    </a:gs>
                    <a:gs pos="30000">
                      <a:srgbClr val="1A1A1A"/>
                    </a:gs>
                  </a:gsLst>
                  <a:lin ang="5400000" scaled="0"/>
                </a:gradFill>
                <a:latin typeface="Segoe UI"/>
              </a:defRPr>
            </a:lvl1pPr>
          </a:lstStyle>
          <a:p>
            <a:pPr marL="0" marR="0" lvl="0" indent="0" algn="l" defTabSz="932539"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gradFill>
                  <a:gsLst>
                    <a:gs pos="2917">
                      <a:srgbClr val="1A1A1A"/>
                    </a:gs>
                    <a:gs pos="30000">
                      <a:srgbClr val="1A1A1A"/>
                    </a:gs>
                  </a:gsLst>
                  <a:lin ang="5400000" scaled="0"/>
                </a:gradFill>
                <a:effectLst/>
                <a:uLnTx/>
                <a:uFillTx/>
                <a:latin typeface="Segoe UI"/>
              </a:rPr>
              <a:t>Log</a:t>
            </a:r>
          </a:p>
        </p:txBody>
      </p:sp>
      <p:grpSp>
        <p:nvGrpSpPr>
          <p:cNvPr id="3" name="Group 2">
            <a:extLst>
              <a:ext uri="{FF2B5EF4-FFF2-40B4-BE49-F238E27FC236}">
                <a16:creationId xmlns:a16="http://schemas.microsoft.com/office/drawing/2014/main" id="{2B683FF6-B279-4791-8CAF-F63ACED1540E}"/>
              </a:ext>
            </a:extLst>
          </p:cNvPr>
          <p:cNvGrpSpPr/>
          <p:nvPr/>
        </p:nvGrpSpPr>
        <p:grpSpPr>
          <a:xfrm>
            <a:off x="7580841" y="4729684"/>
            <a:ext cx="3040775" cy="1233328"/>
            <a:chOff x="8489491" y="4938872"/>
            <a:chExt cx="3040775" cy="1233328"/>
          </a:xfrm>
        </p:grpSpPr>
        <p:sp>
          <p:nvSpPr>
            <p:cNvPr id="386" name="Rectangle 385">
              <a:extLst>
                <a:ext uri="{FF2B5EF4-FFF2-40B4-BE49-F238E27FC236}">
                  <a16:creationId xmlns:a16="http://schemas.microsoft.com/office/drawing/2014/main" id="{88E9D3B6-B875-4980-88B7-D725F8C63B3A}"/>
                </a:ext>
              </a:extLst>
            </p:cNvPr>
            <p:cNvSpPr/>
            <p:nvPr/>
          </p:nvSpPr>
          <p:spPr bwMode="auto">
            <a:xfrm>
              <a:off x="8489491" y="4938872"/>
              <a:ext cx="2997654" cy="1233328"/>
            </a:xfrm>
            <a:prstGeom prst="rect">
              <a:avLst/>
            </a:prstGeom>
            <a:noFill/>
            <a:ln w="19050" cap="flat" cmpd="sng" algn="ctr">
              <a:solidFill>
                <a:srgbClr val="0078D3"/>
              </a:solidFill>
              <a:prstDash val="dash"/>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387" name="Rectangle 386">
              <a:extLst>
                <a:ext uri="{FF2B5EF4-FFF2-40B4-BE49-F238E27FC236}">
                  <a16:creationId xmlns:a16="http://schemas.microsoft.com/office/drawing/2014/main" id="{EC1C9171-95EF-4899-9E53-B743CF9810F9}"/>
                </a:ext>
              </a:extLst>
            </p:cNvPr>
            <p:cNvSpPr/>
            <p:nvPr/>
          </p:nvSpPr>
          <p:spPr bwMode="auto">
            <a:xfrm>
              <a:off x="8654402" y="5027481"/>
              <a:ext cx="552337" cy="231291"/>
            </a:xfrm>
            <a:prstGeom prst="rect">
              <a:avLst/>
            </a:prstGeom>
            <a:solidFill>
              <a:srgbClr val="50E6FF">
                <a:lumMod val="60000"/>
                <a:lumOff val="40000"/>
              </a:srgbClr>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224" b="0" i="0" u="none" strike="noStrike" kern="0" cap="none" spc="0" normalizeH="0" baseline="0" noProof="0">
                <a:ln>
                  <a:noFill/>
                </a:ln>
                <a:solidFill>
                  <a:srgbClr val="1A1A1A"/>
                </a:solidFill>
                <a:effectLst/>
                <a:uLnTx/>
                <a:uFillTx/>
              </a:endParaRPr>
            </a:p>
          </p:txBody>
        </p:sp>
        <p:sp>
          <p:nvSpPr>
            <p:cNvPr id="388" name="TextBox 387">
              <a:extLst>
                <a:ext uri="{FF2B5EF4-FFF2-40B4-BE49-F238E27FC236}">
                  <a16:creationId xmlns:a16="http://schemas.microsoft.com/office/drawing/2014/main" id="{94924F2F-B9FB-40B0-9A45-B3D99D58C631}"/>
                </a:ext>
              </a:extLst>
            </p:cNvPr>
            <p:cNvSpPr txBox="1"/>
            <p:nvPr/>
          </p:nvSpPr>
          <p:spPr>
            <a:xfrm>
              <a:off x="9364446" y="5047252"/>
              <a:ext cx="1886830" cy="192135"/>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2917">
                        <a:srgbClr val="1A1A1A"/>
                      </a:gs>
                      <a:gs pos="30000">
                        <a:srgbClr val="1A1A1A"/>
                      </a:gs>
                    </a:gsLst>
                    <a:lin ang="5400000" scaled="0"/>
                  </a:gradFill>
                  <a:effectLst/>
                  <a:uLnTx/>
                  <a:uFillTx/>
                </a:rPr>
                <a:t>Local SSD Cache</a:t>
              </a:r>
            </a:p>
          </p:txBody>
        </p:sp>
        <p:sp>
          <p:nvSpPr>
            <p:cNvPr id="389" name="TextBox 388">
              <a:extLst>
                <a:ext uri="{FF2B5EF4-FFF2-40B4-BE49-F238E27FC236}">
                  <a16:creationId xmlns:a16="http://schemas.microsoft.com/office/drawing/2014/main" id="{BBF79207-EF24-4AE6-9487-D12C512F7BD5}"/>
                </a:ext>
              </a:extLst>
            </p:cNvPr>
            <p:cNvSpPr txBox="1"/>
            <p:nvPr/>
          </p:nvSpPr>
          <p:spPr>
            <a:xfrm>
              <a:off x="8661558" y="5355074"/>
              <a:ext cx="552337" cy="224114"/>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2917">
                        <a:srgbClr val="1A1A1A"/>
                      </a:gs>
                      <a:gs pos="30000">
                        <a:srgbClr val="1A1A1A"/>
                      </a:gs>
                    </a:gsLst>
                    <a:lin ang="5400000" scaled="0"/>
                  </a:gradFill>
                  <a:effectLst/>
                  <a:uLnTx/>
                  <a:uFillTx/>
                </a:rPr>
                <a:t>RBPEX</a:t>
              </a:r>
              <a:endParaRPr kumimoji="0" lang="en-US" sz="1224" b="0" i="0" u="none" strike="noStrike" kern="0" cap="none" spc="0" normalizeH="0" baseline="0" noProof="0">
                <a:ln>
                  <a:noFill/>
                </a:ln>
                <a:gradFill>
                  <a:gsLst>
                    <a:gs pos="2917">
                      <a:srgbClr val="1A1A1A"/>
                    </a:gs>
                    <a:gs pos="30000">
                      <a:srgbClr val="1A1A1A"/>
                    </a:gs>
                  </a:gsLst>
                  <a:lin ang="5400000" scaled="0"/>
                </a:gradFill>
                <a:effectLst/>
                <a:uLnTx/>
                <a:uFillTx/>
              </a:endParaRPr>
            </a:p>
          </p:txBody>
        </p:sp>
        <p:cxnSp>
          <p:nvCxnSpPr>
            <p:cNvPr id="390" name="Straight Arrow Connector 389">
              <a:extLst>
                <a:ext uri="{FF2B5EF4-FFF2-40B4-BE49-F238E27FC236}">
                  <a16:creationId xmlns:a16="http://schemas.microsoft.com/office/drawing/2014/main" id="{A33FB4D5-D8AD-4D1F-AA55-72263227CC2D}"/>
                </a:ext>
              </a:extLst>
            </p:cNvPr>
            <p:cNvCxnSpPr>
              <a:cxnSpLocks/>
            </p:cNvCxnSpPr>
            <p:nvPr/>
          </p:nvCxnSpPr>
          <p:spPr>
            <a:xfrm>
              <a:off x="8654402" y="5673601"/>
              <a:ext cx="552337" cy="0"/>
            </a:xfrm>
            <a:prstGeom prst="straightConnector1">
              <a:avLst/>
            </a:prstGeom>
            <a:noFill/>
            <a:ln w="28575" cap="flat" cmpd="sng" algn="ctr">
              <a:solidFill>
                <a:srgbClr val="000000">
                  <a:lumMod val="50000"/>
                  <a:lumOff val="50000"/>
                </a:srgbClr>
              </a:solidFill>
              <a:prstDash val="solid"/>
              <a:headEnd type="none" w="lg" len="med"/>
              <a:tailEnd type="triangle"/>
            </a:ln>
            <a:effectLst/>
          </p:spPr>
        </p:cxnSp>
        <p:sp>
          <p:nvSpPr>
            <p:cNvPr id="391" name="TextBox 390">
              <a:extLst>
                <a:ext uri="{FF2B5EF4-FFF2-40B4-BE49-F238E27FC236}">
                  <a16:creationId xmlns:a16="http://schemas.microsoft.com/office/drawing/2014/main" id="{A8E3C4C3-FCE2-4DBF-BB85-A28D3A41B5AF}"/>
                </a:ext>
              </a:extLst>
            </p:cNvPr>
            <p:cNvSpPr txBox="1"/>
            <p:nvPr/>
          </p:nvSpPr>
          <p:spPr>
            <a:xfrm>
              <a:off x="9364446" y="5568257"/>
              <a:ext cx="1886830" cy="192135"/>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2917">
                        <a:srgbClr val="1A1A1A"/>
                      </a:gs>
                      <a:gs pos="30000">
                        <a:srgbClr val="1A1A1A"/>
                      </a:gs>
                    </a:gsLst>
                    <a:lin ang="5400000" scaled="0"/>
                  </a:gradFill>
                  <a:effectLst/>
                  <a:uLnTx/>
                  <a:uFillTx/>
                </a:rPr>
                <a:t>Log Pathway</a:t>
              </a:r>
            </a:p>
          </p:txBody>
        </p:sp>
        <p:sp>
          <p:nvSpPr>
            <p:cNvPr id="392" name="TextBox 391">
              <a:extLst>
                <a:ext uri="{FF2B5EF4-FFF2-40B4-BE49-F238E27FC236}">
                  <a16:creationId xmlns:a16="http://schemas.microsoft.com/office/drawing/2014/main" id="{1A5BF94C-4C3B-4AFF-B72F-1675B40DC7E4}"/>
                </a:ext>
              </a:extLst>
            </p:cNvPr>
            <p:cNvSpPr txBox="1"/>
            <p:nvPr/>
          </p:nvSpPr>
          <p:spPr>
            <a:xfrm>
              <a:off x="9364445" y="5335496"/>
              <a:ext cx="2165821" cy="192135"/>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2917">
                        <a:srgbClr val="1A1A1A"/>
                      </a:gs>
                      <a:gs pos="30000">
                        <a:srgbClr val="1A1A1A"/>
                      </a:gs>
                    </a:gsLst>
                    <a:lin ang="5400000" scaled="0"/>
                  </a:gradFill>
                  <a:effectLst/>
                  <a:uLnTx/>
                  <a:uFillTx/>
                </a:rPr>
                <a:t>Resilient Buffer Pool Extension</a:t>
              </a:r>
            </a:p>
          </p:txBody>
        </p:sp>
        <p:cxnSp>
          <p:nvCxnSpPr>
            <p:cNvPr id="393" name="Straight Arrow Connector 392">
              <a:extLst>
                <a:ext uri="{FF2B5EF4-FFF2-40B4-BE49-F238E27FC236}">
                  <a16:creationId xmlns:a16="http://schemas.microsoft.com/office/drawing/2014/main" id="{FDD6A0EF-B2C7-49ED-BDC2-5AE66DDC99F1}"/>
                </a:ext>
              </a:extLst>
            </p:cNvPr>
            <p:cNvCxnSpPr>
              <a:cxnSpLocks/>
            </p:cNvCxnSpPr>
            <p:nvPr/>
          </p:nvCxnSpPr>
          <p:spPr>
            <a:xfrm>
              <a:off x="8661557" y="5970349"/>
              <a:ext cx="538025" cy="0"/>
            </a:xfrm>
            <a:prstGeom prst="straightConnector1">
              <a:avLst/>
            </a:prstGeom>
            <a:noFill/>
            <a:ln w="28575" cap="flat" cmpd="sng" algn="ctr">
              <a:solidFill>
                <a:srgbClr val="C00000"/>
              </a:solidFill>
              <a:prstDash val="solid"/>
              <a:headEnd type="none" w="lg" len="med"/>
              <a:tailEnd type="triangle"/>
            </a:ln>
            <a:effectLst/>
          </p:spPr>
        </p:cxnSp>
        <p:sp>
          <p:nvSpPr>
            <p:cNvPr id="394" name="TextBox 393">
              <a:extLst>
                <a:ext uri="{FF2B5EF4-FFF2-40B4-BE49-F238E27FC236}">
                  <a16:creationId xmlns:a16="http://schemas.microsoft.com/office/drawing/2014/main" id="{8736EAB9-DF85-46F8-A799-0AFBAD087D88}"/>
                </a:ext>
              </a:extLst>
            </p:cNvPr>
            <p:cNvSpPr txBox="1"/>
            <p:nvPr/>
          </p:nvSpPr>
          <p:spPr>
            <a:xfrm>
              <a:off x="9364446" y="5856502"/>
              <a:ext cx="1886830" cy="192135"/>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2917">
                        <a:srgbClr val="1A1A1A"/>
                      </a:gs>
                      <a:gs pos="30000">
                        <a:srgbClr val="1A1A1A"/>
                      </a:gs>
                    </a:gsLst>
                    <a:lin ang="5400000" scaled="0"/>
                  </a:gradFill>
                  <a:effectLst/>
                  <a:uLnTx/>
                  <a:uFillTx/>
                </a:rPr>
                <a:t>Data Pathway</a:t>
              </a:r>
            </a:p>
          </p:txBody>
        </p:sp>
      </p:grpSp>
      <p:cxnSp>
        <p:nvCxnSpPr>
          <p:cNvPr id="395" name="Connector: Elbow 394">
            <a:extLst>
              <a:ext uri="{FF2B5EF4-FFF2-40B4-BE49-F238E27FC236}">
                <a16:creationId xmlns:a16="http://schemas.microsoft.com/office/drawing/2014/main" id="{BD946D6B-3311-41F6-9BED-32E8E1A7CEF4}"/>
              </a:ext>
            </a:extLst>
          </p:cNvPr>
          <p:cNvCxnSpPr>
            <a:cxnSpLocks/>
            <a:stCxn id="375" idx="2"/>
          </p:cNvCxnSpPr>
          <p:nvPr/>
        </p:nvCxnSpPr>
        <p:spPr>
          <a:xfrm rot="5400000">
            <a:off x="7387088" y="1888996"/>
            <a:ext cx="332169" cy="3935292"/>
          </a:xfrm>
          <a:prstGeom prst="bentConnector2">
            <a:avLst/>
          </a:prstGeom>
          <a:noFill/>
          <a:ln w="28575" cap="flat" cmpd="sng" algn="ctr">
            <a:solidFill>
              <a:srgbClr val="0279D8"/>
            </a:solidFill>
            <a:prstDash val="solid"/>
            <a:headEnd type="none" w="lg" len="med"/>
            <a:tailEnd type="triangle"/>
          </a:ln>
          <a:effectLst/>
        </p:spPr>
      </p:cxnSp>
      <p:sp>
        <p:nvSpPr>
          <p:cNvPr id="396" name="Rectangle 395">
            <a:extLst>
              <a:ext uri="{FF2B5EF4-FFF2-40B4-BE49-F238E27FC236}">
                <a16:creationId xmlns:a16="http://schemas.microsoft.com/office/drawing/2014/main" id="{87E067BA-73F9-4F53-8EEE-CD32CD2D8C0E}"/>
              </a:ext>
            </a:extLst>
          </p:cNvPr>
          <p:cNvSpPr/>
          <p:nvPr/>
        </p:nvSpPr>
        <p:spPr>
          <a:xfrm>
            <a:off x="4137205" y="3241737"/>
            <a:ext cx="268454" cy="478376"/>
          </a:xfrm>
          <a:prstGeom prst="rect">
            <a:avLst/>
          </a:prstGeom>
        </p:spPr>
        <p:txBody>
          <a:bodyPr wrap="none">
            <a:spAutoFit/>
          </a:bodyPr>
          <a:lstStyle/>
          <a:p>
            <a:pPr marL="0" marR="0" lvl="0" indent="0" defTabSz="1243431"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a:ln>
                  <a:noFill/>
                </a:ln>
                <a:solidFill>
                  <a:srgbClr val="000000"/>
                </a:solidFill>
                <a:effectLst/>
                <a:uLnTx/>
                <a:uFillTx/>
                <a:latin typeface="Times New Roman" panose="02020603050405020304" pitchFamily="18" charset="0"/>
              </a:rPr>
              <a:t> </a:t>
            </a:r>
            <a:endParaRPr kumimoji="0" lang="en-US" sz="2448" b="0" i="0" u="none" strike="noStrike" kern="0" cap="none" spc="0" normalizeH="0" baseline="0" noProof="0">
              <a:ln>
                <a:noFill/>
              </a:ln>
              <a:solidFill>
                <a:srgbClr val="000000"/>
              </a:solidFill>
              <a:effectLst/>
              <a:uLnTx/>
              <a:uFillTx/>
            </a:endParaRPr>
          </a:p>
        </p:txBody>
      </p:sp>
      <p:grpSp>
        <p:nvGrpSpPr>
          <p:cNvPr id="397" name="Group 396">
            <a:extLst>
              <a:ext uri="{FF2B5EF4-FFF2-40B4-BE49-F238E27FC236}">
                <a16:creationId xmlns:a16="http://schemas.microsoft.com/office/drawing/2014/main" id="{1BA00B90-0AC2-46E1-882C-04CFF91D9493}"/>
              </a:ext>
            </a:extLst>
          </p:cNvPr>
          <p:cNvGrpSpPr/>
          <p:nvPr/>
        </p:nvGrpSpPr>
        <p:grpSpPr>
          <a:xfrm>
            <a:off x="2535035" y="3742848"/>
            <a:ext cx="679055" cy="793749"/>
            <a:chOff x="9570256" y="1253716"/>
            <a:chExt cx="665801" cy="778256"/>
          </a:xfrm>
        </p:grpSpPr>
        <p:grpSp>
          <p:nvGrpSpPr>
            <p:cNvPr id="398" name="Group 397">
              <a:extLst>
                <a:ext uri="{FF2B5EF4-FFF2-40B4-BE49-F238E27FC236}">
                  <a16:creationId xmlns:a16="http://schemas.microsoft.com/office/drawing/2014/main" id="{56A9835A-1255-405D-8AEF-B2990778DCC1}"/>
                </a:ext>
              </a:extLst>
            </p:cNvPr>
            <p:cNvGrpSpPr/>
            <p:nvPr/>
          </p:nvGrpSpPr>
          <p:grpSpPr>
            <a:xfrm flipH="1">
              <a:off x="9679775" y="1253716"/>
              <a:ext cx="556282" cy="680963"/>
              <a:chOff x="3003960" y="3685414"/>
              <a:chExt cx="403310" cy="493707"/>
            </a:xfrm>
          </p:grpSpPr>
          <p:sp>
            <p:nvSpPr>
              <p:cNvPr id="404" name="Snip Single Corner Rectangle 26">
                <a:extLst>
                  <a:ext uri="{FF2B5EF4-FFF2-40B4-BE49-F238E27FC236}">
                    <a16:creationId xmlns:a16="http://schemas.microsoft.com/office/drawing/2014/main" id="{A069E05D-FEDA-4BF6-9199-FEF9F690C23C}"/>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1072" b="0" i="0" u="none" strike="noStrike" kern="0" cap="none" spc="0" normalizeH="0" baseline="0" noProof="0">
                  <a:ln>
                    <a:noFill/>
                  </a:ln>
                  <a:solidFill>
                    <a:srgbClr val="0078D7"/>
                  </a:solidFill>
                  <a:effectLst/>
                  <a:uLnTx/>
                  <a:uFillTx/>
                  <a:cs typeface="Segoe UI Semilight" panose="020B0402040204020203" pitchFamily="34" charset="0"/>
                </a:endParaRPr>
              </a:p>
            </p:txBody>
          </p:sp>
          <p:sp>
            <p:nvSpPr>
              <p:cNvPr id="405" name="Triangle 27">
                <a:extLst>
                  <a:ext uri="{FF2B5EF4-FFF2-40B4-BE49-F238E27FC236}">
                    <a16:creationId xmlns:a16="http://schemas.microsoft.com/office/drawing/2014/main" id="{9CEABB96-BB04-4889-8A10-A9FF7AD87AB7}"/>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99" name="Group 398">
              <a:extLst>
                <a:ext uri="{FF2B5EF4-FFF2-40B4-BE49-F238E27FC236}">
                  <a16:creationId xmlns:a16="http://schemas.microsoft.com/office/drawing/2014/main" id="{1DE4F0AE-4D87-41CC-A7F3-EB6A84C271B1}"/>
                </a:ext>
              </a:extLst>
            </p:cNvPr>
            <p:cNvGrpSpPr/>
            <p:nvPr/>
          </p:nvGrpSpPr>
          <p:grpSpPr>
            <a:xfrm flipH="1">
              <a:off x="9570256" y="1351009"/>
              <a:ext cx="556282" cy="680963"/>
              <a:chOff x="3003960" y="3685414"/>
              <a:chExt cx="403310" cy="493707"/>
            </a:xfrm>
          </p:grpSpPr>
          <p:sp>
            <p:nvSpPr>
              <p:cNvPr id="402" name="Snip Single Corner Rectangle 26">
                <a:extLst>
                  <a:ext uri="{FF2B5EF4-FFF2-40B4-BE49-F238E27FC236}">
                    <a16:creationId xmlns:a16="http://schemas.microsoft.com/office/drawing/2014/main" id="{4424C439-AC24-4E67-9333-A589124B8DB9}"/>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1072" b="0" i="0" u="none" strike="noStrike" kern="0" cap="none" spc="0" normalizeH="0" baseline="0" noProof="0">
                  <a:ln>
                    <a:noFill/>
                  </a:ln>
                  <a:solidFill>
                    <a:srgbClr val="0078D7"/>
                  </a:solidFill>
                  <a:effectLst/>
                  <a:uLnTx/>
                  <a:uFillTx/>
                  <a:cs typeface="Segoe UI Semilight" panose="020B0402040204020203" pitchFamily="34" charset="0"/>
                </a:endParaRPr>
              </a:p>
            </p:txBody>
          </p:sp>
          <p:sp>
            <p:nvSpPr>
              <p:cNvPr id="403" name="Triangle 27">
                <a:extLst>
                  <a:ext uri="{FF2B5EF4-FFF2-40B4-BE49-F238E27FC236}">
                    <a16:creationId xmlns:a16="http://schemas.microsoft.com/office/drawing/2014/main" id="{E74E44EC-ECAD-46B4-8FDA-498924BAB355}"/>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00" name="Rectangle 399">
              <a:extLst>
                <a:ext uri="{FF2B5EF4-FFF2-40B4-BE49-F238E27FC236}">
                  <a16:creationId xmlns:a16="http://schemas.microsoft.com/office/drawing/2014/main" id="{9E5BF0F3-8AF9-49E5-8B5F-06B4E2922278}"/>
                </a:ext>
              </a:extLst>
            </p:cNvPr>
            <p:cNvSpPr/>
            <p:nvPr/>
          </p:nvSpPr>
          <p:spPr bwMode="auto">
            <a:xfrm>
              <a:off x="9602751" y="1362654"/>
              <a:ext cx="213464" cy="619709"/>
            </a:xfrm>
            <a:prstGeom prst="rect">
              <a:avLst/>
            </a:prstGeom>
            <a:solidFill>
              <a:srgbClr val="FFFFFF"/>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401" name="Rectangle 400">
              <a:extLst>
                <a:ext uri="{FF2B5EF4-FFF2-40B4-BE49-F238E27FC236}">
                  <a16:creationId xmlns:a16="http://schemas.microsoft.com/office/drawing/2014/main" id="{66FD2243-B10D-4BC3-BC00-FBFEC4208525}"/>
                </a:ext>
              </a:extLst>
            </p:cNvPr>
            <p:cNvSpPr/>
            <p:nvPr/>
          </p:nvSpPr>
          <p:spPr bwMode="auto">
            <a:xfrm rot="5400000">
              <a:off x="9755555" y="1630847"/>
              <a:ext cx="213464" cy="519074"/>
            </a:xfrm>
            <a:prstGeom prst="rect">
              <a:avLst/>
            </a:prstGeom>
            <a:solidFill>
              <a:srgbClr val="FFFFFF"/>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grpSp>
      <p:sp>
        <p:nvSpPr>
          <p:cNvPr id="406" name="TextBox 405">
            <a:extLst>
              <a:ext uri="{FF2B5EF4-FFF2-40B4-BE49-F238E27FC236}">
                <a16:creationId xmlns:a16="http://schemas.microsoft.com/office/drawing/2014/main" id="{FEF02CB6-72EC-4B42-A5C9-6AE11A70C32C}"/>
              </a:ext>
            </a:extLst>
          </p:cNvPr>
          <p:cNvSpPr txBox="1"/>
          <p:nvPr/>
        </p:nvSpPr>
        <p:spPr>
          <a:xfrm>
            <a:off x="2595771" y="4403675"/>
            <a:ext cx="464503" cy="96068"/>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rPr>
              <a:t>1 TB data file</a:t>
            </a:r>
          </a:p>
        </p:txBody>
      </p:sp>
      <p:sp>
        <p:nvSpPr>
          <p:cNvPr id="407" name="TextBox 406">
            <a:extLst>
              <a:ext uri="{FF2B5EF4-FFF2-40B4-BE49-F238E27FC236}">
                <a16:creationId xmlns:a16="http://schemas.microsoft.com/office/drawing/2014/main" id="{0A1DE0D3-D472-4B68-BA55-DAD745235EEF}"/>
              </a:ext>
            </a:extLst>
          </p:cNvPr>
          <p:cNvSpPr txBox="1"/>
          <p:nvPr/>
        </p:nvSpPr>
        <p:spPr>
          <a:xfrm>
            <a:off x="2543669" y="4075679"/>
            <a:ext cx="552882" cy="282513"/>
          </a:xfrm>
          <a:prstGeom prst="rect">
            <a:avLst/>
          </a:prstGeom>
          <a:solidFill>
            <a:srgbClr val="50E6FF">
              <a:lumMod val="60000"/>
              <a:lumOff val="40000"/>
            </a:srgbClr>
          </a:solidFill>
        </p:spPr>
        <p:txBody>
          <a:bodyPr wrap="square" lIns="27978" tIns="0" rIns="0" bIns="0" rtlCol="0">
            <a:no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rPr>
              <a:t>Covering RBPEX Data Cache</a:t>
            </a:r>
          </a:p>
        </p:txBody>
      </p:sp>
      <p:grpSp>
        <p:nvGrpSpPr>
          <p:cNvPr id="408" name="Group 407">
            <a:extLst>
              <a:ext uri="{FF2B5EF4-FFF2-40B4-BE49-F238E27FC236}">
                <a16:creationId xmlns:a16="http://schemas.microsoft.com/office/drawing/2014/main" id="{34AC3152-8EC7-4CA2-98B3-4DA4592785CB}"/>
              </a:ext>
            </a:extLst>
          </p:cNvPr>
          <p:cNvGrpSpPr/>
          <p:nvPr/>
        </p:nvGrpSpPr>
        <p:grpSpPr>
          <a:xfrm>
            <a:off x="3462076" y="3769802"/>
            <a:ext cx="679055" cy="793749"/>
            <a:chOff x="9570256" y="1253716"/>
            <a:chExt cx="665801" cy="778256"/>
          </a:xfrm>
        </p:grpSpPr>
        <p:grpSp>
          <p:nvGrpSpPr>
            <p:cNvPr id="409" name="Group 408">
              <a:extLst>
                <a:ext uri="{FF2B5EF4-FFF2-40B4-BE49-F238E27FC236}">
                  <a16:creationId xmlns:a16="http://schemas.microsoft.com/office/drawing/2014/main" id="{66C18162-CD32-4CE8-B3B3-882DFDC36B40}"/>
                </a:ext>
              </a:extLst>
            </p:cNvPr>
            <p:cNvGrpSpPr/>
            <p:nvPr/>
          </p:nvGrpSpPr>
          <p:grpSpPr>
            <a:xfrm flipH="1">
              <a:off x="9679775" y="1253716"/>
              <a:ext cx="556282" cy="680963"/>
              <a:chOff x="3003960" y="3685414"/>
              <a:chExt cx="403310" cy="493707"/>
            </a:xfrm>
          </p:grpSpPr>
          <p:sp>
            <p:nvSpPr>
              <p:cNvPr id="415" name="Snip Single Corner Rectangle 26">
                <a:extLst>
                  <a:ext uri="{FF2B5EF4-FFF2-40B4-BE49-F238E27FC236}">
                    <a16:creationId xmlns:a16="http://schemas.microsoft.com/office/drawing/2014/main" id="{000DD5D7-1439-4656-9126-D799AE775A89}"/>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1072" b="0" i="0" u="none" strike="noStrike" kern="0" cap="none" spc="0" normalizeH="0" baseline="0" noProof="0">
                  <a:ln>
                    <a:noFill/>
                  </a:ln>
                  <a:solidFill>
                    <a:srgbClr val="0078D7"/>
                  </a:solidFill>
                  <a:effectLst/>
                  <a:uLnTx/>
                  <a:uFillTx/>
                  <a:cs typeface="Segoe UI Semilight" panose="020B0402040204020203" pitchFamily="34" charset="0"/>
                </a:endParaRPr>
              </a:p>
            </p:txBody>
          </p:sp>
          <p:sp>
            <p:nvSpPr>
              <p:cNvPr id="416" name="Triangle 27">
                <a:extLst>
                  <a:ext uri="{FF2B5EF4-FFF2-40B4-BE49-F238E27FC236}">
                    <a16:creationId xmlns:a16="http://schemas.microsoft.com/office/drawing/2014/main" id="{5568701E-04D4-49C1-BFFA-DB43E372F33B}"/>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410" name="Group 409">
              <a:extLst>
                <a:ext uri="{FF2B5EF4-FFF2-40B4-BE49-F238E27FC236}">
                  <a16:creationId xmlns:a16="http://schemas.microsoft.com/office/drawing/2014/main" id="{4251D8EA-644C-4947-A0C4-495E62014593}"/>
                </a:ext>
              </a:extLst>
            </p:cNvPr>
            <p:cNvGrpSpPr/>
            <p:nvPr/>
          </p:nvGrpSpPr>
          <p:grpSpPr>
            <a:xfrm flipH="1">
              <a:off x="9570256" y="1351009"/>
              <a:ext cx="556282" cy="680963"/>
              <a:chOff x="3003960" y="3685414"/>
              <a:chExt cx="403310" cy="493707"/>
            </a:xfrm>
          </p:grpSpPr>
          <p:sp>
            <p:nvSpPr>
              <p:cNvPr id="413" name="Snip Single Corner Rectangle 26">
                <a:extLst>
                  <a:ext uri="{FF2B5EF4-FFF2-40B4-BE49-F238E27FC236}">
                    <a16:creationId xmlns:a16="http://schemas.microsoft.com/office/drawing/2014/main" id="{F94CF191-6384-4A9E-9BDD-CC1516853A10}"/>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1072" b="0" i="0" u="none" strike="noStrike" kern="0" cap="none" spc="0" normalizeH="0" baseline="0" noProof="0">
                  <a:ln>
                    <a:noFill/>
                  </a:ln>
                  <a:solidFill>
                    <a:srgbClr val="0078D7"/>
                  </a:solidFill>
                  <a:effectLst/>
                  <a:uLnTx/>
                  <a:uFillTx/>
                  <a:cs typeface="Segoe UI Semilight" panose="020B0402040204020203" pitchFamily="34" charset="0"/>
                </a:endParaRPr>
              </a:p>
            </p:txBody>
          </p:sp>
          <p:sp>
            <p:nvSpPr>
              <p:cNvPr id="414" name="Triangle 27">
                <a:extLst>
                  <a:ext uri="{FF2B5EF4-FFF2-40B4-BE49-F238E27FC236}">
                    <a16:creationId xmlns:a16="http://schemas.microsoft.com/office/drawing/2014/main" id="{CCF39FFF-259C-422A-8DF2-1155E33DDE82}"/>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11" name="Rectangle 410">
              <a:extLst>
                <a:ext uri="{FF2B5EF4-FFF2-40B4-BE49-F238E27FC236}">
                  <a16:creationId xmlns:a16="http://schemas.microsoft.com/office/drawing/2014/main" id="{6250E05C-67CA-43DF-86A3-F3F719D07A4D}"/>
                </a:ext>
              </a:extLst>
            </p:cNvPr>
            <p:cNvSpPr/>
            <p:nvPr/>
          </p:nvSpPr>
          <p:spPr bwMode="auto">
            <a:xfrm>
              <a:off x="9602751" y="1362654"/>
              <a:ext cx="213464" cy="619709"/>
            </a:xfrm>
            <a:prstGeom prst="rect">
              <a:avLst/>
            </a:prstGeom>
            <a:solidFill>
              <a:srgbClr val="FFFFFF"/>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412" name="Rectangle 411">
              <a:extLst>
                <a:ext uri="{FF2B5EF4-FFF2-40B4-BE49-F238E27FC236}">
                  <a16:creationId xmlns:a16="http://schemas.microsoft.com/office/drawing/2014/main" id="{9BE92380-0025-4008-8049-9818487E735C}"/>
                </a:ext>
              </a:extLst>
            </p:cNvPr>
            <p:cNvSpPr/>
            <p:nvPr/>
          </p:nvSpPr>
          <p:spPr bwMode="auto">
            <a:xfrm rot="5400000">
              <a:off x="9754006" y="1632396"/>
              <a:ext cx="213464" cy="515976"/>
            </a:xfrm>
            <a:prstGeom prst="rect">
              <a:avLst/>
            </a:prstGeom>
            <a:solidFill>
              <a:srgbClr val="FFFFFF"/>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grpSp>
      <p:sp>
        <p:nvSpPr>
          <p:cNvPr id="417" name="TextBox 416">
            <a:extLst>
              <a:ext uri="{FF2B5EF4-FFF2-40B4-BE49-F238E27FC236}">
                <a16:creationId xmlns:a16="http://schemas.microsoft.com/office/drawing/2014/main" id="{3A7A37D9-1FA1-49D0-B891-618805E200B2}"/>
              </a:ext>
            </a:extLst>
          </p:cNvPr>
          <p:cNvSpPr txBox="1"/>
          <p:nvPr/>
        </p:nvSpPr>
        <p:spPr>
          <a:xfrm>
            <a:off x="3522814" y="4430629"/>
            <a:ext cx="464503" cy="96068"/>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rPr>
              <a:t>1 TB data file</a:t>
            </a:r>
          </a:p>
        </p:txBody>
      </p:sp>
      <p:sp>
        <p:nvSpPr>
          <p:cNvPr id="418" name="TextBox 417">
            <a:extLst>
              <a:ext uri="{FF2B5EF4-FFF2-40B4-BE49-F238E27FC236}">
                <a16:creationId xmlns:a16="http://schemas.microsoft.com/office/drawing/2014/main" id="{FFEBBF1A-2C17-4E70-8482-1CB9F1B02343}"/>
              </a:ext>
            </a:extLst>
          </p:cNvPr>
          <p:cNvSpPr txBox="1"/>
          <p:nvPr/>
        </p:nvSpPr>
        <p:spPr>
          <a:xfrm>
            <a:off x="3470563" y="4075679"/>
            <a:ext cx="558591" cy="282513"/>
          </a:xfrm>
          <a:prstGeom prst="rect">
            <a:avLst/>
          </a:prstGeom>
          <a:solidFill>
            <a:srgbClr val="50E6FF">
              <a:lumMod val="60000"/>
              <a:lumOff val="40000"/>
            </a:srgbClr>
          </a:solidFill>
        </p:spPr>
        <p:txBody>
          <a:bodyPr wrap="square" lIns="27978" tIns="0" rIns="0" bIns="0" rtlCol="0">
            <a:no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rPr>
              <a:t>Covering RBPEX Data Cache</a:t>
            </a:r>
          </a:p>
        </p:txBody>
      </p:sp>
      <p:grpSp>
        <p:nvGrpSpPr>
          <p:cNvPr id="419" name="Group 418">
            <a:extLst>
              <a:ext uri="{FF2B5EF4-FFF2-40B4-BE49-F238E27FC236}">
                <a16:creationId xmlns:a16="http://schemas.microsoft.com/office/drawing/2014/main" id="{E8F87AE0-7CB0-4ABB-AE81-881721863833}"/>
              </a:ext>
            </a:extLst>
          </p:cNvPr>
          <p:cNvGrpSpPr/>
          <p:nvPr/>
        </p:nvGrpSpPr>
        <p:grpSpPr>
          <a:xfrm>
            <a:off x="4663292" y="3742848"/>
            <a:ext cx="679055" cy="793749"/>
            <a:chOff x="9570256" y="1253716"/>
            <a:chExt cx="665801" cy="778256"/>
          </a:xfrm>
        </p:grpSpPr>
        <p:grpSp>
          <p:nvGrpSpPr>
            <p:cNvPr id="420" name="Group 419">
              <a:extLst>
                <a:ext uri="{FF2B5EF4-FFF2-40B4-BE49-F238E27FC236}">
                  <a16:creationId xmlns:a16="http://schemas.microsoft.com/office/drawing/2014/main" id="{4988CBDE-6976-4205-9228-29204EAED28A}"/>
                </a:ext>
              </a:extLst>
            </p:cNvPr>
            <p:cNvGrpSpPr/>
            <p:nvPr/>
          </p:nvGrpSpPr>
          <p:grpSpPr>
            <a:xfrm flipH="1">
              <a:off x="9679775" y="1253716"/>
              <a:ext cx="556282" cy="680963"/>
              <a:chOff x="3003960" y="3685414"/>
              <a:chExt cx="403310" cy="493707"/>
            </a:xfrm>
          </p:grpSpPr>
          <p:sp>
            <p:nvSpPr>
              <p:cNvPr id="426" name="Snip Single Corner Rectangle 26">
                <a:extLst>
                  <a:ext uri="{FF2B5EF4-FFF2-40B4-BE49-F238E27FC236}">
                    <a16:creationId xmlns:a16="http://schemas.microsoft.com/office/drawing/2014/main" id="{F9AB45CF-8834-417B-9B49-6E34CF94C191}"/>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1072" b="0" i="0" u="none" strike="noStrike" kern="0" cap="none" spc="0" normalizeH="0" baseline="0" noProof="0">
                  <a:ln>
                    <a:noFill/>
                  </a:ln>
                  <a:solidFill>
                    <a:srgbClr val="0078D7"/>
                  </a:solidFill>
                  <a:effectLst/>
                  <a:uLnTx/>
                  <a:uFillTx/>
                  <a:cs typeface="Segoe UI Semilight" panose="020B0402040204020203" pitchFamily="34" charset="0"/>
                </a:endParaRPr>
              </a:p>
            </p:txBody>
          </p:sp>
          <p:sp>
            <p:nvSpPr>
              <p:cNvPr id="427" name="Triangle 27">
                <a:extLst>
                  <a:ext uri="{FF2B5EF4-FFF2-40B4-BE49-F238E27FC236}">
                    <a16:creationId xmlns:a16="http://schemas.microsoft.com/office/drawing/2014/main" id="{F00D8E78-B006-45C3-AAF0-52BA1DABBCCF}"/>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421" name="Group 420">
              <a:extLst>
                <a:ext uri="{FF2B5EF4-FFF2-40B4-BE49-F238E27FC236}">
                  <a16:creationId xmlns:a16="http://schemas.microsoft.com/office/drawing/2014/main" id="{4154590A-2056-4833-B35F-94065F3DA08E}"/>
                </a:ext>
              </a:extLst>
            </p:cNvPr>
            <p:cNvGrpSpPr/>
            <p:nvPr/>
          </p:nvGrpSpPr>
          <p:grpSpPr>
            <a:xfrm flipH="1">
              <a:off x="9570256" y="1351009"/>
              <a:ext cx="556282" cy="680963"/>
              <a:chOff x="3003960" y="3685414"/>
              <a:chExt cx="403310" cy="493707"/>
            </a:xfrm>
          </p:grpSpPr>
          <p:sp>
            <p:nvSpPr>
              <p:cNvPr id="424" name="Snip Single Corner Rectangle 26">
                <a:extLst>
                  <a:ext uri="{FF2B5EF4-FFF2-40B4-BE49-F238E27FC236}">
                    <a16:creationId xmlns:a16="http://schemas.microsoft.com/office/drawing/2014/main" id="{E26553E9-08B6-4614-B8EB-B4677B1E7192}"/>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1072" b="0" i="0" u="none" strike="noStrike" kern="0" cap="none" spc="0" normalizeH="0" baseline="0" noProof="0">
                  <a:ln>
                    <a:noFill/>
                  </a:ln>
                  <a:solidFill>
                    <a:srgbClr val="0078D7"/>
                  </a:solidFill>
                  <a:effectLst/>
                  <a:uLnTx/>
                  <a:uFillTx/>
                  <a:cs typeface="Segoe UI Semilight" panose="020B0402040204020203" pitchFamily="34" charset="0"/>
                </a:endParaRPr>
              </a:p>
            </p:txBody>
          </p:sp>
          <p:sp>
            <p:nvSpPr>
              <p:cNvPr id="425" name="Triangle 27">
                <a:extLst>
                  <a:ext uri="{FF2B5EF4-FFF2-40B4-BE49-F238E27FC236}">
                    <a16:creationId xmlns:a16="http://schemas.microsoft.com/office/drawing/2014/main" id="{5A8C10BB-79E2-403B-984E-9055F3A1ABCA}"/>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22" name="Rectangle 421">
              <a:extLst>
                <a:ext uri="{FF2B5EF4-FFF2-40B4-BE49-F238E27FC236}">
                  <a16:creationId xmlns:a16="http://schemas.microsoft.com/office/drawing/2014/main" id="{0067CFBD-7A2C-43D7-921B-6E49C3AF7CCF}"/>
                </a:ext>
              </a:extLst>
            </p:cNvPr>
            <p:cNvSpPr/>
            <p:nvPr/>
          </p:nvSpPr>
          <p:spPr bwMode="auto">
            <a:xfrm>
              <a:off x="9602751" y="1362654"/>
              <a:ext cx="213464" cy="619709"/>
            </a:xfrm>
            <a:prstGeom prst="rect">
              <a:avLst/>
            </a:prstGeom>
            <a:solidFill>
              <a:srgbClr val="FFFFFF"/>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423" name="Rectangle 422">
              <a:extLst>
                <a:ext uri="{FF2B5EF4-FFF2-40B4-BE49-F238E27FC236}">
                  <a16:creationId xmlns:a16="http://schemas.microsoft.com/office/drawing/2014/main" id="{C656DE5D-EA7F-48B3-BE33-EBD7FE9BB476}"/>
                </a:ext>
              </a:extLst>
            </p:cNvPr>
            <p:cNvSpPr/>
            <p:nvPr/>
          </p:nvSpPr>
          <p:spPr bwMode="auto">
            <a:xfrm rot="5400000">
              <a:off x="9755555" y="1630847"/>
              <a:ext cx="213464" cy="519074"/>
            </a:xfrm>
            <a:prstGeom prst="rect">
              <a:avLst/>
            </a:prstGeom>
            <a:solidFill>
              <a:srgbClr val="FFFFFF"/>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grpSp>
      <p:sp>
        <p:nvSpPr>
          <p:cNvPr id="428" name="TextBox 427">
            <a:extLst>
              <a:ext uri="{FF2B5EF4-FFF2-40B4-BE49-F238E27FC236}">
                <a16:creationId xmlns:a16="http://schemas.microsoft.com/office/drawing/2014/main" id="{643CB455-13FF-4825-89CB-EAE150126FA3}"/>
              </a:ext>
            </a:extLst>
          </p:cNvPr>
          <p:cNvSpPr txBox="1"/>
          <p:nvPr/>
        </p:nvSpPr>
        <p:spPr>
          <a:xfrm>
            <a:off x="4724028" y="4403675"/>
            <a:ext cx="464503" cy="96068"/>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rPr>
              <a:t>1 TB data file</a:t>
            </a:r>
          </a:p>
        </p:txBody>
      </p:sp>
      <p:sp>
        <p:nvSpPr>
          <p:cNvPr id="429" name="TextBox 428">
            <a:extLst>
              <a:ext uri="{FF2B5EF4-FFF2-40B4-BE49-F238E27FC236}">
                <a16:creationId xmlns:a16="http://schemas.microsoft.com/office/drawing/2014/main" id="{15D33989-8FEB-48A3-AB16-0A8AABCA3FF6}"/>
              </a:ext>
            </a:extLst>
          </p:cNvPr>
          <p:cNvSpPr txBox="1"/>
          <p:nvPr/>
        </p:nvSpPr>
        <p:spPr>
          <a:xfrm>
            <a:off x="4671817" y="4075679"/>
            <a:ext cx="557091" cy="282513"/>
          </a:xfrm>
          <a:prstGeom prst="rect">
            <a:avLst/>
          </a:prstGeom>
          <a:solidFill>
            <a:srgbClr val="50E6FF">
              <a:lumMod val="60000"/>
              <a:lumOff val="40000"/>
            </a:srgbClr>
          </a:solidFill>
        </p:spPr>
        <p:txBody>
          <a:bodyPr wrap="square" lIns="27978" tIns="0" rIns="0" bIns="0" rtlCol="0">
            <a:no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rPr>
              <a:t>Covering RBPEX Data Cache</a:t>
            </a:r>
          </a:p>
        </p:txBody>
      </p:sp>
      <p:sp>
        <p:nvSpPr>
          <p:cNvPr id="430" name="TextBox 429">
            <a:extLst>
              <a:ext uri="{FF2B5EF4-FFF2-40B4-BE49-F238E27FC236}">
                <a16:creationId xmlns:a16="http://schemas.microsoft.com/office/drawing/2014/main" id="{1FD497FA-C64A-45A7-9CC5-2B99C842F0E1}"/>
              </a:ext>
            </a:extLst>
          </p:cNvPr>
          <p:cNvSpPr txBox="1"/>
          <p:nvPr/>
        </p:nvSpPr>
        <p:spPr>
          <a:xfrm>
            <a:off x="4260804" y="4054906"/>
            <a:ext cx="265940" cy="256159"/>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gradFill>
                  <a:gsLst>
                    <a:gs pos="2917">
                      <a:srgbClr val="1A1A1A"/>
                    </a:gs>
                    <a:gs pos="30000">
                      <a:srgbClr val="1A1A1A"/>
                    </a:gs>
                  </a:gsLst>
                  <a:lin ang="5400000" scaled="0"/>
                </a:gradFill>
                <a:effectLst/>
                <a:uLnTx/>
                <a:uFillTx/>
              </a:rPr>
              <a:t>…..</a:t>
            </a:r>
          </a:p>
        </p:txBody>
      </p:sp>
      <p:sp>
        <p:nvSpPr>
          <p:cNvPr id="431" name="Rectangle 430">
            <a:extLst>
              <a:ext uri="{FF2B5EF4-FFF2-40B4-BE49-F238E27FC236}">
                <a16:creationId xmlns:a16="http://schemas.microsoft.com/office/drawing/2014/main" id="{365D744B-A955-4743-BB86-1B695E8D1D4C}"/>
              </a:ext>
            </a:extLst>
          </p:cNvPr>
          <p:cNvSpPr/>
          <p:nvPr/>
        </p:nvSpPr>
        <p:spPr bwMode="auto">
          <a:xfrm>
            <a:off x="2401200" y="5033465"/>
            <a:ext cx="3201906" cy="1329185"/>
          </a:xfrm>
          <a:prstGeom prst="rect">
            <a:avLst/>
          </a:prstGeom>
          <a:noFill/>
          <a:ln w="19050" cap="flat" cmpd="sng" algn="ctr">
            <a:solidFill>
              <a:srgbClr val="0279D8"/>
            </a:solidFill>
            <a:prstDash val="lgDashDot"/>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432" name="Rectangle 431">
            <a:extLst>
              <a:ext uri="{FF2B5EF4-FFF2-40B4-BE49-F238E27FC236}">
                <a16:creationId xmlns:a16="http://schemas.microsoft.com/office/drawing/2014/main" id="{CF533B60-E597-4755-AD6E-0AE050E5609A}"/>
              </a:ext>
            </a:extLst>
          </p:cNvPr>
          <p:cNvSpPr/>
          <p:nvPr/>
        </p:nvSpPr>
        <p:spPr bwMode="auto">
          <a:xfrm>
            <a:off x="2401200" y="3491883"/>
            <a:ext cx="3201906" cy="1285486"/>
          </a:xfrm>
          <a:prstGeom prst="rect">
            <a:avLst/>
          </a:prstGeom>
          <a:noFill/>
          <a:ln w="19050" cap="flat" cmpd="sng" algn="ctr">
            <a:solidFill>
              <a:srgbClr val="0279D8"/>
            </a:solidFill>
            <a:prstDash val="sysDash"/>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433" name="TextBox 432">
            <a:extLst>
              <a:ext uri="{FF2B5EF4-FFF2-40B4-BE49-F238E27FC236}">
                <a16:creationId xmlns:a16="http://schemas.microsoft.com/office/drawing/2014/main" id="{8D12787F-2500-447F-901F-E7A8A03D84C7}"/>
              </a:ext>
            </a:extLst>
          </p:cNvPr>
          <p:cNvSpPr txBox="1"/>
          <p:nvPr/>
        </p:nvSpPr>
        <p:spPr>
          <a:xfrm>
            <a:off x="3346748" y="3526496"/>
            <a:ext cx="1316544" cy="168070"/>
          </a:xfrm>
          <a:prstGeom prst="rect">
            <a:avLst/>
          </a:prstGeom>
          <a:noFill/>
        </p:spPr>
        <p:txBody>
          <a:bodyPr wrap="square" lIns="0" tIns="0" rIns="0" bIns="0" rtlCol="0">
            <a:spAutoFit/>
          </a:body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gradFill>
                  <a:gsLst>
                    <a:gs pos="2917">
                      <a:srgbClr val="1A1A1A"/>
                    </a:gs>
                    <a:gs pos="30000">
                      <a:srgbClr val="1A1A1A"/>
                    </a:gs>
                  </a:gsLst>
                  <a:lin ang="5400000" scaled="0"/>
                </a:gradFill>
                <a:effectLst/>
                <a:uLnTx/>
                <a:uFillTx/>
              </a:rPr>
              <a:t>Page Servers</a:t>
            </a:r>
          </a:p>
        </p:txBody>
      </p:sp>
      <p:sp>
        <p:nvSpPr>
          <p:cNvPr id="434" name="TextBox 433">
            <a:extLst>
              <a:ext uri="{FF2B5EF4-FFF2-40B4-BE49-F238E27FC236}">
                <a16:creationId xmlns:a16="http://schemas.microsoft.com/office/drawing/2014/main" id="{D7363B29-6823-49D2-99A7-51C0509DE3D1}"/>
              </a:ext>
            </a:extLst>
          </p:cNvPr>
          <p:cNvSpPr txBox="1"/>
          <p:nvPr/>
        </p:nvSpPr>
        <p:spPr>
          <a:xfrm>
            <a:off x="2421383" y="2285368"/>
            <a:ext cx="539162" cy="192135"/>
          </a:xfrm>
          <a:prstGeom prst="rect">
            <a:avLst/>
          </a:prstGeom>
          <a:solidFill>
            <a:srgbClr val="50E6FF">
              <a:lumMod val="60000"/>
              <a:lumOff val="40000"/>
            </a:srgbClr>
          </a:solidFill>
        </p:spPr>
        <p:txBody>
          <a:bodyPr wrap="square" lIns="0" tIns="0" rIns="0" bIns="0" rtlCol="0">
            <a:spAutoFit/>
          </a:body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rPr>
              <a:t>RBPEX Data Cache</a:t>
            </a:r>
          </a:p>
        </p:txBody>
      </p:sp>
      <p:sp>
        <p:nvSpPr>
          <p:cNvPr id="435" name="TextBox 434">
            <a:extLst>
              <a:ext uri="{FF2B5EF4-FFF2-40B4-BE49-F238E27FC236}">
                <a16:creationId xmlns:a16="http://schemas.microsoft.com/office/drawing/2014/main" id="{75855252-5EDF-49DC-A98B-7F45084C679A}"/>
              </a:ext>
            </a:extLst>
          </p:cNvPr>
          <p:cNvSpPr txBox="1"/>
          <p:nvPr/>
        </p:nvSpPr>
        <p:spPr>
          <a:xfrm>
            <a:off x="2433511" y="2526390"/>
            <a:ext cx="533554" cy="160091"/>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510" b="0" i="0" u="none" strike="noStrike" kern="0" cap="none" spc="0" normalizeH="0" baseline="0" noProof="0">
                <a:ln>
                  <a:noFill/>
                </a:ln>
                <a:gradFill>
                  <a:gsLst>
                    <a:gs pos="2917">
                      <a:srgbClr val="1A1A1A"/>
                    </a:gs>
                    <a:gs pos="30000">
                      <a:srgbClr val="1A1A1A"/>
                    </a:gs>
                  </a:gsLst>
                  <a:lin ang="5400000" scaled="0"/>
                </a:gradFill>
                <a:effectLst/>
                <a:uLnTx/>
                <a:uFillTx/>
              </a:rPr>
              <a:t>Primary Compute</a:t>
            </a:r>
          </a:p>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510" b="0" i="0" u="none" strike="noStrike" kern="0" cap="none" spc="0" normalizeH="0" baseline="0" noProof="0">
                <a:ln>
                  <a:noFill/>
                </a:ln>
                <a:gradFill>
                  <a:gsLst>
                    <a:gs pos="2917">
                      <a:srgbClr val="1A1A1A"/>
                    </a:gs>
                    <a:gs pos="30000">
                      <a:srgbClr val="1A1A1A"/>
                    </a:gs>
                  </a:gsLst>
                  <a:lin ang="5400000" scaled="0"/>
                </a:gradFill>
                <a:effectLst/>
                <a:uLnTx/>
                <a:uFillTx/>
              </a:rPr>
              <a:t>sqlservr.exe</a:t>
            </a:r>
          </a:p>
        </p:txBody>
      </p:sp>
      <p:sp>
        <p:nvSpPr>
          <p:cNvPr id="436" name="TextBox 435">
            <a:extLst>
              <a:ext uri="{FF2B5EF4-FFF2-40B4-BE49-F238E27FC236}">
                <a16:creationId xmlns:a16="http://schemas.microsoft.com/office/drawing/2014/main" id="{5E5A9422-140C-4815-959A-3F911E127210}"/>
              </a:ext>
            </a:extLst>
          </p:cNvPr>
          <p:cNvSpPr txBox="1"/>
          <p:nvPr/>
        </p:nvSpPr>
        <p:spPr>
          <a:xfrm>
            <a:off x="3460847" y="2285368"/>
            <a:ext cx="539162" cy="192135"/>
          </a:xfrm>
          <a:prstGeom prst="rect">
            <a:avLst/>
          </a:prstGeom>
          <a:solidFill>
            <a:srgbClr val="50E6FF">
              <a:lumMod val="60000"/>
              <a:lumOff val="40000"/>
            </a:srgbClr>
          </a:solidFill>
        </p:spPr>
        <p:txBody>
          <a:bodyPr wrap="square" lIns="0" tIns="0" rIns="0" bIns="0" rtlCol="0">
            <a:spAutoFit/>
          </a:body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rPr>
              <a:t>RBPEX Data Cache</a:t>
            </a:r>
          </a:p>
        </p:txBody>
      </p:sp>
      <p:sp>
        <p:nvSpPr>
          <p:cNvPr id="437" name="TextBox 436">
            <a:extLst>
              <a:ext uri="{FF2B5EF4-FFF2-40B4-BE49-F238E27FC236}">
                <a16:creationId xmlns:a16="http://schemas.microsoft.com/office/drawing/2014/main" id="{B922246F-A9FA-4BE1-8829-5B6B61B02FA1}"/>
              </a:ext>
            </a:extLst>
          </p:cNvPr>
          <p:cNvSpPr txBox="1"/>
          <p:nvPr/>
        </p:nvSpPr>
        <p:spPr>
          <a:xfrm>
            <a:off x="3471511" y="2530278"/>
            <a:ext cx="545880" cy="144069"/>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408" b="0" i="0" u="none" strike="noStrike" kern="0" cap="none" spc="0" normalizeH="0" baseline="0" noProof="0">
                <a:ln>
                  <a:noFill/>
                </a:ln>
                <a:gradFill>
                  <a:gsLst>
                    <a:gs pos="2917">
                      <a:srgbClr val="1A1A1A"/>
                    </a:gs>
                    <a:gs pos="30000">
                      <a:srgbClr val="1A1A1A"/>
                    </a:gs>
                  </a:gsLst>
                  <a:lin ang="5400000" scaled="0"/>
                </a:gradFill>
                <a:effectLst/>
                <a:uLnTx/>
                <a:uFillTx/>
              </a:rPr>
              <a:t>Secondary Compute</a:t>
            </a:r>
          </a:p>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510" b="0" i="0" u="none" strike="noStrike" kern="0" cap="none" spc="0" normalizeH="0" baseline="0" noProof="0">
                <a:ln>
                  <a:noFill/>
                </a:ln>
                <a:gradFill>
                  <a:gsLst>
                    <a:gs pos="2917">
                      <a:srgbClr val="1A1A1A"/>
                    </a:gs>
                    <a:gs pos="30000">
                      <a:srgbClr val="1A1A1A"/>
                    </a:gs>
                  </a:gsLst>
                  <a:lin ang="5400000" scaled="0"/>
                </a:gradFill>
                <a:effectLst/>
                <a:uLnTx/>
                <a:uFillTx/>
              </a:rPr>
              <a:t>sqlservr.exe</a:t>
            </a:r>
          </a:p>
        </p:txBody>
      </p:sp>
      <p:sp>
        <p:nvSpPr>
          <p:cNvPr id="438" name="TextBox 437">
            <a:extLst>
              <a:ext uri="{FF2B5EF4-FFF2-40B4-BE49-F238E27FC236}">
                <a16:creationId xmlns:a16="http://schemas.microsoft.com/office/drawing/2014/main" id="{AEF97809-7983-4039-BCDF-973EC8588E34}"/>
              </a:ext>
            </a:extLst>
          </p:cNvPr>
          <p:cNvSpPr txBox="1"/>
          <p:nvPr/>
        </p:nvSpPr>
        <p:spPr>
          <a:xfrm>
            <a:off x="5248882" y="2285368"/>
            <a:ext cx="541104" cy="192135"/>
          </a:xfrm>
          <a:prstGeom prst="rect">
            <a:avLst/>
          </a:prstGeom>
          <a:solidFill>
            <a:srgbClr val="50E6FF">
              <a:lumMod val="60000"/>
              <a:lumOff val="40000"/>
            </a:srgbClr>
          </a:solidFill>
        </p:spPr>
        <p:txBody>
          <a:bodyPr wrap="square" lIns="0" tIns="0" rIns="0" bIns="0" rtlCol="0">
            <a:spAutoFit/>
          </a:body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rPr>
              <a:t>RBPEX Data Cache</a:t>
            </a:r>
          </a:p>
        </p:txBody>
      </p:sp>
      <p:sp>
        <p:nvSpPr>
          <p:cNvPr id="439" name="TextBox 438">
            <a:extLst>
              <a:ext uri="{FF2B5EF4-FFF2-40B4-BE49-F238E27FC236}">
                <a16:creationId xmlns:a16="http://schemas.microsoft.com/office/drawing/2014/main" id="{8618D213-1FC9-446A-9AD3-85B67550ED38}"/>
              </a:ext>
            </a:extLst>
          </p:cNvPr>
          <p:cNvSpPr txBox="1"/>
          <p:nvPr/>
        </p:nvSpPr>
        <p:spPr>
          <a:xfrm>
            <a:off x="5271575" y="2542086"/>
            <a:ext cx="545880" cy="144069"/>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408" b="0" i="0" u="none" strike="noStrike" kern="0" cap="none" spc="0" normalizeH="0" baseline="0" noProof="0">
                <a:ln>
                  <a:noFill/>
                </a:ln>
                <a:gradFill>
                  <a:gsLst>
                    <a:gs pos="2917">
                      <a:srgbClr val="1A1A1A"/>
                    </a:gs>
                    <a:gs pos="30000">
                      <a:srgbClr val="1A1A1A"/>
                    </a:gs>
                  </a:gsLst>
                  <a:lin ang="5400000" scaled="0"/>
                </a:gradFill>
                <a:effectLst/>
                <a:uLnTx/>
                <a:uFillTx/>
              </a:rPr>
              <a:t>Secondary Compute</a:t>
            </a:r>
          </a:p>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510" b="0" i="0" u="none" strike="noStrike" kern="0" cap="none" spc="0" normalizeH="0" baseline="0" noProof="0">
                <a:ln>
                  <a:noFill/>
                </a:ln>
                <a:gradFill>
                  <a:gsLst>
                    <a:gs pos="2917">
                      <a:srgbClr val="1A1A1A"/>
                    </a:gs>
                    <a:gs pos="30000">
                      <a:srgbClr val="1A1A1A"/>
                    </a:gs>
                  </a:gsLst>
                  <a:lin ang="5400000" scaled="0"/>
                </a:gradFill>
                <a:effectLst/>
                <a:uLnTx/>
                <a:uFillTx/>
              </a:rPr>
              <a:t>sqlservr.exe</a:t>
            </a:r>
          </a:p>
        </p:txBody>
      </p:sp>
      <p:cxnSp>
        <p:nvCxnSpPr>
          <p:cNvPr id="440" name="Straight Arrow Connector 439">
            <a:extLst>
              <a:ext uri="{FF2B5EF4-FFF2-40B4-BE49-F238E27FC236}">
                <a16:creationId xmlns:a16="http://schemas.microsoft.com/office/drawing/2014/main" id="{172D55A7-F8E6-4D75-BBF8-4BF6ECBEED91}"/>
              </a:ext>
            </a:extLst>
          </p:cNvPr>
          <p:cNvCxnSpPr>
            <a:cxnSpLocks/>
            <a:stCxn id="360" idx="1"/>
            <a:endCxn id="424" idx="1"/>
          </p:cNvCxnSpPr>
          <p:nvPr/>
        </p:nvCxnSpPr>
        <p:spPr>
          <a:xfrm flipH="1" flipV="1">
            <a:off x="4946970" y="4536597"/>
            <a:ext cx="2955" cy="621619"/>
          </a:xfrm>
          <a:prstGeom prst="straightConnector1">
            <a:avLst/>
          </a:prstGeom>
          <a:noFill/>
          <a:ln w="28575" cap="flat" cmpd="sng" algn="ctr">
            <a:solidFill>
              <a:srgbClr val="C00000"/>
            </a:solidFill>
            <a:prstDash val="solid"/>
            <a:headEnd type="none" w="lg" len="med"/>
            <a:tailEnd type="triangle"/>
          </a:ln>
          <a:effectLst/>
        </p:spPr>
      </p:cxnSp>
      <p:cxnSp>
        <p:nvCxnSpPr>
          <p:cNvPr id="441" name="Straight Arrow Connector 440">
            <a:extLst>
              <a:ext uri="{FF2B5EF4-FFF2-40B4-BE49-F238E27FC236}">
                <a16:creationId xmlns:a16="http://schemas.microsoft.com/office/drawing/2014/main" id="{517CD353-EC74-4788-A5B9-2F5ECF68BFC8}"/>
              </a:ext>
            </a:extLst>
          </p:cNvPr>
          <p:cNvCxnSpPr>
            <a:cxnSpLocks/>
            <a:stCxn id="358" idx="1"/>
            <a:endCxn id="413" idx="1"/>
          </p:cNvCxnSpPr>
          <p:nvPr/>
        </p:nvCxnSpPr>
        <p:spPr>
          <a:xfrm flipH="1" flipV="1">
            <a:off x="3745753" y="4563551"/>
            <a:ext cx="3160" cy="594665"/>
          </a:xfrm>
          <a:prstGeom prst="straightConnector1">
            <a:avLst/>
          </a:prstGeom>
          <a:noFill/>
          <a:ln w="28575" cap="flat" cmpd="sng" algn="ctr">
            <a:solidFill>
              <a:srgbClr val="C00000"/>
            </a:solidFill>
            <a:prstDash val="solid"/>
            <a:headEnd type="none" w="lg" len="med"/>
            <a:tailEnd type="triangle"/>
          </a:ln>
          <a:effectLst/>
        </p:spPr>
      </p:cxnSp>
      <p:cxnSp>
        <p:nvCxnSpPr>
          <p:cNvPr id="442" name="Straight Arrow Connector 441">
            <a:extLst>
              <a:ext uri="{FF2B5EF4-FFF2-40B4-BE49-F238E27FC236}">
                <a16:creationId xmlns:a16="http://schemas.microsoft.com/office/drawing/2014/main" id="{BDC9842B-413F-482A-B5C2-58CE2A607C96}"/>
              </a:ext>
            </a:extLst>
          </p:cNvPr>
          <p:cNvCxnSpPr>
            <a:cxnSpLocks/>
            <a:stCxn id="356" idx="1"/>
            <a:endCxn id="402" idx="1"/>
          </p:cNvCxnSpPr>
          <p:nvPr/>
        </p:nvCxnSpPr>
        <p:spPr>
          <a:xfrm flipV="1">
            <a:off x="2818067" y="4536597"/>
            <a:ext cx="646" cy="620740"/>
          </a:xfrm>
          <a:prstGeom prst="straightConnector1">
            <a:avLst/>
          </a:prstGeom>
          <a:noFill/>
          <a:ln w="28575" cap="flat" cmpd="sng" algn="ctr">
            <a:solidFill>
              <a:srgbClr val="C00000"/>
            </a:solidFill>
            <a:prstDash val="solid"/>
            <a:headEnd type="none" w="lg" len="med"/>
            <a:tailEnd type="triangle"/>
          </a:ln>
          <a:effectLst/>
        </p:spPr>
      </p:cxnSp>
      <p:sp>
        <p:nvSpPr>
          <p:cNvPr id="443" name="TextBox 442">
            <a:extLst>
              <a:ext uri="{FF2B5EF4-FFF2-40B4-BE49-F238E27FC236}">
                <a16:creationId xmlns:a16="http://schemas.microsoft.com/office/drawing/2014/main" id="{51BB2381-E04E-4B75-B833-2C7022B27403}"/>
              </a:ext>
            </a:extLst>
          </p:cNvPr>
          <p:cNvSpPr txBox="1"/>
          <p:nvPr/>
        </p:nvSpPr>
        <p:spPr>
          <a:xfrm>
            <a:off x="4358457" y="2285368"/>
            <a:ext cx="541104" cy="192135"/>
          </a:xfrm>
          <a:prstGeom prst="rect">
            <a:avLst/>
          </a:prstGeom>
          <a:solidFill>
            <a:srgbClr val="50E6FF">
              <a:lumMod val="60000"/>
              <a:lumOff val="40000"/>
            </a:srgbClr>
          </a:solidFill>
        </p:spPr>
        <p:txBody>
          <a:bodyPr wrap="square" lIns="0" tIns="0" rIns="0" bIns="0" rtlCol="0">
            <a:spAutoFit/>
          </a:body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rPr>
              <a:t>RBPEX Data Cache</a:t>
            </a:r>
          </a:p>
        </p:txBody>
      </p:sp>
      <p:sp>
        <p:nvSpPr>
          <p:cNvPr id="444" name="TextBox 443">
            <a:extLst>
              <a:ext uri="{FF2B5EF4-FFF2-40B4-BE49-F238E27FC236}">
                <a16:creationId xmlns:a16="http://schemas.microsoft.com/office/drawing/2014/main" id="{7103F17E-29B5-41B7-9052-E987830561D1}"/>
              </a:ext>
            </a:extLst>
          </p:cNvPr>
          <p:cNvSpPr txBox="1"/>
          <p:nvPr/>
        </p:nvSpPr>
        <p:spPr>
          <a:xfrm>
            <a:off x="4379255" y="2530278"/>
            <a:ext cx="545880" cy="144069"/>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408" b="0" i="0" u="none" strike="noStrike" kern="0" cap="none" spc="0" normalizeH="0" baseline="0" noProof="0">
                <a:ln>
                  <a:noFill/>
                </a:ln>
                <a:gradFill>
                  <a:gsLst>
                    <a:gs pos="2917">
                      <a:srgbClr val="1A1A1A"/>
                    </a:gs>
                    <a:gs pos="30000">
                      <a:srgbClr val="1A1A1A"/>
                    </a:gs>
                  </a:gsLst>
                  <a:lin ang="5400000" scaled="0"/>
                </a:gradFill>
                <a:effectLst/>
                <a:uLnTx/>
                <a:uFillTx/>
              </a:rPr>
              <a:t>Secondary Compute</a:t>
            </a:r>
          </a:p>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510" b="0" i="0" u="none" strike="noStrike" kern="0" cap="none" spc="0" normalizeH="0" baseline="0" noProof="0">
                <a:ln>
                  <a:noFill/>
                </a:ln>
                <a:gradFill>
                  <a:gsLst>
                    <a:gs pos="2917">
                      <a:srgbClr val="1A1A1A"/>
                    </a:gs>
                    <a:gs pos="30000">
                      <a:srgbClr val="1A1A1A"/>
                    </a:gs>
                  </a:gsLst>
                  <a:lin ang="5400000" scaled="0"/>
                </a:gradFill>
                <a:effectLst/>
                <a:uLnTx/>
                <a:uFillTx/>
              </a:rPr>
              <a:t>sqlservr.exe</a:t>
            </a:r>
          </a:p>
        </p:txBody>
      </p:sp>
    </p:spTree>
    <p:extLst>
      <p:ext uri="{BB962C8B-B14F-4D97-AF65-F5344CB8AC3E}">
        <p14:creationId xmlns:p14="http://schemas.microsoft.com/office/powerpoint/2010/main" val="41179707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923330"/>
          </a:xfrm>
        </p:spPr>
        <p:txBody>
          <a:bodyPr/>
          <a:lstStyle/>
          <a:p>
            <a:r>
              <a:rPr lang="en-US"/>
              <a:t>Hyperscale architecture</a:t>
            </a:r>
            <a:br>
              <a:rPr lang="en-US"/>
            </a:br>
            <a:endParaRPr lang="en-US"/>
          </a:p>
        </p:txBody>
      </p:sp>
      <p:sp>
        <p:nvSpPr>
          <p:cNvPr id="134" name="Rectangle 133">
            <a:extLst>
              <a:ext uri="{FF2B5EF4-FFF2-40B4-BE49-F238E27FC236}">
                <a16:creationId xmlns:a16="http://schemas.microsoft.com/office/drawing/2014/main" id="{AC4E1CE2-910C-40F1-8997-6EE486EBD0E2}"/>
              </a:ext>
            </a:extLst>
          </p:cNvPr>
          <p:cNvSpPr/>
          <p:nvPr/>
        </p:nvSpPr>
        <p:spPr bwMode="auto">
          <a:xfrm>
            <a:off x="1862981" y="1769283"/>
            <a:ext cx="2789315" cy="1037698"/>
          </a:xfrm>
          <a:prstGeom prst="rect">
            <a:avLst/>
          </a:prstGeom>
          <a:solidFill>
            <a:srgbClr val="3C3C41">
              <a:lumMod val="20000"/>
              <a:lumOff val="80000"/>
            </a:srgbClr>
          </a:solidFill>
          <a:ln w="1905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40075">
                    <a:srgbClr val="FFFFFF"/>
                  </a:gs>
                  <a:gs pos="30000">
                    <a:srgbClr val="FFFFFF"/>
                  </a:gs>
                </a:gsLst>
                <a:lin ang="5400000" scaled="0"/>
              </a:gradFill>
              <a:effectLst/>
              <a:uLnTx/>
              <a:uFillTx/>
            </a:endParaRPr>
          </a:p>
        </p:txBody>
      </p:sp>
      <p:grpSp>
        <p:nvGrpSpPr>
          <p:cNvPr id="135" name="Group 134">
            <a:extLst>
              <a:ext uri="{FF2B5EF4-FFF2-40B4-BE49-F238E27FC236}">
                <a16:creationId xmlns:a16="http://schemas.microsoft.com/office/drawing/2014/main" id="{F1D4211E-98ED-4558-9F5F-528E8C284720}"/>
              </a:ext>
            </a:extLst>
          </p:cNvPr>
          <p:cNvGrpSpPr/>
          <p:nvPr/>
        </p:nvGrpSpPr>
        <p:grpSpPr>
          <a:xfrm>
            <a:off x="2807430" y="1823139"/>
            <a:ext cx="869552" cy="904921"/>
            <a:chOff x="2446073" y="1290694"/>
            <a:chExt cx="639434" cy="665443"/>
          </a:xfrm>
        </p:grpSpPr>
        <p:grpSp>
          <p:nvGrpSpPr>
            <p:cNvPr id="136" name="Group 135">
              <a:extLst>
                <a:ext uri="{FF2B5EF4-FFF2-40B4-BE49-F238E27FC236}">
                  <a16:creationId xmlns:a16="http://schemas.microsoft.com/office/drawing/2014/main" id="{5CFCAC45-9EBE-4AE3-8CD1-D6F0976543E9}"/>
                </a:ext>
              </a:extLst>
            </p:cNvPr>
            <p:cNvGrpSpPr/>
            <p:nvPr/>
          </p:nvGrpSpPr>
          <p:grpSpPr>
            <a:xfrm>
              <a:off x="2446073" y="1290694"/>
              <a:ext cx="639434" cy="665443"/>
              <a:chOff x="3261429" y="1720925"/>
              <a:chExt cx="852579" cy="887257"/>
            </a:xfrm>
          </p:grpSpPr>
          <p:sp>
            <p:nvSpPr>
              <p:cNvPr id="139" name="Cylinder 513">
                <a:extLst>
                  <a:ext uri="{FF2B5EF4-FFF2-40B4-BE49-F238E27FC236}">
                    <a16:creationId xmlns:a16="http://schemas.microsoft.com/office/drawing/2014/main" id="{B9533E1E-E1AA-427A-99C6-819C27A5102A}"/>
                  </a:ext>
                </a:extLst>
              </p:cNvPr>
              <p:cNvSpPr/>
              <p:nvPr/>
            </p:nvSpPr>
            <p:spPr bwMode="auto">
              <a:xfrm>
                <a:off x="3410533" y="1921810"/>
                <a:ext cx="547306" cy="686372"/>
              </a:xfrm>
              <a:prstGeom prst="can">
                <a:avLst>
                  <a:gd name="adj" fmla="val 39530"/>
                </a:avLst>
              </a:prstGeom>
              <a:solidFill>
                <a:srgbClr val="FFFFFF"/>
              </a:solidFill>
              <a:ln w="12700" cap="flat" cmpd="sng" algn="ctr">
                <a:solidFill>
                  <a:srgbClr val="505050"/>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408" b="0" i="0" u="none" strike="noStrike" kern="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140" name="TextBox 139">
                <a:extLst>
                  <a:ext uri="{FF2B5EF4-FFF2-40B4-BE49-F238E27FC236}">
                    <a16:creationId xmlns:a16="http://schemas.microsoft.com/office/drawing/2014/main" id="{7A03739C-B9C8-4126-8C79-14BA26147AE8}"/>
                  </a:ext>
                </a:extLst>
              </p:cNvPr>
              <p:cNvSpPr txBox="1"/>
              <p:nvPr/>
            </p:nvSpPr>
            <p:spPr>
              <a:xfrm>
                <a:off x="3261429" y="1720925"/>
                <a:ext cx="852579" cy="172676"/>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srgbClr val="1A1A1A"/>
                        </a:gs>
                        <a:gs pos="30000">
                          <a:srgbClr val="1A1A1A"/>
                        </a:gs>
                      </a:gsLst>
                      <a:lin ang="5400000" scaled="0"/>
                    </a:gradFill>
                    <a:effectLst/>
                    <a:uLnTx/>
                    <a:uFillTx/>
                  </a:rPr>
                  <a:t>HS_Gen5_2</a:t>
                </a:r>
              </a:p>
            </p:txBody>
          </p:sp>
        </p:grpSp>
        <p:sp>
          <p:nvSpPr>
            <p:cNvPr id="137" name="TextBox 136">
              <a:extLst>
                <a:ext uri="{FF2B5EF4-FFF2-40B4-BE49-F238E27FC236}">
                  <a16:creationId xmlns:a16="http://schemas.microsoft.com/office/drawing/2014/main" id="{A57F3111-AFDE-4B11-938D-12775552CC88}"/>
                </a:ext>
              </a:extLst>
            </p:cNvPr>
            <p:cNvSpPr txBox="1"/>
            <p:nvPr/>
          </p:nvSpPr>
          <p:spPr>
            <a:xfrm>
              <a:off x="2562002" y="1643243"/>
              <a:ext cx="400438" cy="141289"/>
            </a:xfrm>
            <a:prstGeom prst="rect">
              <a:avLst/>
            </a:prstGeom>
            <a:solidFill>
              <a:srgbClr val="50E6FF">
                <a:lumMod val="60000"/>
                <a:lumOff val="40000"/>
              </a:srgbClr>
            </a:solidFill>
          </p:spPr>
          <p:txBody>
            <a:bodyPr wrap="square" lIns="0" tIns="0" rIns="0" bIns="0" rtlCol="0">
              <a:spAutoFit/>
            </a:bodyPr>
            <a:lstStyle>
              <a:defPPr>
                <a:defRPr lang="en-US"/>
              </a:defPPr>
              <a:lvl1pPr algn="ctr" defTabSz="914344">
                <a:defRPr sz="600" kern="0">
                  <a:gradFill>
                    <a:gsLst>
                      <a:gs pos="2917">
                        <a:srgbClr val="1A1A1A"/>
                      </a:gs>
                      <a:gs pos="30000">
                        <a:srgbClr val="1A1A1A"/>
                      </a:gs>
                    </a:gsLst>
                    <a:lin ang="5400000" scaled="0"/>
                  </a:gradFill>
                  <a:latin typeface="Segoe UI"/>
                </a:defRPr>
              </a:lvl1p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latin typeface="Segoe UI"/>
                </a:rPr>
                <a:t>RBPEX Data Cache</a:t>
              </a:r>
            </a:p>
          </p:txBody>
        </p:sp>
        <p:sp>
          <p:nvSpPr>
            <p:cNvPr id="138" name="TextBox 137">
              <a:extLst>
                <a:ext uri="{FF2B5EF4-FFF2-40B4-BE49-F238E27FC236}">
                  <a16:creationId xmlns:a16="http://schemas.microsoft.com/office/drawing/2014/main" id="{A669A962-5879-4AD0-85BA-A971F60D8E86}"/>
                </a:ext>
              </a:extLst>
            </p:cNvPr>
            <p:cNvSpPr txBox="1"/>
            <p:nvPr/>
          </p:nvSpPr>
          <p:spPr>
            <a:xfrm>
              <a:off x="2562132" y="1794400"/>
              <a:ext cx="401419" cy="105943"/>
            </a:xfrm>
            <a:prstGeom prst="rect">
              <a:avLst/>
            </a:prstGeom>
            <a:noFill/>
          </p:spPr>
          <p:txBody>
            <a:bodyPr wrap="square" lIns="0" tIns="0" rIns="0" bIns="0" rtlCol="0">
              <a:spAutoFit/>
            </a:body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408" b="0" i="0" u="none" strike="noStrike" kern="0" cap="none" spc="0" normalizeH="0" baseline="0" noProof="0">
                  <a:ln>
                    <a:noFill/>
                  </a:ln>
                  <a:gradFill>
                    <a:gsLst>
                      <a:gs pos="2917">
                        <a:srgbClr val="1A1A1A"/>
                      </a:gs>
                      <a:gs pos="30000">
                        <a:srgbClr val="1A1A1A"/>
                      </a:gs>
                    </a:gsLst>
                    <a:lin ang="5400000" scaled="0"/>
                  </a:gradFill>
                  <a:effectLst/>
                  <a:uLnTx/>
                  <a:uFillTx/>
                </a:rPr>
                <a:t>Secondary Compute</a:t>
              </a:r>
            </a:p>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510" b="0" i="0" u="none" strike="noStrike" kern="0" cap="none" spc="0" normalizeH="0" baseline="0" noProof="0">
                  <a:ln>
                    <a:noFill/>
                  </a:ln>
                  <a:gradFill>
                    <a:gsLst>
                      <a:gs pos="2917">
                        <a:srgbClr val="1A1A1A"/>
                      </a:gs>
                      <a:gs pos="30000">
                        <a:srgbClr val="1A1A1A"/>
                      </a:gs>
                    </a:gsLst>
                    <a:lin ang="5400000" scaled="0"/>
                  </a:gradFill>
                  <a:effectLst/>
                  <a:uLnTx/>
                  <a:uFillTx/>
                </a:rPr>
                <a:t>sqlservr.exe</a:t>
              </a:r>
            </a:p>
          </p:txBody>
        </p:sp>
      </p:grpSp>
      <p:grpSp>
        <p:nvGrpSpPr>
          <p:cNvPr id="141" name="Group 140">
            <a:extLst>
              <a:ext uri="{FF2B5EF4-FFF2-40B4-BE49-F238E27FC236}">
                <a16:creationId xmlns:a16="http://schemas.microsoft.com/office/drawing/2014/main" id="{8FF8424F-EA6A-4C41-8143-C719185B233D}"/>
              </a:ext>
            </a:extLst>
          </p:cNvPr>
          <p:cNvGrpSpPr/>
          <p:nvPr/>
        </p:nvGrpSpPr>
        <p:grpSpPr>
          <a:xfrm>
            <a:off x="1937702" y="1823140"/>
            <a:ext cx="869552" cy="912180"/>
            <a:chOff x="1806509" y="1290694"/>
            <a:chExt cx="639434" cy="721786"/>
          </a:xfrm>
        </p:grpSpPr>
        <p:grpSp>
          <p:nvGrpSpPr>
            <p:cNvPr id="142" name="Group 141">
              <a:extLst>
                <a:ext uri="{FF2B5EF4-FFF2-40B4-BE49-F238E27FC236}">
                  <a16:creationId xmlns:a16="http://schemas.microsoft.com/office/drawing/2014/main" id="{CD6D115D-12BF-4C0F-ADC5-0B4E412854F9}"/>
                </a:ext>
              </a:extLst>
            </p:cNvPr>
            <p:cNvGrpSpPr/>
            <p:nvPr/>
          </p:nvGrpSpPr>
          <p:grpSpPr>
            <a:xfrm>
              <a:off x="1806509" y="1290694"/>
              <a:ext cx="639434" cy="721786"/>
              <a:chOff x="2408677" y="1720925"/>
              <a:chExt cx="852579" cy="962381"/>
            </a:xfrm>
          </p:grpSpPr>
          <p:sp>
            <p:nvSpPr>
              <p:cNvPr id="145" name="Cylinder 513">
                <a:extLst>
                  <a:ext uri="{FF2B5EF4-FFF2-40B4-BE49-F238E27FC236}">
                    <a16:creationId xmlns:a16="http://schemas.microsoft.com/office/drawing/2014/main" id="{898F638F-374B-490F-8412-F1A3A780D1D3}"/>
                  </a:ext>
                </a:extLst>
              </p:cNvPr>
              <p:cNvSpPr/>
              <p:nvPr/>
            </p:nvSpPr>
            <p:spPr bwMode="auto">
              <a:xfrm>
                <a:off x="2563301" y="1934062"/>
                <a:ext cx="547306" cy="749244"/>
              </a:xfrm>
              <a:prstGeom prst="can">
                <a:avLst>
                  <a:gd name="adj" fmla="val 39530"/>
                </a:avLst>
              </a:prstGeom>
              <a:solidFill>
                <a:srgbClr val="FFFFFF"/>
              </a:solidFill>
              <a:ln w="12700" cap="flat" cmpd="sng" algn="ctr">
                <a:solidFill>
                  <a:srgbClr val="505050"/>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408" b="0" i="0" u="none" strike="noStrike" kern="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146" name="TextBox 145">
                <a:extLst>
                  <a:ext uri="{FF2B5EF4-FFF2-40B4-BE49-F238E27FC236}">
                    <a16:creationId xmlns:a16="http://schemas.microsoft.com/office/drawing/2014/main" id="{7C0BCD61-58B2-4BFB-B7E7-481BC0B5E1D0}"/>
                  </a:ext>
                </a:extLst>
              </p:cNvPr>
              <p:cNvSpPr txBox="1"/>
              <p:nvPr/>
            </p:nvSpPr>
            <p:spPr>
              <a:xfrm>
                <a:off x="2408677" y="1720925"/>
                <a:ext cx="852579" cy="185806"/>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srgbClr val="1A1A1A"/>
                        </a:gs>
                        <a:gs pos="30000">
                          <a:srgbClr val="1A1A1A"/>
                        </a:gs>
                      </a:gsLst>
                      <a:lin ang="5400000" scaled="0"/>
                    </a:gradFill>
                    <a:effectLst/>
                    <a:uLnTx/>
                    <a:uFillTx/>
                  </a:rPr>
                  <a:t>HS_Gen5_2</a:t>
                </a:r>
              </a:p>
            </p:txBody>
          </p:sp>
        </p:grpSp>
        <p:sp>
          <p:nvSpPr>
            <p:cNvPr id="143" name="TextBox 142">
              <a:extLst>
                <a:ext uri="{FF2B5EF4-FFF2-40B4-BE49-F238E27FC236}">
                  <a16:creationId xmlns:a16="http://schemas.microsoft.com/office/drawing/2014/main" id="{47CD3F42-A5F1-46A7-B332-E788B6E3B621}"/>
                </a:ext>
              </a:extLst>
            </p:cNvPr>
            <p:cNvSpPr txBox="1"/>
            <p:nvPr/>
          </p:nvSpPr>
          <p:spPr>
            <a:xfrm>
              <a:off x="1927862" y="1670051"/>
              <a:ext cx="399974" cy="149029"/>
            </a:xfrm>
            <a:prstGeom prst="rect">
              <a:avLst/>
            </a:prstGeom>
            <a:solidFill>
              <a:srgbClr val="50E6FF">
                <a:lumMod val="60000"/>
                <a:lumOff val="40000"/>
              </a:srgbClr>
            </a:solidFill>
          </p:spPr>
          <p:txBody>
            <a:bodyPr wrap="square" lIns="0" tIns="0" rIns="0" bIns="0" rtlCol="0">
              <a:noAutofit/>
            </a:bodyPr>
            <a:lstStyle>
              <a:defPPr>
                <a:defRPr lang="en-US"/>
              </a:defPPr>
              <a:lvl1pPr algn="ctr" defTabSz="914344">
                <a:defRPr sz="600" kern="0">
                  <a:gradFill>
                    <a:gsLst>
                      <a:gs pos="2917">
                        <a:srgbClr val="1A1A1A"/>
                      </a:gs>
                      <a:gs pos="30000">
                        <a:srgbClr val="1A1A1A"/>
                      </a:gs>
                    </a:gsLst>
                    <a:lin ang="5400000" scaled="0"/>
                  </a:gradFill>
                  <a:latin typeface="Segoe UI"/>
                </a:defRPr>
              </a:lvl1p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latin typeface="Segoe UI"/>
                </a:rPr>
                <a:t>RBPEX Data Cache</a:t>
              </a:r>
            </a:p>
          </p:txBody>
        </p:sp>
        <p:sp>
          <p:nvSpPr>
            <p:cNvPr id="144" name="TextBox 143">
              <a:extLst>
                <a:ext uri="{FF2B5EF4-FFF2-40B4-BE49-F238E27FC236}">
                  <a16:creationId xmlns:a16="http://schemas.microsoft.com/office/drawing/2014/main" id="{DFBA2FE3-A7A1-40BD-84C6-E1CB81681F6A}"/>
                </a:ext>
              </a:extLst>
            </p:cNvPr>
            <p:cNvSpPr txBox="1"/>
            <p:nvPr/>
          </p:nvSpPr>
          <p:spPr>
            <a:xfrm>
              <a:off x="1921596" y="1823340"/>
              <a:ext cx="401419" cy="113998"/>
            </a:xfrm>
            <a:prstGeom prst="rect">
              <a:avLst/>
            </a:prstGeom>
            <a:noFill/>
          </p:spPr>
          <p:txBody>
            <a:bodyPr wrap="square" lIns="0" tIns="0" rIns="0" bIns="0" rtlCol="0">
              <a:spAutoFit/>
            </a:body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408" b="0" i="0" u="none" strike="noStrike" kern="0" cap="none" spc="0" normalizeH="0" baseline="0" noProof="0">
                  <a:ln>
                    <a:noFill/>
                  </a:ln>
                  <a:gradFill>
                    <a:gsLst>
                      <a:gs pos="2917">
                        <a:srgbClr val="1A1A1A"/>
                      </a:gs>
                      <a:gs pos="30000">
                        <a:srgbClr val="1A1A1A"/>
                      </a:gs>
                    </a:gsLst>
                    <a:lin ang="5400000" scaled="0"/>
                  </a:gradFill>
                  <a:effectLst/>
                  <a:uLnTx/>
                  <a:uFillTx/>
                </a:rPr>
                <a:t>Secondary Compute</a:t>
              </a:r>
            </a:p>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510" b="0" i="0" u="none" strike="noStrike" kern="0" cap="none" spc="0" normalizeH="0" baseline="0" noProof="0">
                  <a:ln>
                    <a:noFill/>
                  </a:ln>
                  <a:gradFill>
                    <a:gsLst>
                      <a:gs pos="2917">
                        <a:srgbClr val="1A1A1A"/>
                      </a:gs>
                      <a:gs pos="30000">
                        <a:srgbClr val="1A1A1A"/>
                      </a:gs>
                    </a:gsLst>
                    <a:lin ang="5400000" scaled="0"/>
                  </a:gradFill>
                  <a:effectLst/>
                  <a:uLnTx/>
                  <a:uFillTx/>
                </a:rPr>
                <a:t>sqlservr.exe</a:t>
              </a:r>
            </a:p>
          </p:txBody>
        </p:sp>
      </p:grpSp>
      <p:grpSp>
        <p:nvGrpSpPr>
          <p:cNvPr id="147" name="Group 146">
            <a:extLst>
              <a:ext uri="{FF2B5EF4-FFF2-40B4-BE49-F238E27FC236}">
                <a16:creationId xmlns:a16="http://schemas.microsoft.com/office/drawing/2014/main" id="{AA37F63C-9ACA-4782-90B6-815E154C5D36}"/>
              </a:ext>
            </a:extLst>
          </p:cNvPr>
          <p:cNvGrpSpPr/>
          <p:nvPr/>
        </p:nvGrpSpPr>
        <p:grpSpPr>
          <a:xfrm>
            <a:off x="3728915" y="1823140"/>
            <a:ext cx="869552" cy="904922"/>
            <a:chOff x="3123697" y="1290694"/>
            <a:chExt cx="639434" cy="665444"/>
          </a:xfrm>
        </p:grpSpPr>
        <p:grpSp>
          <p:nvGrpSpPr>
            <p:cNvPr id="148" name="Group 147">
              <a:extLst>
                <a:ext uri="{FF2B5EF4-FFF2-40B4-BE49-F238E27FC236}">
                  <a16:creationId xmlns:a16="http://schemas.microsoft.com/office/drawing/2014/main" id="{4B3EBBB4-903E-49B2-A2D4-12FF5EE10061}"/>
                </a:ext>
              </a:extLst>
            </p:cNvPr>
            <p:cNvGrpSpPr/>
            <p:nvPr/>
          </p:nvGrpSpPr>
          <p:grpSpPr>
            <a:xfrm>
              <a:off x="3123697" y="1290694"/>
              <a:ext cx="639434" cy="665444"/>
              <a:chOff x="4164928" y="1720925"/>
              <a:chExt cx="852579" cy="887259"/>
            </a:xfrm>
          </p:grpSpPr>
          <p:sp>
            <p:nvSpPr>
              <p:cNvPr id="151" name="Cylinder 513">
                <a:extLst>
                  <a:ext uri="{FF2B5EF4-FFF2-40B4-BE49-F238E27FC236}">
                    <a16:creationId xmlns:a16="http://schemas.microsoft.com/office/drawing/2014/main" id="{010228A8-EF61-4ADC-8F48-2AB99ED2AB91}"/>
                  </a:ext>
                </a:extLst>
              </p:cNvPr>
              <p:cNvSpPr/>
              <p:nvPr/>
            </p:nvSpPr>
            <p:spPr bwMode="auto">
              <a:xfrm>
                <a:off x="4251324" y="1933025"/>
                <a:ext cx="547306" cy="675159"/>
              </a:xfrm>
              <a:prstGeom prst="can">
                <a:avLst>
                  <a:gd name="adj" fmla="val 39530"/>
                </a:avLst>
              </a:prstGeom>
              <a:solidFill>
                <a:srgbClr val="FFFFFF"/>
              </a:solidFill>
              <a:ln w="12700" cap="flat" cmpd="sng" algn="ctr">
                <a:solidFill>
                  <a:srgbClr val="505050"/>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408" b="0" i="0" u="none" strike="noStrike" kern="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152" name="TextBox 151">
                <a:extLst>
                  <a:ext uri="{FF2B5EF4-FFF2-40B4-BE49-F238E27FC236}">
                    <a16:creationId xmlns:a16="http://schemas.microsoft.com/office/drawing/2014/main" id="{D15E11C5-B4C8-44EA-8846-3D63833EF715}"/>
                  </a:ext>
                </a:extLst>
              </p:cNvPr>
              <p:cNvSpPr txBox="1"/>
              <p:nvPr/>
            </p:nvSpPr>
            <p:spPr>
              <a:xfrm>
                <a:off x="4164928" y="1720925"/>
                <a:ext cx="852579" cy="172676"/>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srgbClr val="1A1A1A"/>
                        </a:gs>
                        <a:gs pos="30000">
                          <a:srgbClr val="1A1A1A"/>
                        </a:gs>
                      </a:gsLst>
                      <a:lin ang="5400000" scaled="0"/>
                    </a:gradFill>
                    <a:effectLst/>
                    <a:uLnTx/>
                    <a:uFillTx/>
                  </a:rPr>
                  <a:t>HS_Gen5_2</a:t>
                </a:r>
              </a:p>
            </p:txBody>
          </p:sp>
        </p:grpSp>
        <p:sp>
          <p:nvSpPr>
            <p:cNvPr id="149" name="TextBox 148">
              <a:extLst>
                <a:ext uri="{FF2B5EF4-FFF2-40B4-BE49-F238E27FC236}">
                  <a16:creationId xmlns:a16="http://schemas.microsoft.com/office/drawing/2014/main" id="{916656ED-4850-4B12-ABC4-8254CC341282}"/>
                </a:ext>
              </a:extLst>
            </p:cNvPr>
            <p:cNvSpPr txBox="1"/>
            <p:nvPr/>
          </p:nvSpPr>
          <p:spPr>
            <a:xfrm>
              <a:off x="3192230" y="1651927"/>
              <a:ext cx="400049" cy="141289"/>
            </a:xfrm>
            <a:prstGeom prst="rect">
              <a:avLst/>
            </a:prstGeom>
            <a:solidFill>
              <a:srgbClr val="50E6FF">
                <a:lumMod val="60000"/>
                <a:lumOff val="40000"/>
              </a:srgbClr>
            </a:solidFill>
          </p:spPr>
          <p:txBody>
            <a:bodyPr wrap="square" lIns="0" tIns="0" rIns="0" bIns="0" rtlCol="0">
              <a:spAutoFit/>
            </a:bodyPr>
            <a:lstStyle>
              <a:defPPr>
                <a:defRPr lang="en-US"/>
              </a:defPPr>
              <a:lvl1pPr algn="ctr" defTabSz="914344">
                <a:defRPr sz="600" kern="0">
                  <a:gradFill>
                    <a:gsLst>
                      <a:gs pos="2917">
                        <a:srgbClr val="1A1A1A"/>
                      </a:gs>
                      <a:gs pos="30000">
                        <a:srgbClr val="1A1A1A"/>
                      </a:gs>
                    </a:gsLst>
                    <a:lin ang="5400000" scaled="0"/>
                  </a:gradFill>
                  <a:latin typeface="Segoe UI"/>
                </a:defRPr>
              </a:lvl1p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latin typeface="Segoe UI"/>
                </a:rPr>
                <a:t>RBPEX Data Cache</a:t>
              </a:r>
            </a:p>
          </p:txBody>
        </p:sp>
        <p:sp>
          <p:nvSpPr>
            <p:cNvPr id="150" name="TextBox 149">
              <a:extLst>
                <a:ext uri="{FF2B5EF4-FFF2-40B4-BE49-F238E27FC236}">
                  <a16:creationId xmlns:a16="http://schemas.microsoft.com/office/drawing/2014/main" id="{8497E3F0-3F77-49AF-BB78-AB16E31661A5}"/>
                </a:ext>
              </a:extLst>
            </p:cNvPr>
            <p:cNvSpPr txBox="1"/>
            <p:nvPr/>
          </p:nvSpPr>
          <p:spPr>
            <a:xfrm>
              <a:off x="3192230" y="1800013"/>
              <a:ext cx="410765" cy="105943"/>
            </a:xfrm>
            <a:prstGeom prst="rect">
              <a:avLst/>
            </a:prstGeom>
            <a:noFill/>
          </p:spPr>
          <p:txBody>
            <a:bodyPr wrap="square" lIns="0" tIns="0" rIns="0" bIns="0" rtlCol="0">
              <a:spAutoFit/>
            </a:bodyPr>
            <a:lstStyle>
              <a:defPPr>
                <a:defRPr lang="en-US"/>
              </a:defPPr>
              <a:lvl1pPr algn="ctr" defTabSz="914344">
                <a:defRPr sz="400" kern="0">
                  <a:gradFill>
                    <a:gsLst>
                      <a:gs pos="2917">
                        <a:srgbClr val="1A1A1A"/>
                      </a:gs>
                      <a:gs pos="30000">
                        <a:srgbClr val="1A1A1A"/>
                      </a:gs>
                    </a:gsLst>
                    <a:lin ang="5400000" scaled="0"/>
                  </a:gradFill>
                  <a:latin typeface="Segoe UI"/>
                </a:defRPr>
              </a:lvl1p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408" b="0" i="0" u="none" strike="noStrike" kern="0" cap="none" spc="0" normalizeH="0" baseline="0" noProof="0">
                  <a:ln>
                    <a:noFill/>
                  </a:ln>
                  <a:gradFill>
                    <a:gsLst>
                      <a:gs pos="2917">
                        <a:srgbClr val="1A1A1A"/>
                      </a:gs>
                      <a:gs pos="30000">
                        <a:srgbClr val="1A1A1A"/>
                      </a:gs>
                    </a:gsLst>
                    <a:lin ang="5400000" scaled="0"/>
                  </a:gradFill>
                  <a:effectLst/>
                  <a:uLnTx/>
                  <a:uFillTx/>
                  <a:latin typeface="Segoe UI"/>
                </a:rPr>
                <a:t>Secondary Compute</a:t>
              </a:r>
            </a:p>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510" b="0" i="0" u="none" strike="noStrike" kern="0" cap="none" spc="0" normalizeH="0" baseline="0" noProof="0">
                  <a:ln>
                    <a:noFill/>
                  </a:ln>
                  <a:gradFill>
                    <a:gsLst>
                      <a:gs pos="2917">
                        <a:srgbClr val="1A1A1A"/>
                      </a:gs>
                      <a:gs pos="30000">
                        <a:srgbClr val="1A1A1A"/>
                      </a:gs>
                    </a:gsLst>
                    <a:lin ang="5400000" scaled="0"/>
                  </a:gradFill>
                  <a:effectLst/>
                  <a:uLnTx/>
                  <a:uFillTx/>
                  <a:latin typeface="Segoe UI"/>
                </a:rPr>
                <a:t>sqlservr.exe</a:t>
              </a:r>
            </a:p>
          </p:txBody>
        </p:sp>
      </p:grpSp>
      <p:sp>
        <p:nvSpPr>
          <p:cNvPr id="153" name="Rectangle 152">
            <a:extLst>
              <a:ext uri="{FF2B5EF4-FFF2-40B4-BE49-F238E27FC236}">
                <a16:creationId xmlns:a16="http://schemas.microsoft.com/office/drawing/2014/main" id="{99CFDC2A-1D81-48F0-976A-81F1C3497946}"/>
              </a:ext>
            </a:extLst>
          </p:cNvPr>
          <p:cNvSpPr/>
          <p:nvPr/>
        </p:nvSpPr>
        <p:spPr bwMode="auto">
          <a:xfrm>
            <a:off x="724033" y="1470739"/>
            <a:ext cx="4065169" cy="1410242"/>
          </a:xfrm>
          <a:prstGeom prst="rect">
            <a:avLst/>
          </a:prstGeom>
          <a:noFill/>
          <a:ln w="19050" cap="flat" cmpd="sng" algn="ctr">
            <a:solidFill>
              <a:srgbClr val="00B05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154" name="TextBox 153">
            <a:extLst>
              <a:ext uri="{FF2B5EF4-FFF2-40B4-BE49-F238E27FC236}">
                <a16:creationId xmlns:a16="http://schemas.microsoft.com/office/drawing/2014/main" id="{71690863-7997-4886-9792-3D547C0E4601}"/>
              </a:ext>
            </a:extLst>
          </p:cNvPr>
          <p:cNvSpPr txBox="1"/>
          <p:nvPr/>
        </p:nvSpPr>
        <p:spPr>
          <a:xfrm>
            <a:off x="2462446" y="1501617"/>
            <a:ext cx="980273" cy="176114"/>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srgbClr val="1A1A1A"/>
                    </a:gs>
                    <a:gs pos="30000">
                      <a:srgbClr val="1A1A1A"/>
                    </a:gs>
                  </a:gsLst>
                  <a:lin ang="5400000" scaled="0"/>
                </a:gradFill>
                <a:effectLst/>
                <a:uLnTx/>
                <a:uFillTx/>
              </a:rPr>
              <a:t>Compute</a:t>
            </a:r>
          </a:p>
        </p:txBody>
      </p:sp>
      <p:sp>
        <p:nvSpPr>
          <p:cNvPr id="155" name="people_4" title="Icon of a person">
            <a:extLst>
              <a:ext uri="{FF2B5EF4-FFF2-40B4-BE49-F238E27FC236}">
                <a16:creationId xmlns:a16="http://schemas.microsoft.com/office/drawing/2014/main" id="{0DF3845C-0726-42EB-9635-63F1EB097733}"/>
              </a:ext>
            </a:extLst>
          </p:cNvPr>
          <p:cNvSpPr>
            <a:spLocks noChangeAspect="1" noEditPoints="1"/>
          </p:cNvSpPr>
          <p:nvPr/>
        </p:nvSpPr>
        <p:spPr bwMode="auto">
          <a:xfrm>
            <a:off x="2080416" y="937268"/>
            <a:ext cx="246944" cy="28887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cxnSp>
        <p:nvCxnSpPr>
          <p:cNvPr id="156" name="Connector: Elbow 155">
            <a:extLst>
              <a:ext uri="{FF2B5EF4-FFF2-40B4-BE49-F238E27FC236}">
                <a16:creationId xmlns:a16="http://schemas.microsoft.com/office/drawing/2014/main" id="{4204C568-C789-40AE-BE9F-14045BF3EDA2}"/>
              </a:ext>
            </a:extLst>
          </p:cNvPr>
          <p:cNvCxnSpPr>
            <a:cxnSpLocks/>
            <a:endCxn id="239" idx="0"/>
          </p:cNvCxnSpPr>
          <p:nvPr/>
        </p:nvCxnSpPr>
        <p:spPr>
          <a:xfrm rot="10800000" flipV="1">
            <a:off x="1331135" y="1118605"/>
            <a:ext cx="729448" cy="704534"/>
          </a:xfrm>
          <a:prstGeom prst="bentConnector2">
            <a:avLst/>
          </a:prstGeom>
          <a:noFill/>
          <a:ln w="28575" cap="flat" cmpd="sng" algn="ctr">
            <a:solidFill>
              <a:srgbClr val="00B050"/>
            </a:solidFill>
            <a:prstDash val="solid"/>
            <a:headEnd type="none" w="lg" len="med"/>
            <a:tailEnd type="triangle"/>
          </a:ln>
          <a:effectLst/>
        </p:spPr>
      </p:cxnSp>
      <p:cxnSp>
        <p:nvCxnSpPr>
          <p:cNvPr id="157" name="Connector: Elbow 156">
            <a:extLst>
              <a:ext uri="{FF2B5EF4-FFF2-40B4-BE49-F238E27FC236}">
                <a16:creationId xmlns:a16="http://schemas.microsoft.com/office/drawing/2014/main" id="{665EE38E-A326-4E7B-9A70-ADD5A9EA61FD}"/>
              </a:ext>
            </a:extLst>
          </p:cNvPr>
          <p:cNvCxnSpPr>
            <a:cxnSpLocks/>
            <a:endCxn id="134" idx="0"/>
          </p:cNvCxnSpPr>
          <p:nvPr/>
        </p:nvCxnSpPr>
        <p:spPr>
          <a:xfrm>
            <a:off x="2356103" y="1118606"/>
            <a:ext cx="901535" cy="650677"/>
          </a:xfrm>
          <a:prstGeom prst="bentConnector2">
            <a:avLst/>
          </a:prstGeom>
          <a:noFill/>
          <a:ln w="28575" cap="flat" cmpd="sng" algn="ctr">
            <a:solidFill>
              <a:srgbClr val="F0493E"/>
            </a:solidFill>
            <a:prstDash val="solid"/>
            <a:headEnd type="none" w="lg" len="med"/>
            <a:tailEnd type="triangle"/>
          </a:ln>
          <a:effectLst/>
        </p:spPr>
      </p:cxnSp>
      <p:sp>
        <p:nvSpPr>
          <p:cNvPr id="158" name="TextBox 157">
            <a:extLst>
              <a:ext uri="{FF2B5EF4-FFF2-40B4-BE49-F238E27FC236}">
                <a16:creationId xmlns:a16="http://schemas.microsoft.com/office/drawing/2014/main" id="{197D3D71-0CC9-441C-ACFA-7361FB4AC4C8}"/>
              </a:ext>
            </a:extLst>
          </p:cNvPr>
          <p:cNvSpPr txBox="1"/>
          <p:nvPr/>
        </p:nvSpPr>
        <p:spPr>
          <a:xfrm>
            <a:off x="1082534" y="839217"/>
            <a:ext cx="978049" cy="168266"/>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072" b="0" i="0" u="none" strike="noStrike" kern="0" cap="none" spc="0" normalizeH="0" baseline="0" noProof="0">
                <a:ln>
                  <a:noFill/>
                </a:ln>
                <a:gradFill>
                  <a:gsLst>
                    <a:gs pos="2917">
                      <a:srgbClr val="1A1A1A"/>
                    </a:gs>
                    <a:gs pos="30000">
                      <a:srgbClr val="1A1A1A"/>
                    </a:gs>
                  </a:gsLst>
                  <a:lin ang="5400000" scaled="0"/>
                </a:gradFill>
                <a:effectLst/>
                <a:uLnTx/>
                <a:uFillTx/>
              </a:rPr>
              <a:t>Read and Write</a:t>
            </a:r>
          </a:p>
        </p:txBody>
      </p:sp>
      <p:sp>
        <p:nvSpPr>
          <p:cNvPr id="159" name="TextBox 158">
            <a:extLst>
              <a:ext uri="{FF2B5EF4-FFF2-40B4-BE49-F238E27FC236}">
                <a16:creationId xmlns:a16="http://schemas.microsoft.com/office/drawing/2014/main" id="{BD0F7BAA-6D34-4608-8E04-B01B871E95EB}"/>
              </a:ext>
            </a:extLst>
          </p:cNvPr>
          <p:cNvSpPr txBox="1"/>
          <p:nvPr/>
        </p:nvSpPr>
        <p:spPr>
          <a:xfrm>
            <a:off x="2416462" y="844959"/>
            <a:ext cx="865266" cy="168266"/>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072" b="0" i="0" u="none" strike="noStrike" kern="0" cap="none" spc="0" normalizeH="0" baseline="0" noProof="0">
                <a:ln>
                  <a:noFill/>
                </a:ln>
                <a:gradFill>
                  <a:gsLst>
                    <a:gs pos="2917">
                      <a:srgbClr val="1A1A1A"/>
                    </a:gs>
                    <a:gs pos="30000">
                      <a:srgbClr val="1A1A1A"/>
                    </a:gs>
                  </a:gsLst>
                  <a:lin ang="5400000" scaled="0"/>
                </a:gradFill>
                <a:effectLst/>
                <a:uLnTx/>
                <a:uFillTx/>
              </a:rPr>
              <a:t>Read Only</a:t>
            </a:r>
          </a:p>
        </p:txBody>
      </p:sp>
      <p:sp>
        <p:nvSpPr>
          <p:cNvPr id="160" name="Cylinder 513">
            <a:extLst>
              <a:ext uri="{FF2B5EF4-FFF2-40B4-BE49-F238E27FC236}">
                <a16:creationId xmlns:a16="http://schemas.microsoft.com/office/drawing/2014/main" id="{1937E76C-BC68-43E2-B21A-52330483BBF1}"/>
              </a:ext>
            </a:extLst>
          </p:cNvPr>
          <p:cNvSpPr/>
          <p:nvPr/>
        </p:nvSpPr>
        <p:spPr bwMode="auto">
          <a:xfrm>
            <a:off x="1206785" y="5174531"/>
            <a:ext cx="508905" cy="437463"/>
          </a:xfrm>
          <a:prstGeom prst="can">
            <a:avLst>
              <a:gd name="adj" fmla="val 39530"/>
            </a:avLst>
          </a:prstGeom>
          <a:no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05" fontAlgn="base">
              <a:lnSpc>
                <a:spcPct val="90000"/>
              </a:lnSpc>
              <a:spcBef>
                <a:spcPct val="0"/>
              </a:spcBef>
              <a:spcAft>
                <a:spcPct val="0"/>
              </a:spcAft>
              <a:defRPr/>
            </a:pPr>
            <a:endParaRPr lang="en-US" sz="714" kern="0">
              <a:solidFill>
                <a:srgbClr val="0078D7"/>
              </a:solidFill>
              <a:latin typeface="Segoe UI Semilight" panose="020B0402040204020203" pitchFamily="34" charset="0"/>
              <a:ea typeface="Segoe UI" pitchFamily="34" charset="0"/>
              <a:cs typeface="Segoe UI Semilight" panose="020B0402040204020203" pitchFamily="34" charset="0"/>
            </a:endParaRPr>
          </a:p>
        </p:txBody>
      </p:sp>
      <p:sp>
        <p:nvSpPr>
          <p:cNvPr id="161" name="Cylinder 513">
            <a:extLst>
              <a:ext uri="{FF2B5EF4-FFF2-40B4-BE49-F238E27FC236}">
                <a16:creationId xmlns:a16="http://schemas.microsoft.com/office/drawing/2014/main" id="{ACAC5076-E617-43F8-8FB5-B411EB28B6E7}"/>
              </a:ext>
            </a:extLst>
          </p:cNvPr>
          <p:cNvSpPr/>
          <p:nvPr/>
        </p:nvSpPr>
        <p:spPr bwMode="auto">
          <a:xfrm>
            <a:off x="1321818" y="5288475"/>
            <a:ext cx="508905" cy="437463"/>
          </a:xfrm>
          <a:prstGeom prst="can">
            <a:avLst>
              <a:gd name="adj" fmla="val 39530"/>
            </a:avLst>
          </a:prstGeom>
          <a:solidFill>
            <a:srgbClr val="FFFFFF"/>
          </a:solid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05" fontAlgn="base">
              <a:lnSpc>
                <a:spcPct val="90000"/>
              </a:lnSpc>
              <a:spcBef>
                <a:spcPct val="0"/>
              </a:spcBef>
              <a:spcAft>
                <a:spcPct val="0"/>
              </a:spcAft>
              <a:defRPr/>
            </a:pPr>
            <a:r>
              <a:rPr lang="en-US" sz="714" kern="0">
                <a:solidFill>
                  <a:srgbClr val="3C3C41"/>
                </a:solidFill>
                <a:ea typeface="Segoe UI" pitchFamily="34" charset="0"/>
                <a:cs typeface="Segoe UI Semilight" panose="020B0402040204020203" pitchFamily="34" charset="0"/>
              </a:rPr>
              <a:t>Data Pages</a:t>
            </a:r>
          </a:p>
        </p:txBody>
      </p:sp>
      <p:sp>
        <p:nvSpPr>
          <p:cNvPr id="162" name="TextBox 161">
            <a:extLst>
              <a:ext uri="{FF2B5EF4-FFF2-40B4-BE49-F238E27FC236}">
                <a16:creationId xmlns:a16="http://schemas.microsoft.com/office/drawing/2014/main" id="{B41F5780-F70C-411E-9BAD-223B77AD4042}"/>
              </a:ext>
            </a:extLst>
          </p:cNvPr>
          <p:cNvSpPr txBox="1"/>
          <p:nvPr/>
        </p:nvSpPr>
        <p:spPr>
          <a:xfrm>
            <a:off x="2937879" y="5324675"/>
            <a:ext cx="265940" cy="256159"/>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gradFill>
                  <a:gsLst>
                    <a:gs pos="2917">
                      <a:srgbClr val="1A1A1A"/>
                    </a:gs>
                    <a:gs pos="30000">
                      <a:srgbClr val="1A1A1A"/>
                    </a:gs>
                  </a:gsLst>
                  <a:lin ang="5400000" scaled="0"/>
                </a:gradFill>
                <a:effectLst/>
                <a:uLnTx/>
                <a:uFillTx/>
              </a:rPr>
              <a:t>…..</a:t>
            </a:r>
          </a:p>
        </p:txBody>
      </p:sp>
      <p:sp>
        <p:nvSpPr>
          <p:cNvPr id="163" name="Rectangle 162">
            <a:extLst>
              <a:ext uri="{FF2B5EF4-FFF2-40B4-BE49-F238E27FC236}">
                <a16:creationId xmlns:a16="http://schemas.microsoft.com/office/drawing/2014/main" id="{0F056C97-B9D0-4972-A2C9-1A2E88F55C42}"/>
              </a:ext>
            </a:extLst>
          </p:cNvPr>
          <p:cNvSpPr/>
          <p:nvPr/>
        </p:nvSpPr>
        <p:spPr bwMode="auto">
          <a:xfrm>
            <a:off x="1118589" y="5831670"/>
            <a:ext cx="801109" cy="143219"/>
          </a:xfrm>
          <a:prstGeom prst="rect">
            <a:avLst/>
          </a:prstGeom>
          <a:solidFill>
            <a:srgbClr val="FFFFFF"/>
          </a:solidFill>
          <a:ln w="1905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714" b="0" i="0" u="none" strike="noStrike" kern="0" cap="none" spc="0" normalizeH="0" baseline="0" noProof="0">
              <a:ln>
                <a:noFill/>
              </a:ln>
              <a:solidFill>
                <a:srgbClr val="1A1A1A"/>
              </a:solidFill>
              <a:effectLst/>
              <a:uLnTx/>
              <a:uFillTx/>
            </a:endParaRPr>
          </a:p>
        </p:txBody>
      </p:sp>
      <p:sp>
        <p:nvSpPr>
          <p:cNvPr id="164" name="Rectangle 163">
            <a:extLst>
              <a:ext uri="{FF2B5EF4-FFF2-40B4-BE49-F238E27FC236}">
                <a16:creationId xmlns:a16="http://schemas.microsoft.com/office/drawing/2014/main" id="{B8833B24-B51A-4A84-84FF-E1B345FB7B37}"/>
              </a:ext>
            </a:extLst>
          </p:cNvPr>
          <p:cNvSpPr/>
          <p:nvPr/>
        </p:nvSpPr>
        <p:spPr bwMode="auto">
          <a:xfrm>
            <a:off x="1215425" y="5921112"/>
            <a:ext cx="801109" cy="143219"/>
          </a:xfrm>
          <a:prstGeom prst="rect">
            <a:avLst/>
          </a:prstGeom>
          <a:solidFill>
            <a:srgbClr val="FFFFFF"/>
          </a:solidFill>
          <a:ln w="1905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714" b="0" i="0" u="none" strike="noStrike" kern="0" cap="none" spc="0" normalizeH="0" baseline="0" noProof="0">
              <a:ln>
                <a:noFill/>
              </a:ln>
              <a:solidFill>
                <a:srgbClr val="1A1A1A"/>
              </a:solidFill>
              <a:effectLst/>
              <a:uLnTx/>
              <a:uFillTx/>
            </a:endParaRPr>
          </a:p>
        </p:txBody>
      </p:sp>
      <p:sp>
        <p:nvSpPr>
          <p:cNvPr id="165" name="Rectangle 164">
            <a:extLst>
              <a:ext uri="{FF2B5EF4-FFF2-40B4-BE49-F238E27FC236}">
                <a16:creationId xmlns:a16="http://schemas.microsoft.com/office/drawing/2014/main" id="{A468A9F7-C7C4-438D-8746-193F7A026AC5}"/>
              </a:ext>
            </a:extLst>
          </p:cNvPr>
          <p:cNvSpPr/>
          <p:nvPr/>
        </p:nvSpPr>
        <p:spPr bwMode="auto">
          <a:xfrm>
            <a:off x="1312262" y="6010551"/>
            <a:ext cx="801109" cy="143219"/>
          </a:xfrm>
          <a:prstGeom prst="rect">
            <a:avLst/>
          </a:prstGeom>
          <a:solidFill>
            <a:srgbClr val="FFFFFF"/>
          </a:solidFill>
          <a:ln w="1905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714" b="0" i="0" u="none" strike="noStrike" kern="0" cap="none" spc="0" normalizeH="0" baseline="0" noProof="0">
                <a:ln>
                  <a:noFill/>
                </a:ln>
                <a:solidFill>
                  <a:srgbClr val="3C3C41"/>
                </a:solidFill>
                <a:effectLst/>
                <a:uLnTx/>
                <a:uFillTx/>
              </a:rPr>
              <a:t>File Snapshots</a:t>
            </a:r>
          </a:p>
        </p:txBody>
      </p:sp>
      <p:sp>
        <p:nvSpPr>
          <p:cNvPr id="166" name="Rectangle 165">
            <a:extLst>
              <a:ext uri="{FF2B5EF4-FFF2-40B4-BE49-F238E27FC236}">
                <a16:creationId xmlns:a16="http://schemas.microsoft.com/office/drawing/2014/main" id="{37761600-248D-4780-9C10-3720460F2AC9}"/>
              </a:ext>
            </a:extLst>
          </p:cNvPr>
          <p:cNvSpPr/>
          <p:nvPr/>
        </p:nvSpPr>
        <p:spPr bwMode="auto">
          <a:xfrm>
            <a:off x="2165986" y="5820418"/>
            <a:ext cx="783055" cy="154472"/>
          </a:xfrm>
          <a:prstGeom prst="rect">
            <a:avLst/>
          </a:prstGeom>
          <a:solidFill>
            <a:srgbClr val="FFFFFF"/>
          </a:solidFill>
          <a:ln w="1905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714" b="0" i="0" u="none" strike="noStrike" kern="0" cap="none" spc="0" normalizeH="0" baseline="0" noProof="0">
              <a:ln>
                <a:noFill/>
              </a:ln>
              <a:solidFill>
                <a:srgbClr val="1A1A1A"/>
              </a:solidFill>
              <a:effectLst/>
              <a:uLnTx/>
              <a:uFillTx/>
            </a:endParaRPr>
          </a:p>
        </p:txBody>
      </p:sp>
      <p:sp>
        <p:nvSpPr>
          <p:cNvPr id="167" name="Rectangle 166">
            <a:extLst>
              <a:ext uri="{FF2B5EF4-FFF2-40B4-BE49-F238E27FC236}">
                <a16:creationId xmlns:a16="http://schemas.microsoft.com/office/drawing/2014/main" id="{AE212668-53F9-45FB-B603-0E889517E75B}"/>
              </a:ext>
            </a:extLst>
          </p:cNvPr>
          <p:cNvSpPr/>
          <p:nvPr/>
        </p:nvSpPr>
        <p:spPr bwMode="auto">
          <a:xfrm>
            <a:off x="2262822" y="5909858"/>
            <a:ext cx="783055" cy="154472"/>
          </a:xfrm>
          <a:prstGeom prst="rect">
            <a:avLst/>
          </a:prstGeom>
          <a:solidFill>
            <a:srgbClr val="FFFFFF"/>
          </a:solidFill>
          <a:ln w="1905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714" b="0" i="0" u="none" strike="noStrike" kern="0" cap="none" spc="0" normalizeH="0" baseline="0" noProof="0">
              <a:ln>
                <a:noFill/>
              </a:ln>
              <a:solidFill>
                <a:srgbClr val="1A1A1A"/>
              </a:solidFill>
              <a:effectLst/>
              <a:uLnTx/>
              <a:uFillTx/>
            </a:endParaRPr>
          </a:p>
        </p:txBody>
      </p:sp>
      <p:sp>
        <p:nvSpPr>
          <p:cNvPr id="168" name="Rectangle 167">
            <a:extLst>
              <a:ext uri="{FF2B5EF4-FFF2-40B4-BE49-F238E27FC236}">
                <a16:creationId xmlns:a16="http://schemas.microsoft.com/office/drawing/2014/main" id="{44C56C4E-FA9A-4B33-AC0B-BC04BFC028AB}"/>
              </a:ext>
            </a:extLst>
          </p:cNvPr>
          <p:cNvSpPr/>
          <p:nvPr/>
        </p:nvSpPr>
        <p:spPr bwMode="auto">
          <a:xfrm>
            <a:off x="2359658" y="5999297"/>
            <a:ext cx="783055" cy="154472"/>
          </a:xfrm>
          <a:prstGeom prst="rect">
            <a:avLst/>
          </a:prstGeom>
          <a:solidFill>
            <a:srgbClr val="FFFFFF"/>
          </a:solidFill>
          <a:ln w="1905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714" b="0" i="0" u="none" strike="noStrike" kern="0" cap="none" spc="0" normalizeH="0" baseline="0" noProof="0">
                <a:ln>
                  <a:noFill/>
                </a:ln>
                <a:solidFill>
                  <a:srgbClr val="3C3C41"/>
                </a:solidFill>
                <a:effectLst/>
                <a:uLnTx/>
                <a:uFillTx/>
              </a:rPr>
              <a:t>File Snapshots</a:t>
            </a:r>
          </a:p>
        </p:txBody>
      </p:sp>
      <p:sp>
        <p:nvSpPr>
          <p:cNvPr id="169" name="Rectangle 168">
            <a:extLst>
              <a:ext uri="{FF2B5EF4-FFF2-40B4-BE49-F238E27FC236}">
                <a16:creationId xmlns:a16="http://schemas.microsoft.com/office/drawing/2014/main" id="{237AFDB3-115B-4F0C-AB7D-C6BB9A98BA83}"/>
              </a:ext>
            </a:extLst>
          </p:cNvPr>
          <p:cNvSpPr/>
          <p:nvPr/>
        </p:nvSpPr>
        <p:spPr bwMode="auto">
          <a:xfrm>
            <a:off x="3203818" y="5806360"/>
            <a:ext cx="767206" cy="168530"/>
          </a:xfrm>
          <a:prstGeom prst="rect">
            <a:avLst/>
          </a:prstGeom>
          <a:solidFill>
            <a:srgbClr val="FFFFFF"/>
          </a:solidFill>
          <a:ln w="1905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714" b="0" i="0" u="none" strike="noStrike" kern="0" cap="none" spc="0" normalizeH="0" baseline="0" noProof="0">
              <a:ln>
                <a:noFill/>
              </a:ln>
              <a:solidFill>
                <a:srgbClr val="1A1A1A"/>
              </a:solidFill>
              <a:effectLst/>
              <a:uLnTx/>
              <a:uFillTx/>
            </a:endParaRPr>
          </a:p>
        </p:txBody>
      </p:sp>
      <p:sp>
        <p:nvSpPr>
          <p:cNvPr id="170" name="Rectangle 169">
            <a:extLst>
              <a:ext uri="{FF2B5EF4-FFF2-40B4-BE49-F238E27FC236}">
                <a16:creationId xmlns:a16="http://schemas.microsoft.com/office/drawing/2014/main" id="{8DA0DC0D-7134-4A2D-8B9F-A1467B7935FA}"/>
              </a:ext>
            </a:extLst>
          </p:cNvPr>
          <p:cNvSpPr/>
          <p:nvPr/>
        </p:nvSpPr>
        <p:spPr bwMode="auto">
          <a:xfrm>
            <a:off x="3300654" y="5895800"/>
            <a:ext cx="767206" cy="168530"/>
          </a:xfrm>
          <a:prstGeom prst="rect">
            <a:avLst/>
          </a:prstGeom>
          <a:solidFill>
            <a:srgbClr val="FFFFFF"/>
          </a:solidFill>
          <a:ln w="1905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714" b="0" i="0" u="none" strike="noStrike" kern="0" cap="none" spc="0" normalizeH="0" baseline="0" noProof="0">
              <a:ln>
                <a:noFill/>
              </a:ln>
              <a:solidFill>
                <a:srgbClr val="1A1A1A"/>
              </a:solidFill>
              <a:effectLst/>
              <a:uLnTx/>
              <a:uFillTx/>
            </a:endParaRPr>
          </a:p>
        </p:txBody>
      </p:sp>
      <p:sp>
        <p:nvSpPr>
          <p:cNvPr id="171" name="Rectangle 170">
            <a:extLst>
              <a:ext uri="{FF2B5EF4-FFF2-40B4-BE49-F238E27FC236}">
                <a16:creationId xmlns:a16="http://schemas.microsoft.com/office/drawing/2014/main" id="{5FC66A28-DC49-46C1-BC5B-9E14CCDB87CA}"/>
              </a:ext>
            </a:extLst>
          </p:cNvPr>
          <p:cNvSpPr/>
          <p:nvPr/>
        </p:nvSpPr>
        <p:spPr bwMode="auto">
          <a:xfrm>
            <a:off x="3397490" y="5985239"/>
            <a:ext cx="767206" cy="168530"/>
          </a:xfrm>
          <a:prstGeom prst="rect">
            <a:avLst/>
          </a:prstGeom>
          <a:solidFill>
            <a:srgbClr val="FFFFFF"/>
          </a:solidFill>
          <a:ln w="19050"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714" b="0" i="0" u="none" strike="noStrike" kern="0" cap="none" spc="0" normalizeH="0" baseline="0" noProof="0">
                <a:ln>
                  <a:noFill/>
                </a:ln>
                <a:solidFill>
                  <a:srgbClr val="3C3C41"/>
                </a:solidFill>
                <a:effectLst/>
                <a:uLnTx/>
                <a:uFillTx/>
              </a:rPr>
              <a:t>File Snapshots</a:t>
            </a:r>
          </a:p>
        </p:txBody>
      </p:sp>
      <p:sp>
        <p:nvSpPr>
          <p:cNvPr id="172" name="TextBox 171">
            <a:extLst>
              <a:ext uri="{FF2B5EF4-FFF2-40B4-BE49-F238E27FC236}">
                <a16:creationId xmlns:a16="http://schemas.microsoft.com/office/drawing/2014/main" id="{0C075902-3E80-4E88-939D-009CBFC19DEF}"/>
              </a:ext>
            </a:extLst>
          </p:cNvPr>
          <p:cNvSpPr txBox="1"/>
          <p:nvPr/>
        </p:nvSpPr>
        <p:spPr>
          <a:xfrm>
            <a:off x="1016207" y="6192009"/>
            <a:ext cx="3230072" cy="176114"/>
          </a:xfrm>
          <a:prstGeom prst="rect">
            <a:avLst/>
          </a:prstGeom>
          <a:noFill/>
        </p:spPr>
        <p:txBody>
          <a:bodyPr wrap="square" lIns="0" tIns="0" rIns="0" bIns="0" rtlCol="0">
            <a:spAutoFit/>
          </a:body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srgbClr val="1A1A1A"/>
                    </a:gs>
                    <a:gs pos="30000">
                      <a:srgbClr val="1A1A1A"/>
                    </a:gs>
                  </a:gsLst>
                  <a:lin ang="5400000" scaled="0"/>
                </a:gradFill>
                <a:effectLst/>
                <a:uLnTx/>
                <a:uFillTx/>
              </a:rPr>
              <a:t>Azure Storage</a:t>
            </a:r>
          </a:p>
        </p:txBody>
      </p:sp>
      <p:cxnSp>
        <p:nvCxnSpPr>
          <p:cNvPr id="173" name="Straight Arrow Connector 172">
            <a:extLst>
              <a:ext uri="{FF2B5EF4-FFF2-40B4-BE49-F238E27FC236}">
                <a16:creationId xmlns:a16="http://schemas.microsoft.com/office/drawing/2014/main" id="{23A445B2-841C-4529-996E-550C3A082F2B}"/>
              </a:ext>
            </a:extLst>
          </p:cNvPr>
          <p:cNvCxnSpPr>
            <a:cxnSpLocks/>
          </p:cNvCxnSpPr>
          <p:nvPr/>
        </p:nvCxnSpPr>
        <p:spPr>
          <a:xfrm flipV="1">
            <a:off x="1118589" y="2856574"/>
            <a:ext cx="0" cy="652503"/>
          </a:xfrm>
          <a:prstGeom prst="straightConnector1">
            <a:avLst/>
          </a:prstGeom>
          <a:noFill/>
          <a:ln w="28575" cap="flat" cmpd="sng" algn="ctr">
            <a:solidFill>
              <a:srgbClr val="C00000"/>
            </a:solidFill>
            <a:prstDash val="solid"/>
            <a:headEnd type="none" w="lg" len="med"/>
            <a:tailEnd type="triangle"/>
          </a:ln>
          <a:effectLst/>
        </p:spPr>
      </p:cxnSp>
      <p:sp>
        <p:nvSpPr>
          <p:cNvPr id="174" name="Rectangle 173">
            <a:extLst>
              <a:ext uri="{FF2B5EF4-FFF2-40B4-BE49-F238E27FC236}">
                <a16:creationId xmlns:a16="http://schemas.microsoft.com/office/drawing/2014/main" id="{DC1F0684-8912-48CC-B03E-BFD7ED2684FE}"/>
              </a:ext>
            </a:extLst>
          </p:cNvPr>
          <p:cNvSpPr/>
          <p:nvPr/>
        </p:nvSpPr>
        <p:spPr bwMode="auto">
          <a:xfrm>
            <a:off x="5434721" y="2587080"/>
            <a:ext cx="3275191" cy="1520701"/>
          </a:xfrm>
          <a:prstGeom prst="rect">
            <a:avLst/>
          </a:prstGeom>
          <a:noFill/>
          <a:ln w="19050" cap="flat" cmpd="sng" algn="ctr">
            <a:solidFill>
              <a:srgbClr val="00B050"/>
            </a:solidFill>
            <a:prstDash val="sysDot"/>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175" name="Rectangle 174">
            <a:extLst>
              <a:ext uri="{FF2B5EF4-FFF2-40B4-BE49-F238E27FC236}">
                <a16:creationId xmlns:a16="http://schemas.microsoft.com/office/drawing/2014/main" id="{4F5FF909-5AE6-4C09-9633-5A65C248BA14}"/>
              </a:ext>
            </a:extLst>
          </p:cNvPr>
          <p:cNvSpPr/>
          <p:nvPr/>
        </p:nvSpPr>
        <p:spPr bwMode="auto">
          <a:xfrm>
            <a:off x="7720406" y="2652849"/>
            <a:ext cx="887167" cy="1347979"/>
          </a:xfrm>
          <a:prstGeom prst="rect">
            <a:avLst/>
          </a:prstGeom>
          <a:solidFill>
            <a:srgbClr val="E6E6E6"/>
          </a:solidFill>
          <a:ln w="22225"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176" name="Rectangle 175">
            <a:extLst>
              <a:ext uri="{FF2B5EF4-FFF2-40B4-BE49-F238E27FC236}">
                <a16:creationId xmlns:a16="http://schemas.microsoft.com/office/drawing/2014/main" id="{BDF23CBD-ED74-490F-8A17-338E8A85EFAA}"/>
              </a:ext>
            </a:extLst>
          </p:cNvPr>
          <p:cNvSpPr/>
          <p:nvPr/>
        </p:nvSpPr>
        <p:spPr bwMode="auto">
          <a:xfrm>
            <a:off x="7732246" y="3327290"/>
            <a:ext cx="859743" cy="297804"/>
          </a:xfrm>
          <a:prstGeom prst="rect">
            <a:avLst/>
          </a:prstGeom>
          <a:solidFill>
            <a:srgbClr val="50E6FF">
              <a:lumMod val="60000"/>
              <a:lumOff val="40000"/>
            </a:srgbClr>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1020" b="0" i="0" u="none" strike="noStrike" kern="0" cap="none" spc="0" normalizeH="0" baseline="0" noProof="0">
                <a:ln>
                  <a:noFill/>
                </a:ln>
                <a:solidFill>
                  <a:srgbClr val="1A1A1A"/>
                </a:solidFill>
                <a:effectLst/>
                <a:uLnTx/>
                <a:uFillTx/>
              </a:rPr>
              <a:t>Log Cache</a:t>
            </a:r>
          </a:p>
        </p:txBody>
      </p:sp>
      <p:sp>
        <p:nvSpPr>
          <p:cNvPr id="177" name="Rectangle 176">
            <a:extLst>
              <a:ext uri="{FF2B5EF4-FFF2-40B4-BE49-F238E27FC236}">
                <a16:creationId xmlns:a16="http://schemas.microsoft.com/office/drawing/2014/main" id="{57B8CB74-5690-4B17-B008-0A6FA889E2B0}"/>
              </a:ext>
            </a:extLst>
          </p:cNvPr>
          <p:cNvSpPr/>
          <p:nvPr/>
        </p:nvSpPr>
        <p:spPr bwMode="auto">
          <a:xfrm>
            <a:off x="7860088" y="2654072"/>
            <a:ext cx="634736" cy="297804"/>
          </a:xfrm>
          <a:prstGeom prst="rect">
            <a:avLst/>
          </a:prstGeom>
          <a:no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1020" b="0" i="0" u="none" strike="noStrike" kern="0" cap="none" spc="0" normalizeH="0" baseline="0" noProof="0">
                <a:ln>
                  <a:noFill/>
                </a:ln>
                <a:solidFill>
                  <a:srgbClr val="1A1A1A"/>
                </a:solidFill>
                <a:effectLst/>
                <a:uLnTx/>
                <a:uFillTx/>
              </a:rPr>
              <a:t>Log Service</a:t>
            </a:r>
          </a:p>
        </p:txBody>
      </p:sp>
      <p:cxnSp>
        <p:nvCxnSpPr>
          <p:cNvPr id="178" name="Connector: Elbow 177">
            <a:extLst>
              <a:ext uri="{FF2B5EF4-FFF2-40B4-BE49-F238E27FC236}">
                <a16:creationId xmlns:a16="http://schemas.microsoft.com/office/drawing/2014/main" id="{74E874BF-0664-4A0C-A964-AA0FCD9DBC21}"/>
              </a:ext>
            </a:extLst>
          </p:cNvPr>
          <p:cNvCxnSpPr>
            <a:cxnSpLocks/>
            <a:stCxn id="177" idx="0"/>
            <a:endCxn id="134" idx="3"/>
          </p:cNvCxnSpPr>
          <p:nvPr/>
        </p:nvCxnSpPr>
        <p:spPr>
          <a:xfrm rot="16200000" flipV="1">
            <a:off x="6231906" y="708521"/>
            <a:ext cx="365940" cy="3525162"/>
          </a:xfrm>
          <a:prstGeom prst="bentConnector2">
            <a:avLst/>
          </a:prstGeom>
          <a:noFill/>
          <a:ln w="28575" cap="flat" cmpd="sng" algn="ctr">
            <a:solidFill>
              <a:srgbClr val="0279D8"/>
            </a:solidFill>
            <a:prstDash val="solid"/>
            <a:headEnd type="none" w="lg" len="med"/>
            <a:tailEnd type="triangle"/>
          </a:ln>
          <a:effectLst/>
        </p:spPr>
      </p:cxnSp>
      <p:sp>
        <p:nvSpPr>
          <p:cNvPr id="179" name="Scroll: Horizontal 178">
            <a:extLst>
              <a:ext uri="{FF2B5EF4-FFF2-40B4-BE49-F238E27FC236}">
                <a16:creationId xmlns:a16="http://schemas.microsoft.com/office/drawing/2014/main" id="{B47F0EA0-3C0B-4EDA-864B-9424B2C1F180}"/>
              </a:ext>
            </a:extLst>
          </p:cNvPr>
          <p:cNvSpPr/>
          <p:nvPr/>
        </p:nvSpPr>
        <p:spPr bwMode="auto">
          <a:xfrm>
            <a:off x="5621845" y="2840736"/>
            <a:ext cx="1403014" cy="408725"/>
          </a:xfrm>
          <a:prstGeom prst="horizontalScroll">
            <a:avLst/>
          </a:prstGeom>
          <a:solidFill>
            <a:srgbClr val="E6E6E6"/>
          </a:solidFill>
          <a:ln w="22225"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816" b="0" i="0" u="none" strike="noStrike" kern="0" cap="none" spc="0" normalizeH="0" baseline="0" noProof="0">
                <a:ln>
                  <a:noFill/>
                </a:ln>
                <a:solidFill>
                  <a:srgbClr val="1A1A1A"/>
                </a:solidFill>
                <a:effectLst/>
                <a:uLnTx/>
                <a:uFillTx/>
              </a:rPr>
              <a:t>Landing Zone</a:t>
            </a:r>
          </a:p>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816" b="0" i="0" u="none" strike="noStrike" kern="0" cap="none" spc="0" normalizeH="0" baseline="0" noProof="0">
                <a:ln>
                  <a:noFill/>
                </a:ln>
                <a:solidFill>
                  <a:srgbClr val="1A1A1A"/>
                </a:solidFill>
                <a:effectLst/>
                <a:uLnTx/>
                <a:uFillTx/>
              </a:rPr>
              <a:t>(Azure Premium Storage)</a:t>
            </a:r>
          </a:p>
        </p:txBody>
      </p:sp>
      <p:sp>
        <p:nvSpPr>
          <p:cNvPr id="180" name="Scroll: Horizontal 179">
            <a:extLst>
              <a:ext uri="{FF2B5EF4-FFF2-40B4-BE49-F238E27FC236}">
                <a16:creationId xmlns:a16="http://schemas.microsoft.com/office/drawing/2014/main" id="{72A983A6-28E4-4654-9478-7252A21BCE4C}"/>
              </a:ext>
            </a:extLst>
          </p:cNvPr>
          <p:cNvSpPr/>
          <p:nvPr/>
        </p:nvSpPr>
        <p:spPr bwMode="auto">
          <a:xfrm>
            <a:off x="5621845" y="3509910"/>
            <a:ext cx="1403013" cy="408725"/>
          </a:xfrm>
          <a:prstGeom prst="horizontalScroll">
            <a:avLst/>
          </a:prstGeom>
          <a:solidFill>
            <a:srgbClr val="E6E6E6"/>
          </a:solidFill>
          <a:ln w="22225" cap="flat" cmpd="sng" algn="ctr">
            <a:solidFill>
              <a:srgbClr val="0279D8"/>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816" b="0" i="0" u="none" strike="noStrike" kern="0" cap="none" spc="0" normalizeH="0" baseline="0" noProof="0">
                <a:ln>
                  <a:noFill/>
                </a:ln>
                <a:solidFill>
                  <a:srgbClr val="1A1A1A"/>
                </a:solidFill>
                <a:effectLst/>
                <a:uLnTx/>
                <a:uFillTx/>
              </a:rPr>
              <a:t>Long Term Storage for PITR</a:t>
            </a:r>
          </a:p>
          <a:p>
            <a:pPr marL="0" marR="0" lvl="0" indent="0" algn="ctr" defTabSz="951005" eaLnBrk="1" fontAlgn="base" latinLnBrk="0" hangingPunct="1">
              <a:lnSpc>
                <a:spcPct val="100000"/>
              </a:lnSpc>
              <a:spcBef>
                <a:spcPct val="0"/>
              </a:spcBef>
              <a:spcAft>
                <a:spcPct val="0"/>
              </a:spcAft>
              <a:buClrTx/>
              <a:buSzTx/>
              <a:buFontTx/>
              <a:buNone/>
              <a:tabLst/>
              <a:defRPr/>
            </a:pPr>
            <a:r>
              <a:rPr kumimoji="0" lang="en-US" sz="816" b="0" i="0" u="none" strike="noStrike" kern="0" cap="none" spc="0" normalizeH="0" baseline="0" noProof="0">
                <a:ln>
                  <a:noFill/>
                </a:ln>
                <a:solidFill>
                  <a:srgbClr val="1A1A1A"/>
                </a:solidFill>
                <a:effectLst/>
                <a:uLnTx/>
                <a:uFillTx/>
              </a:rPr>
              <a:t>(Azure Standard Storage)</a:t>
            </a:r>
          </a:p>
        </p:txBody>
      </p:sp>
      <p:cxnSp>
        <p:nvCxnSpPr>
          <p:cNvPr id="181" name="Straight Arrow Connector 180">
            <a:extLst>
              <a:ext uri="{FF2B5EF4-FFF2-40B4-BE49-F238E27FC236}">
                <a16:creationId xmlns:a16="http://schemas.microsoft.com/office/drawing/2014/main" id="{B3B4B144-38BE-4C0D-A2EE-500B9B5400BC}"/>
              </a:ext>
            </a:extLst>
          </p:cNvPr>
          <p:cNvCxnSpPr>
            <a:cxnSpLocks/>
          </p:cNvCxnSpPr>
          <p:nvPr/>
        </p:nvCxnSpPr>
        <p:spPr>
          <a:xfrm flipH="1">
            <a:off x="7045645" y="3707752"/>
            <a:ext cx="674762" cy="0"/>
          </a:xfrm>
          <a:prstGeom prst="straightConnector1">
            <a:avLst/>
          </a:prstGeom>
          <a:noFill/>
          <a:ln w="28575" cap="flat" cmpd="sng" algn="ctr">
            <a:solidFill>
              <a:srgbClr val="000000">
                <a:lumMod val="50000"/>
                <a:lumOff val="50000"/>
              </a:srgbClr>
            </a:solidFill>
            <a:prstDash val="solid"/>
            <a:headEnd type="none" w="lg" len="med"/>
            <a:tailEnd type="triangle"/>
          </a:ln>
          <a:effectLst/>
        </p:spPr>
      </p:cxnSp>
      <p:cxnSp>
        <p:nvCxnSpPr>
          <p:cNvPr id="182" name="Connector: Elbow 181">
            <a:extLst>
              <a:ext uri="{FF2B5EF4-FFF2-40B4-BE49-F238E27FC236}">
                <a16:creationId xmlns:a16="http://schemas.microsoft.com/office/drawing/2014/main" id="{1F2A4720-12DC-4CF6-BF04-29ED13E9B1AF}"/>
              </a:ext>
            </a:extLst>
          </p:cNvPr>
          <p:cNvCxnSpPr>
            <a:cxnSpLocks/>
          </p:cNvCxnSpPr>
          <p:nvPr/>
        </p:nvCxnSpPr>
        <p:spPr>
          <a:xfrm rot="16200000" flipH="1">
            <a:off x="3337020" y="785856"/>
            <a:ext cx="265671" cy="4277442"/>
          </a:xfrm>
          <a:prstGeom prst="bentConnector2">
            <a:avLst/>
          </a:prstGeom>
          <a:noFill/>
          <a:ln w="28575" cap="flat" cmpd="sng" algn="ctr">
            <a:solidFill>
              <a:srgbClr val="0279D8"/>
            </a:solidFill>
            <a:prstDash val="solid"/>
            <a:headEnd type="none" w="lg" len="med"/>
            <a:tailEnd type="triangle"/>
          </a:ln>
          <a:effectLst/>
        </p:spPr>
      </p:cxnSp>
      <p:cxnSp>
        <p:nvCxnSpPr>
          <p:cNvPr id="183" name="Straight Arrow Connector 182">
            <a:extLst>
              <a:ext uri="{FF2B5EF4-FFF2-40B4-BE49-F238E27FC236}">
                <a16:creationId xmlns:a16="http://schemas.microsoft.com/office/drawing/2014/main" id="{63C0EBC9-BD72-412A-AFAB-C1C080E5DCE0}"/>
              </a:ext>
            </a:extLst>
          </p:cNvPr>
          <p:cNvCxnSpPr>
            <a:cxnSpLocks/>
          </p:cNvCxnSpPr>
          <p:nvPr/>
        </p:nvCxnSpPr>
        <p:spPr>
          <a:xfrm>
            <a:off x="7024860" y="3010034"/>
            <a:ext cx="695547" cy="0"/>
          </a:xfrm>
          <a:prstGeom prst="straightConnector1">
            <a:avLst/>
          </a:prstGeom>
          <a:noFill/>
          <a:ln w="28575" cap="flat" cmpd="sng" algn="ctr">
            <a:solidFill>
              <a:srgbClr val="000000">
                <a:lumMod val="50000"/>
                <a:lumOff val="50000"/>
              </a:srgbClr>
            </a:solidFill>
            <a:prstDash val="solid"/>
            <a:headEnd type="none" w="lg" len="med"/>
            <a:tailEnd type="triangle"/>
          </a:ln>
          <a:effectLst/>
        </p:spPr>
      </p:cxnSp>
      <p:sp>
        <p:nvSpPr>
          <p:cNvPr id="184" name="TextBox 183">
            <a:extLst>
              <a:ext uri="{FF2B5EF4-FFF2-40B4-BE49-F238E27FC236}">
                <a16:creationId xmlns:a16="http://schemas.microsoft.com/office/drawing/2014/main" id="{753628C1-EC0E-4636-9923-A19301B90257}"/>
              </a:ext>
            </a:extLst>
          </p:cNvPr>
          <p:cNvSpPr txBox="1"/>
          <p:nvPr/>
        </p:nvSpPr>
        <p:spPr>
          <a:xfrm>
            <a:off x="7163317" y="3329576"/>
            <a:ext cx="653977" cy="288137"/>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gradFill>
                  <a:gsLst>
                    <a:gs pos="2917">
                      <a:srgbClr val="1A1A1A"/>
                    </a:gs>
                    <a:gs pos="30000">
                      <a:srgbClr val="1A1A1A"/>
                    </a:gs>
                  </a:gsLst>
                  <a:lin ang="5400000" scaled="0"/>
                </a:gradFill>
                <a:effectLst/>
                <a:uLnTx/>
                <a:uFillTx/>
              </a:rPr>
              <a:t>Log Destaging</a:t>
            </a:r>
          </a:p>
        </p:txBody>
      </p:sp>
      <p:cxnSp>
        <p:nvCxnSpPr>
          <p:cNvPr id="185" name="Connector: Elbow 184">
            <a:extLst>
              <a:ext uri="{FF2B5EF4-FFF2-40B4-BE49-F238E27FC236}">
                <a16:creationId xmlns:a16="http://schemas.microsoft.com/office/drawing/2014/main" id="{849FB052-AC6F-42D3-A281-B14487C43055}"/>
              </a:ext>
            </a:extLst>
          </p:cNvPr>
          <p:cNvCxnSpPr>
            <a:cxnSpLocks/>
          </p:cNvCxnSpPr>
          <p:nvPr/>
        </p:nvCxnSpPr>
        <p:spPr>
          <a:xfrm rot="5400000">
            <a:off x="6070698" y="2199286"/>
            <a:ext cx="332169" cy="3935292"/>
          </a:xfrm>
          <a:prstGeom prst="bentConnector2">
            <a:avLst/>
          </a:prstGeom>
          <a:noFill/>
          <a:ln w="28575" cap="flat" cmpd="sng" algn="ctr">
            <a:solidFill>
              <a:srgbClr val="0279D8"/>
            </a:solidFill>
            <a:prstDash val="solid"/>
            <a:headEnd type="none" w="lg" len="med"/>
            <a:tailEnd type="triangle"/>
          </a:ln>
          <a:effectLst/>
        </p:spPr>
      </p:cxnSp>
      <p:sp>
        <p:nvSpPr>
          <p:cNvPr id="186" name="Rectangle 185">
            <a:extLst>
              <a:ext uri="{FF2B5EF4-FFF2-40B4-BE49-F238E27FC236}">
                <a16:creationId xmlns:a16="http://schemas.microsoft.com/office/drawing/2014/main" id="{28CD842E-EE71-4E3D-9087-2F08FE0C5A1B}"/>
              </a:ext>
            </a:extLst>
          </p:cNvPr>
          <p:cNvSpPr/>
          <p:nvPr/>
        </p:nvSpPr>
        <p:spPr>
          <a:xfrm>
            <a:off x="2780377" y="3258931"/>
            <a:ext cx="268454" cy="478376"/>
          </a:xfrm>
          <a:prstGeom prst="rect">
            <a:avLst/>
          </a:prstGeom>
        </p:spPr>
        <p:txBody>
          <a:bodyPr wrap="none">
            <a:spAutoFit/>
          </a:bodyPr>
          <a:lstStyle/>
          <a:p>
            <a:pPr marL="0" marR="0" lvl="0" indent="0" defTabSz="1243431"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a:ln>
                  <a:noFill/>
                </a:ln>
                <a:solidFill>
                  <a:srgbClr val="000000"/>
                </a:solidFill>
                <a:effectLst/>
                <a:uLnTx/>
                <a:uFillTx/>
                <a:latin typeface="Times New Roman" panose="02020603050405020304" pitchFamily="18" charset="0"/>
              </a:rPr>
              <a:t> </a:t>
            </a:r>
            <a:endParaRPr kumimoji="0" lang="en-US" sz="2448" b="0" i="0" u="none" strike="noStrike" kern="0" cap="none" spc="0" normalizeH="0" baseline="0" noProof="0">
              <a:ln>
                <a:noFill/>
              </a:ln>
              <a:solidFill>
                <a:srgbClr val="000000"/>
              </a:solidFill>
              <a:effectLst/>
              <a:uLnTx/>
              <a:uFillTx/>
            </a:endParaRPr>
          </a:p>
        </p:txBody>
      </p:sp>
      <p:grpSp>
        <p:nvGrpSpPr>
          <p:cNvPr id="187" name="Group 186">
            <a:extLst>
              <a:ext uri="{FF2B5EF4-FFF2-40B4-BE49-F238E27FC236}">
                <a16:creationId xmlns:a16="http://schemas.microsoft.com/office/drawing/2014/main" id="{17A9EFBD-0211-4550-9F9C-A6F84E213969}"/>
              </a:ext>
            </a:extLst>
          </p:cNvPr>
          <p:cNvGrpSpPr/>
          <p:nvPr/>
        </p:nvGrpSpPr>
        <p:grpSpPr>
          <a:xfrm>
            <a:off x="1178207" y="3760042"/>
            <a:ext cx="679055" cy="793749"/>
            <a:chOff x="738253" y="2730783"/>
            <a:chExt cx="499351" cy="583692"/>
          </a:xfrm>
        </p:grpSpPr>
        <p:grpSp>
          <p:nvGrpSpPr>
            <p:cNvPr id="188" name="Group 187">
              <a:extLst>
                <a:ext uri="{FF2B5EF4-FFF2-40B4-BE49-F238E27FC236}">
                  <a16:creationId xmlns:a16="http://schemas.microsoft.com/office/drawing/2014/main" id="{9F92B1A4-FA1D-427B-B243-8DA844073B2E}"/>
                </a:ext>
              </a:extLst>
            </p:cNvPr>
            <p:cNvGrpSpPr/>
            <p:nvPr/>
          </p:nvGrpSpPr>
          <p:grpSpPr>
            <a:xfrm>
              <a:off x="738253" y="2730783"/>
              <a:ext cx="499351" cy="583692"/>
              <a:chOff x="9570256" y="1253716"/>
              <a:chExt cx="665801" cy="778256"/>
            </a:xfrm>
          </p:grpSpPr>
          <p:grpSp>
            <p:nvGrpSpPr>
              <p:cNvPr id="191" name="Group 190">
                <a:extLst>
                  <a:ext uri="{FF2B5EF4-FFF2-40B4-BE49-F238E27FC236}">
                    <a16:creationId xmlns:a16="http://schemas.microsoft.com/office/drawing/2014/main" id="{67355761-0B01-4142-BAED-591AC95A46F8}"/>
                  </a:ext>
                </a:extLst>
              </p:cNvPr>
              <p:cNvGrpSpPr/>
              <p:nvPr/>
            </p:nvGrpSpPr>
            <p:grpSpPr>
              <a:xfrm flipH="1">
                <a:off x="9679775" y="1253716"/>
                <a:ext cx="556282" cy="680963"/>
                <a:chOff x="3003960" y="3685414"/>
                <a:chExt cx="403310" cy="493707"/>
              </a:xfrm>
            </p:grpSpPr>
            <p:sp>
              <p:nvSpPr>
                <p:cNvPr id="197" name="Snip Single Corner Rectangle 26">
                  <a:extLst>
                    <a:ext uri="{FF2B5EF4-FFF2-40B4-BE49-F238E27FC236}">
                      <a16:creationId xmlns:a16="http://schemas.microsoft.com/office/drawing/2014/main" id="{4A44FB36-22FA-41EF-9906-2D5AF37F49AC}"/>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1072" b="0" i="0" u="none" strike="noStrike" kern="0" cap="none" spc="0" normalizeH="0" baseline="0" noProof="0">
                    <a:ln>
                      <a:noFill/>
                    </a:ln>
                    <a:solidFill>
                      <a:srgbClr val="0078D7"/>
                    </a:solidFill>
                    <a:effectLst/>
                    <a:uLnTx/>
                    <a:uFillTx/>
                    <a:cs typeface="Segoe UI Semilight" panose="020B0402040204020203" pitchFamily="34" charset="0"/>
                  </a:endParaRPr>
                </a:p>
              </p:txBody>
            </p:sp>
            <p:sp>
              <p:nvSpPr>
                <p:cNvPr id="198" name="Triangle 27">
                  <a:extLst>
                    <a:ext uri="{FF2B5EF4-FFF2-40B4-BE49-F238E27FC236}">
                      <a16:creationId xmlns:a16="http://schemas.microsoft.com/office/drawing/2014/main" id="{FA334EF8-8E5A-42A8-891E-56C333C69A90}"/>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92" name="Group 191">
                <a:extLst>
                  <a:ext uri="{FF2B5EF4-FFF2-40B4-BE49-F238E27FC236}">
                    <a16:creationId xmlns:a16="http://schemas.microsoft.com/office/drawing/2014/main" id="{AD5C497B-66B3-469A-870F-D14D16E9B97D}"/>
                  </a:ext>
                </a:extLst>
              </p:cNvPr>
              <p:cNvGrpSpPr/>
              <p:nvPr/>
            </p:nvGrpSpPr>
            <p:grpSpPr>
              <a:xfrm flipH="1">
                <a:off x="9570256" y="1351009"/>
                <a:ext cx="556282" cy="680963"/>
                <a:chOff x="3003960" y="3685414"/>
                <a:chExt cx="403310" cy="493707"/>
              </a:xfrm>
            </p:grpSpPr>
            <p:sp>
              <p:nvSpPr>
                <p:cNvPr id="195" name="Snip Single Corner Rectangle 26">
                  <a:extLst>
                    <a:ext uri="{FF2B5EF4-FFF2-40B4-BE49-F238E27FC236}">
                      <a16:creationId xmlns:a16="http://schemas.microsoft.com/office/drawing/2014/main" id="{5392C929-81B4-43F9-AD12-B5F4F98CB8C8}"/>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1072" b="0" i="0" u="none" strike="noStrike" kern="0" cap="none" spc="0" normalizeH="0" baseline="0" noProof="0">
                    <a:ln>
                      <a:noFill/>
                    </a:ln>
                    <a:solidFill>
                      <a:srgbClr val="0078D7"/>
                    </a:solidFill>
                    <a:effectLst/>
                    <a:uLnTx/>
                    <a:uFillTx/>
                    <a:cs typeface="Segoe UI Semilight" panose="020B0402040204020203" pitchFamily="34" charset="0"/>
                  </a:endParaRPr>
                </a:p>
              </p:txBody>
            </p:sp>
            <p:sp>
              <p:nvSpPr>
                <p:cNvPr id="196" name="Triangle 27">
                  <a:extLst>
                    <a:ext uri="{FF2B5EF4-FFF2-40B4-BE49-F238E27FC236}">
                      <a16:creationId xmlns:a16="http://schemas.microsoft.com/office/drawing/2014/main" id="{D4460580-6501-40E4-9AC9-B39118E91611}"/>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93" name="Rectangle 192">
                <a:extLst>
                  <a:ext uri="{FF2B5EF4-FFF2-40B4-BE49-F238E27FC236}">
                    <a16:creationId xmlns:a16="http://schemas.microsoft.com/office/drawing/2014/main" id="{259A05CF-B490-47D5-A056-5B2994E81D4C}"/>
                  </a:ext>
                </a:extLst>
              </p:cNvPr>
              <p:cNvSpPr/>
              <p:nvPr/>
            </p:nvSpPr>
            <p:spPr bwMode="auto">
              <a:xfrm>
                <a:off x="9602751" y="1360759"/>
                <a:ext cx="213464" cy="621604"/>
              </a:xfrm>
              <a:prstGeom prst="rect">
                <a:avLst/>
              </a:prstGeom>
              <a:solidFill>
                <a:srgbClr val="FFFFFF"/>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194" name="Rectangle 193">
                <a:extLst>
                  <a:ext uri="{FF2B5EF4-FFF2-40B4-BE49-F238E27FC236}">
                    <a16:creationId xmlns:a16="http://schemas.microsoft.com/office/drawing/2014/main" id="{44F78F18-806C-417E-B166-D82BD3EEC225}"/>
                  </a:ext>
                </a:extLst>
              </p:cNvPr>
              <p:cNvSpPr/>
              <p:nvPr/>
            </p:nvSpPr>
            <p:spPr bwMode="auto">
              <a:xfrm rot="5400000">
                <a:off x="9755555" y="1630847"/>
                <a:ext cx="213464" cy="519074"/>
              </a:xfrm>
              <a:prstGeom prst="rect">
                <a:avLst/>
              </a:prstGeom>
              <a:solidFill>
                <a:srgbClr val="FFFFFF"/>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grpSp>
        <p:sp>
          <p:nvSpPr>
            <p:cNvPr id="189" name="TextBox 188">
              <a:extLst>
                <a:ext uri="{FF2B5EF4-FFF2-40B4-BE49-F238E27FC236}">
                  <a16:creationId xmlns:a16="http://schemas.microsoft.com/office/drawing/2014/main" id="{1857454D-0D3B-4FB4-889E-87F3BEC1C9D1}"/>
                </a:ext>
              </a:extLst>
            </p:cNvPr>
            <p:cNvSpPr txBox="1"/>
            <p:nvPr/>
          </p:nvSpPr>
          <p:spPr>
            <a:xfrm>
              <a:off x="782917" y="3216729"/>
              <a:ext cx="341577" cy="70645"/>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rPr>
                <a:t>1 TB data file</a:t>
              </a:r>
            </a:p>
          </p:txBody>
        </p:sp>
        <p:sp>
          <p:nvSpPr>
            <p:cNvPr id="190" name="TextBox 189">
              <a:extLst>
                <a:ext uri="{FF2B5EF4-FFF2-40B4-BE49-F238E27FC236}">
                  <a16:creationId xmlns:a16="http://schemas.microsoft.com/office/drawing/2014/main" id="{F837AD5A-4E19-4BB4-915A-DAC6CF9C4048}"/>
                </a:ext>
              </a:extLst>
            </p:cNvPr>
            <p:cNvSpPr txBox="1"/>
            <p:nvPr/>
          </p:nvSpPr>
          <p:spPr>
            <a:xfrm>
              <a:off x="742950" y="2975533"/>
              <a:ext cx="407193" cy="207749"/>
            </a:xfrm>
            <a:prstGeom prst="rect">
              <a:avLst/>
            </a:prstGeom>
            <a:solidFill>
              <a:srgbClr val="50E6FF">
                <a:lumMod val="60000"/>
                <a:lumOff val="40000"/>
              </a:srgbClr>
            </a:solidFill>
          </p:spPr>
          <p:txBody>
            <a:bodyPr wrap="square" lIns="27978" tIns="0" rIns="0" bIns="0" rtlCol="0">
              <a:noAutofit/>
            </a:bodyPr>
            <a:lstStyle>
              <a:defPPr>
                <a:defRPr lang="en-US"/>
              </a:defPPr>
              <a:lvl1pPr defTabSz="914344">
                <a:defRPr sz="600" kern="0">
                  <a:gradFill>
                    <a:gsLst>
                      <a:gs pos="2917">
                        <a:srgbClr val="1A1A1A"/>
                      </a:gs>
                      <a:gs pos="30000">
                        <a:srgbClr val="1A1A1A"/>
                      </a:gs>
                    </a:gsLst>
                    <a:lin ang="5400000" scaled="0"/>
                  </a:gradFill>
                  <a:latin typeface="Segoe UI"/>
                </a:defRPr>
              </a:lvl1p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latin typeface="Segoe UI"/>
                </a:rPr>
                <a:t>Covering RBPEX Data Cache</a:t>
              </a:r>
            </a:p>
          </p:txBody>
        </p:sp>
      </p:grpSp>
      <p:sp>
        <p:nvSpPr>
          <p:cNvPr id="199" name="TextBox 198">
            <a:extLst>
              <a:ext uri="{FF2B5EF4-FFF2-40B4-BE49-F238E27FC236}">
                <a16:creationId xmlns:a16="http://schemas.microsoft.com/office/drawing/2014/main" id="{2718DCEC-5104-4925-80FA-AA27F893F8D5}"/>
              </a:ext>
            </a:extLst>
          </p:cNvPr>
          <p:cNvSpPr txBox="1"/>
          <p:nvPr/>
        </p:nvSpPr>
        <p:spPr>
          <a:xfrm>
            <a:off x="2903977" y="4072100"/>
            <a:ext cx="265940" cy="256159"/>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gradFill>
                  <a:gsLst>
                    <a:gs pos="2917">
                      <a:srgbClr val="1A1A1A"/>
                    </a:gs>
                    <a:gs pos="30000">
                      <a:srgbClr val="1A1A1A"/>
                    </a:gs>
                  </a:gsLst>
                  <a:lin ang="5400000" scaled="0"/>
                </a:gradFill>
                <a:effectLst/>
                <a:uLnTx/>
                <a:uFillTx/>
              </a:rPr>
              <a:t>…..</a:t>
            </a:r>
          </a:p>
        </p:txBody>
      </p:sp>
      <p:sp>
        <p:nvSpPr>
          <p:cNvPr id="200" name="Rectangle 199">
            <a:extLst>
              <a:ext uri="{FF2B5EF4-FFF2-40B4-BE49-F238E27FC236}">
                <a16:creationId xmlns:a16="http://schemas.microsoft.com/office/drawing/2014/main" id="{62DF2CA9-8318-4D23-842B-20AC2F97981B}"/>
              </a:ext>
            </a:extLst>
          </p:cNvPr>
          <p:cNvSpPr/>
          <p:nvPr/>
        </p:nvSpPr>
        <p:spPr bwMode="auto">
          <a:xfrm>
            <a:off x="1016207" y="5050660"/>
            <a:ext cx="3230072" cy="1349214"/>
          </a:xfrm>
          <a:prstGeom prst="rect">
            <a:avLst/>
          </a:prstGeom>
          <a:noFill/>
          <a:ln w="19050" cap="flat" cmpd="sng" algn="ctr">
            <a:solidFill>
              <a:srgbClr val="0279D8"/>
            </a:solidFill>
            <a:prstDash val="lgDashDot"/>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grpSp>
        <p:nvGrpSpPr>
          <p:cNvPr id="201" name="Group 200">
            <a:extLst>
              <a:ext uri="{FF2B5EF4-FFF2-40B4-BE49-F238E27FC236}">
                <a16:creationId xmlns:a16="http://schemas.microsoft.com/office/drawing/2014/main" id="{29926072-F245-456F-89B3-E41783A533C9}"/>
              </a:ext>
            </a:extLst>
          </p:cNvPr>
          <p:cNvGrpSpPr/>
          <p:nvPr/>
        </p:nvGrpSpPr>
        <p:grpSpPr>
          <a:xfrm>
            <a:off x="3306464" y="3760042"/>
            <a:ext cx="679055" cy="1966776"/>
            <a:chOff x="2303290" y="2730783"/>
            <a:chExt cx="499351" cy="1446290"/>
          </a:xfrm>
        </p:grpSpPr>
        <p:sp>
          <p:nvSpPr>
            <p:cNvPr id="202" name="Cylinder 513">
              <a:extLst>
                <a:ext uri="{FF2B5EF4-FFF2-40B4-BE49-F238E27FC236}">
                  <a16:creationId xmlns:a16="http://schemas.microsoft.com/office/drawing/2014/main" id="{949725C3-AC50-416B-B049-73536C139E98}"/>
                </a:ext>
              </a:extLst>
            </p:cNvPr>
            <p:cNvSpPr/>
            <p:nvPr/>
          </p:nvSpPr>
          <p:spPr bwMode="auto">
            <a:xfrm>
              <a:off x="2330527" y="3771590"/>
              <a:ext cx="374229" cy="321692"/>
            </a:xfrm>
            <a:prstGeom prst="can">
              <a:avLst>
                <a:gd name="adj" fmla="val 39530"/>
              </a:avLst>
            </a:prstGeom>
            <a:no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714" b="0" i="0" u="none" strike="noStrike" kern="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Cylinder 513">
              <a:extLst>
                <a:ext uri="{FF2B5EF4-FFF2-40B4-BE49-F238E27FC236}">
                  <a16:creationId xmlns:a16="http://schemas.microsoft.com/office/drawing/2014/main" id="{7404C4A7-694F-4498-80BF-9403FB19FF63}"/>
                </a:ext>
              </a:extLst>
            </p:cNvPr>
            <p:cNvSpPr/>
            <p:nvPr/>
          </p:nvSpPr>
          <p:spPr bwMode="auto">
            <a:xfrm>
              <a:off x="2415118" y="3855381"/>
              <a:ext cx="374229" cy="321692"/>
            </a:xfrm>
            <a:prstGeom prst="can">
              <a:avLst>
                <a:gd name="adj" fmla="val 39530"/>
              </a:avLst>
            </a:prstGeom>
            <a:solidFill>
              <a:srgbClr val="FFFFFF"/>
            </a:solid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r>
                <a:rPr kumimoji="0" lang="en-US" sz="714" b="0" i="0" u="none" strike="noStrike" kern="0" cap="none" spc="0" normalizeH="0" baseline="0" noProof="0">
                  <a:ln>
                    <a:noFill/>
                  </a:ln>
                  <a:solidFill>
                    <a:srgbClr val="3C3C41"/>
                  </a:solidFill>
                  <a:effectLst/>
                  <a:uLnTx/>
                  <a:uFillTx/>
                  <a:ea typeface="Segoe UI" pitchFamily="34" charset="0"/>
                  <a:cs typeface="Segoe UI Semilight" panose="020B0402040204020203" pitchFamily="34" charset="0"/>
                </a:rPr>
                <a:t>Data Pages</a:t>
              </a:r>
            </a:p>
          </p:txBody>
        </p:sp>
        <p:grpSp>
          <p:nvGrpSpPr>
            <p:cNvPr id="204" name="Group 203">
              <a:extLst>
                <a:ext uri="{FF2B5EF4-FFF2-40B4-BE49-F238E27FC236}">
                  <a16:creationId xmlns:a16="http://schemas.microsoft.com/office/drawing/2014/main" id="{9147FF56-1F89-4713-A779-F8C763C87098}"/>
                </a:ext>
              </a:extLst>
            </p:cNvPr>
            <p:cNvGrpSpPr/>
            <p:nvPr/>
          </p:nvGrpSpPr>
          <p:grpSpPr>
            <a:xfrm>
              <a:off x="2303290" y="2730783"/>
              <a:ext cx="499351" cy="583692"/>
              <a:chOff x="9570256" y="1253716"/>
              <a:chExt cx="665801" cy="778256"/>
            </a:xfrm>
          </p:grpSpPr>
          <p:grpSp>
            <p:nvGrpSpPr>
              <p:cNvPr id="208" name="Group 207">
                <a:extLst>
                  <a:ext uri="{FF2B5EF4-FFF2-40B4-BE49-F238E27FC236}">
                    <a16:creationId xmlns:a16="http://schemas.microsoft.com/office/drawing/2014/main" id="{8B4579A4-6209-44CB-847E-FFC04E95E851}"/>
                  </a:ext>
                </a:extLst>
              </p:cNvPr>
              <p:cNvGrpSpPr/>
              <p:nvPr/>
            </p:nvGrpSpPr>
            <p:grpSpPr>
              <a:xfrm flipH="1">
                <a:off x="9679775" y="1253716"/>
                <a:ext cx="556282" cy="680963"/>
                <a:chOff x="3003960" y="3685414"/>
                <a:chExt cx="403310" cy="493707"/>
              </a:xfrm>
            </p:grpSpPr>
            <p:sp>
              <p:nvSpPr>
                <p:cNvPr id="214" name="Snip Single Corner Rectangle 26">
                  <a:extLst>
                    <a:ext uri="{FF2B5EF4-FFF2-40B4-BE49-F238E27FC236}">
                      <a16:creationId xmlns:a16="http://schemas.microsoft.com/office/drawing/2014/main" id="{5C30A11F-BB4A-4BDD-AAC6-EA25B16B21CF}"/>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1072" b="0" i="0" u="none" strike="noStrike" kern="0" cap="none" spc="0" normalizeH="0" baseline="0" noProof="0">
                    <a:ln>
                      <a:noFill/>
                    </a:ln>
                    <a:solidFill>
                      <a:srgbClr val="0078D7"/>
                    </a:solidFill>
                    <a:effectLst/>
                    <a:uLnTx/>
                    <a:uFillTx/>
                    <a:cs typeface="Segoe UI Semilight" panose="020B0402040204020203" pitchFamily="34" charset="0"/>
                  </a:endParaRPr>
                </a:p>
              </p:txBody>
            </p:sp>
            <p:sp>
              <p:nvSpPr>
                <p:cNvPr id="215" name="Triangle 27">
                  <a:extLst>
                    <a:ext uri="{FF2B5EF4-FFF2-40B4-BE49-F238E27FC236}">
                      <a16:creationId xmlns:a16="http://schemas.microsoft.com/office/drawing/2014/main" id="{36C1226E-1EEA-46AC-8FF8-A73FF036FCD6}"/>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09" name="Group 208">
                <a:extLst>
                  <a:ext uri="{FF2B5EF4-FFF2-40B4-BE49-F238E27FC236}">
                    <a16:creationId xmlns:a16="http://schemas.microsoft.com/office/drawing/2014/main" id="{8B28A560-753D-4E79-B0A8-D8B9D163BD9C}"/>
                  </a:ext>
                </a:extLst>
              </p:cNvPr>
              <p:cNvGrpSpPr/>
              <p:nvPr/>
            </p:nvGrpSpPr>
            <p:grpSpPr>
              <a:xfrm flipH="1">
                <a:off x="9570256" y="1351009"/>
                <a:ext cx="556282" cy="680963"/>
                <a:chOff x="3003960" y="3685414"/>
                <a:chExt cx="403310" cy="493707"/>
              </a:xfrm>
            </p:grpSpPr>
            <p:sp>
              <p:nvSpPr>
                <p:cNvPr id="212" name="Snip Single Corner Rectangle 26">
                  <a:extLst>
                    <a:ext uri="{FF2B5EF4-FFF2-40B4-BE49-F238E27FC236}">
                      <a16:creationId xmlns:a16="http://schemas.microsoft.com/office/drawing/2014/main" id="{6146BA38-345A-4BEB-850E-45A5D4473DD8}"/>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1072" b="0" i="0" u="none" strike="noStrike" kern="0" cap="none" spc="0" normalizeH="0" baseline="0" noProof="0">
                    <a:ln>
                      <a:noFill/>
                    </a:ln>
                    <a:solidFill>
                      <a:srgbClr val="0078D7"/>
                    </a:solidFill>
                    <a:effectLst/>
                    <a:uLnTx/>
                    <a:uFillTx/>
                    <a:cs typeface="Segoe UI Semilight" panose="020B0402040204020203" pitchFamily="34" charset="0"/>
                  </a:endParaRPr>
                </a:p>
              </p:txBody>
            </p:sp>
            <p:sp>
              <p:nvSpPr>
                <p:cNvPr id="213" name="Triangle 27">
                  <a:extLst>
                    <a:ext uri="{FF2B5EF4-FFF2-40B4-BE49-F238E27FC236}">
                      <a16:creationId xmlns:a16="http://schemas.microsoft.com/office/drawing/2014/main" id="{7360FD03-79FE-4C99-8AC6-90110EFE282C}"/>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10" name="Rectangle 209">
                <a:extLst>
                  <a:ext uri="{FF2B5EF4-FFF2-40B4-BE49-F238E27FC236}">
                    <a16:creationId xmlns:a16="http://schemas.microsoft.com/office/drawing/2014/main" id="{F42C65BB-437A-4E08-BC7C-A9C43D2A91E3}"/>
                  </a:ext>
                </a:extLst>
              </p:cNvPr>
              <p:cNvSpPr/>
              <p:nvPr/>
            </p:nvSpPr>
            <p:spPr bwMode="auto">
              <a:xfrm>
                <a:off x="9602751" y="1362654"/>
                <a:ext cx="213464" cy="619709"/>
              </a:xfrm>
              <a:prstGeom prst="rect">
                <a:avLst/>
              </a:prstGeom>
              <a:solidFill>
                <a:srgbClr val="FFFFFF"/>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211" name="Rectangle 210">
                <a:extLst>
                  <a:ext uri="{FF2B5EF4-FFF2-40B4-BE49-F238E27FC236}">
                    <a16:creationId xmlns:a16="http://schemas.microsoft.com/office/drawing/2014/main" id="{7459977B-784B-43CD-82A1-91F7AB0D8AB1}"/>
                  </a:ext>
                </a:extLst>
              </p:cNvPr>
              <p:cNvSpPr/>
              <p:nvPr/>
            </p:nvSpPr>
            <p:spPr bwMode="auto">
              <a:xfrm rot="5400000">
                <a:off x="9755555" y="1630847"/>
                <a:ext cx="213464" cy="519074"/>
              </a:xfrm>
              <a:prstGeom prst="rect">
                <a:avLst/>
              </a:prstGeom>
              <a:solidFill>
                <a:srgbClr val="FFFFFF"/>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grpSp>
        <p:sp>
          <p:nvSpPr>
            <p:cNvPr id="205" name="TextBox 204">
              <a:extLst>
                <a:ext uri="{FF2B5EF4-FFF2-40B4-BE49-F238E27FC236}">
                  <a16:creationId xmlns:a16="http://schemas.microsoft.com/office/drawing/2014/main" id="{83DDF74D-65D3-412E-89D1-AE00E54E5A51}"/>
                </a:ext>
              </a:extLst>
            </p:cNvPr>
            <p:cNvSpPr txBox="1"/>
            <p:nvPr/>
          </p:nvSpPr>
          <p:spPr>
            <a:xfrm>
              <a:off x="2347954" y="3216729"/>
              <a:ext cx="341577" cy="70645"/>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rPr>
                <a:t>1 TB data file</a:t>
              </a:r>
            </a:p>
          </p:txBody>
        </p:sp>
        <p:sp>
          <p:nvSpPr>
            <p:cNvPr id="206" name="TextBox 205">
              <a:extLst>
                <a:ext uri="{FF2B5EF4-FFF2-40B4-BE49-F238E27FC236}">
                  <a16:creationId xmlns:a16="http://schemas.microsoft.com/office/drawing/2014/main" id="{DA3BB885-88B9-49F6-8CC9-60C27DAC5CDA}"/>
                </a:ext>
              </a:extLst>
            </p:cNvPr>
            <p:cNvSpPr txBox="1"/>
            <p:nvPr/>
          </p:nvSpPr>
          <p:spPr>
            <a:xfrm>
              <a:off x="2308329" y="2975533"/>
              <a:ext cx="408677" cy="207749"/>
            </a:xfrm>
            <a:prstGeom prst="rect">
              <a:avLst/>
            </a:prstGeom>
            <a:solidFill>
              <a:srgbClr val="50E6FF">
                <a:lumMod val="60000"/>
                <a:lumOff val="40000"/>
              </a:srgbClr>
            </a:solidFill>
          </p:spPr>
          <p:txBody>
            <a:bodyPr wrap="square" lIns="27978" tIns="0" rIns="0" bIns="0" rtlCol="0">
              <a:noAutofit/>
            </a:bodyPr>
            <a:lstStyle>
              <a:defPPr>
                <a:defRPr lang="en-US"/>
              </a:defPPr>
              <a:lvl1pPr defTabSz="914344">
                <a:defRPr sz="600" kern="0">
                  <a:gradFill>
                    <a:gsLst>
                      <a:gs pos="2917">
                        <a:srgbClr val="1A1A1A"/>
                      </a:gs>
                      <a:gs pos="30000">
                        <a:srgbClr val="1A1A1A"/>
                      </a:gs>
                    </a:gsLst>
                    <a:lin ang="5400000" scaled="0"/>
                  </a:gradFill>
                  <a:latin typeface="Segoe UI"/>
                </a:defRPr>
              </a:lvl1p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latin typeface="Segoe UI"/>
                </a:rPr>
                <a:t>Covering RBPEX Data Cache</a:t>
              </a:r>
            </a:p>
          </p:txBody>
        </p:sp>
        <p:cxnSp>
          <p:nvCxnSpPr>
            <p:cNvPr id="207" name="Straight Arrow Connector 206">
              <a:extLst>
                <a:ext uri="{FF2B5EF4-FFF2-40B4-BE49-F238E27FC236}">
                  <a16:creationId xmlns:a16="http://schemas.microsoft.com/office/drawing/2014/main" id="{BA3E71AB-5AF4-468C-81F1-BC3B79E3BC22}"/>
                </a:ext>
              </a:extLst>
            </p:cNvPr>
            <p:cNvCxnSpPr>
              <a:cxnSpLocks/>
              <a:stCxn id="202" idx="1"/>
              <a:endCxn id="212" idx="1"/>
            </p:cNvCxnSpPr>
            <p:nvPr/>
          </p:nvCxnSpPr>
          <p:spPr>
            <a:xfrm flipH="1" flipV="1">
              <a:off x="2511896" y="3314475"/>
              <a:ext cx="5746" cy="457115"/>
            </a:xfrm>
            <a:prstGeom prst="straightConnector1">
              <a:avLst/>
            </a:prstGeom>
            <a:noFill/>
            <a:ln w="28575" cap="flat" cmpd="sng" algn="ctr">
              <a:solidFill>
                <a:srgbClr val="C00000"/>
              </a:solidFill>
              <a:prstDash val="solid"/>
              <a:headEnd type="none" w="lg" len="med"/>
              <a:tailEnd type="triangle"/>
            </a:ln>
            <a:effectLst/>
          </p:spPr>
        </p:cxnSp>
      </p:grpSp>
      <p:grpSp>
        <p:nvGrpSpPr>
          <p:cNvPr id="216" name="Group 215">
            <a:extLst>
              <a:ext uri="{FF2B5EF4-FFF2-40B4-BE49-F238E27FC236}">
                <a16:creationId xmlns:a16="http://schemas.microsoft.com/office/drawing/2014/main" id="{1755A931-D1A9-4E2E-AE50-219E9143A268}"/>
              </a:ext>
            </a:extLst>
          </p:cNvPr>
          <p:cNvGrpSpPr/>
          <p:nvPr/>
        </p:nvGrpSpPr>
        <p:grpSpPr>
          <a:xfrm>
            <a:off x="2105249" y="3786997"/>
            <a:ext cx="679055" cy="1939822"/>
            <a:chOff x="1419963" y="2750604"/>
            <a:chExt cx="499351" cy="1426469"/>
          </a:xfrm>
        </p:grpSpPr>
        <p:sp>
          <p:nvSpPr>
            <p:cNvPr id="217" name="Cylinder 513">
              <a:extLst>
                <a:ext uri="{FF2B5EF4-FFF2-40B4-BE49-F238E27FC236}">
                  <a16:creationId xmlns:a16="http://schemas.microsoft.com/office/drawing/2014/main" id="{91E7CFD6-DEC9-41D7-8109-4FA4961F7D81}"/>
                </a:ext>
              </a:extLst>
            </p:cNvPr>
            <p:cNvSpPr/>
            <p:nvPr/>
          </p:nvSpPr>
          <p:spPr bwMode="auto">
            <a:xfrm>
              <a:off x="1447350" y="3771590"/>
              <a:ext cx="374229" cy="321692"/>
            </a:xfrm>
            <a:prstGeom prst="can">
              <a:avLst>
                <a:gd name="adj" fmla="val 39530"/>
              </a:avLst>
            </a:prstGeom>
            <a:no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714" b="0" i="0" u="none" strike="noStrike" kern="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18" name="Cylinder 513">
              <a:extLst>
                <a:ext uri="{FF2B5EF4-FFF2-40B4-BE49-F238E27FC236}">
                  <a16:creationId xmlns:a16="http://schemas.microsoft.com/office/drawing/2014/main" id="{2778B273-9F48-403C-8B1C-3D3109291513}"/>
                </a:ext>
              </a:extLst>
            </p:cNvPr>
            <p:cNvSpPr/>
            <p:nvPr/>
          </p:nvSpPr>
          <p:spPr bwMode="auto">
            <a:xfrm>
              <a:off x="1531941" y="3855381"/>
              <a:ext cx="374229" cy="321692"/>
            </a:xfrm>
            <a:prstGeom prst="can">
              <a:avLst>
                <a:gd name="adj" fmla="val 39530"/>
              </a:avLst>
            </a:prstGeom>
            <a:solidFill>
              <a:srgbClr val="FFFFFF"/>
            </a:solidFill>
            <a:ln w="12700"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r>
                <a:rPr kumimoji="0" lang="en-US" sz="714" b="0" i="0" u="none" strike="noStrike" kern="0" cap="none" spc="0" normalizeH="0" baseline="0" noProof="0">
                  <a:ln>
                    <a:noFill/>
                  </a:ln>
                  <a:solidFill>
                    <a:srgbClr val="3C3C41"/>
                  </a:solidFill>
                  <a:effectLst/>
                  <a:uLnTx/>
                  <a:uFillTx/>
                  <a:ea typeface="Segoe UI" pitchFamily="34" charset="0"/>
                  <a:cs typeface="Segoe UI Semilight" panose="020B0402040204020203" pitchFamily="34" charset="0"/>
                </a:rPr>
                <a:t>Data Pages</a:t>
              </a:r>
            </a:p>
          </p:txBody>
        </p:sp>
        <p:grpSp>
          <p:nvGrpSpPr>
            <p:cNvPr id="219" name="Group 218">
              <a:extLst>
                <a:ext uri="{FF2B5EF4-FFF2-40B4-BE49-F238E27FC236}">
                  <a16:creationId xmlns:a16="http://schemas.microsoft.com/office/drawing/2014/main" id="{70F5FF37-4BF5-45CC-9143-E55023568A19}"/>
                </a:ext>
              </a:extLst>
            </p:cNvPr>
            <p:cNvGrpSpPr/>
            <p:nvPr/>
          </p:nvGrpSpPr>
          <p:grpSpPr>
            <a:xfrm>
              <a:off x="1419963" y="2750604"/>
              <a:ext cx="499351" cy="583692"/>
              <a:chOff x="9570256" y="1253716"/>
              <a:chExt cx="665801" cy="778256"/>
            </a:xfrm>
          </p:grpSpPr>
          <p:grpSp>
            <p:nvGrpSpPr>
              <p:cNvPr id="223" name="Group 222">
                <a:extLst>
                  <a:ext uri="{FF2B5EF4-FFF2-40B4-BE49-F238E27FC236}">
                    <a16:creationId xmlns:a16="http://schemas.microsoft.com/office/drawing/2014/main" id="{0855C8DA-CFF0-4550-A063-C4C32A3B3FE3}"/>
                  </a:ext>
                </a:extLst>
              </p:cNvPr>
              <p:cNvGrpSpPr/>
              <p:nvPr/>
            </p:nvGrpSpPr>
            <p:grpSpPr>
              <a:xfrm flipH="1">
                <a:off x="9679775" y="1253716"/>
                <a:ext cx="556282" cy="680963"/>
                <a:chOff x="3003960" y="3685414"/>
                <a:chExt cx="403310" cy="493707"/>
              </a:xfrm>
            </p:grpSpPr>
            <p:sp>
              <p:nvSpPr>
                <p:cNvPr id="229" name="Snip Single Corner Rectangle 26">
                  <a:extLst>
                    <a:ext uri="{FF2B5EF4-FFF2-40B4-BE49-F238E27FC236}">
                      <a16:creationId xmlns:a16="http://schemas.microsoft.com/office/drawing/2014/main" id="{1D68B4E4-6DFD-48F7-BEEC-26E7540A41AA}"/>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1072" b="0" i="0" u="none" strike="noStrike" kern="0" cap="none" spc="0" normalizeH="0" baseline="0" noProof="0">
                    <a:ln>
                      <a:noFill/>
                    </a:ln>
                    <a:solidFill>
                      <a:srgbClr val="0078D7"/>
                    </a:solidFill>
                    <a:effectLst/>
                    <a:uLnTx/>
                    <a:uFillTx/>
                    <a:cs typeface="Segoe UI Semilight" panose="020B0402040204020203" pitchFamily="34" charset="0"/>
                  </a:endParaRPr>
                </a:p>
              </p:txBody>
            </p:sp>
            <p:sp>
              <p:nvSpPr>
                <p:cNvPr id="230" name="Triangle 27">
                  <a:extLst>
                    <a:ext uri="{FF2B5EF4-FFF2-40B4-BE49-F238E27FC236}">
                      <a16:creationId xmlns:a16="http://schemas.microsoft.com/office/drawing/2014/main" id="{E1612414-75DC-4EBE-A318-F25585F62056}"/>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24" name="Group 223">
                <a:extLst>
                  <a:ext uri="{FF2B5EF4-FFF2-40B4-BE49-F238E27FC236}">
                    <a16:creationId xmlns:a16="http://schemas.microsoft.com/office/drawing/2014/main" id="{2B45FF54-A3E7-4D8E-84EC-B4D82E915ED9}"/>
                  </a:ext>
                </a:extLst>
              </p:cNvPr>
              <p:cNvGrpSpPr/>
              <p:nvPr/>
            </p:nvGrpSpPr>
            <p:grpSpPr>
              <a:xfrm flipH="1">
                <a:off x="9570256" y="1351009"/>
                <a:ext cx="556282" cy="680963"/>
                <a:chOff x="3003960" y="3685414"/>
                <a:chExt cx="403310" cy="493707"/>
              </a:xfrm>
            </p:grpSpPr>
            <p:sp>
              <p:nvSpPr>
                <p:cNvPr id="227" name="Snip Single Corner Rectangle 26">
                  <a:extLst>
                    <a:ext uri="{FF2B5EF4-FFF2-40B4-BE49-F238E27FC236}">
                      <a16:creationId xmlns:a16="http://schemas.microsoft.com/office/drawing/2014/main" id="{D9F023A6-158B-4000-8914-B2727CA826A3}"/>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37304" tIns="149217" rIns="0"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1072" b="0" i="0" u="none" strike="noStrike" kern="0" cap="none" spc="0" normalizeH="0" baseline="0" noProof="0">
                    <a:ln>
                      <a:noFill/>
                    </a:ln>
                    <a:solidFill>
                      <a:srgbClr val="0078D7"/>
                    </a:solidFill>
                    <a:effectLst/>
                    <a:uLnTx/>
                    <a:uFillTx/>
                    <a:cs typeface="Segoe UI Semilight" panose="020B0402040204020203" pitchFamily="34" charset="0"/>
                  </a:endParaRPr>
                </a:p>
              </p:txBody>
            </p:sp>
            <p:sp>
              <p:nvSpPr>
                <p:cNvPr id="228" name="Triangle 27">
                  <a:extLst>
                    <a:ext uri="{FF2B5EF4-FFF2-40B4-BE49-F238E27FC236}">
                      <a16:creationId xmlns:a16="http://schemas.microsoft.com/office/drawing/2014/main" id="{3DA9AE31-D8DE-42AD-98A7-7A4134DBD323}"/>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37304" tIns="149217" rIns="186521" bIns="0" numCol="1" spcCol="0" rtlCol="0" fromWordArt="0" anchor="t"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25" name="Rectangle 224">
                <a:extLst>
                  <a:ext uri="{FF2B5EF4-FFF2-40B4-BE49-F238E27FC236}">
                    <a16:creationId xmlns:a16="http://schemas.microsoft.com/office/drawing/2014/main" id="{86FA9592-5614-4806-8451-1B2CDD40B56B}"/>
                  </a:ext>
                </a:extLst>
              </p:cNvPr>
              <p:cNvSpPr/>
              <p:nvPr/>
            </p:nvSpPr>
            <p:spPr bwMode="auto">
              <a:xfrm>
                <a:off x="9602751" y="1358143"/>
                <a:ext cx="213464" cy="624220"/>
              </a:xfrm>
              <a:prstGeom prst="rect">
                <a:avLst/>
              </a:prstGeom>
              <a:solidFill>
                <a:srgbClr val="FFFFFF"/>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226" name="Rectangle 225">
                <a:extLst>
                  <a:ext uri="{FF2B5EF4-FFF2-40B4-BE49-F238E27FC236}">
                    <a16:creationId xmlns:a16="http://schemas.microsoft.com/office/drawing/2014/main" id="{7D2361ED-53EA-4A93-BEF7-3FF4F2E614B5}"/>
                  </a:ext>
                </a:extLst>
              </p:cNvPr>
              <p:cNvSpPr/>
              <p:nvPr/>
            </p:nvSpPr>
            <p:spPr bwMode="auto">
              <a:xfrm rot="5400000">
                <a:off x="9737266" y="1649136"/>
                <a:ext cx="213464" cy="482495"/>
              </a:xfrm>
              <a:prstGeom prst="rect">
                <a:avLst/>
              </a:prstGeom>
              <a:solidFill>
                <a:srgbClr val="FFFFFF"/>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grpSp>
        <p:sp>
          <p:nvSpPr>
            <p:cNvPr id="220" name="TextBox 219">
              <a:extLst>
                <a:ext uri="{FF2B5EF4-FFF2-40B4-BE49-F238E27FC236}">
                  <a16:creationId xmlns:a16="http://schemas.microsoft.com/office/drawing/2014/main" id="{EC8056F1-5FF8-430D-9BFF-1316921F5E76}"/>
                </a:ext>
              </a:extLst>
            </p:cNvPr>
            <p:cNvSpPr txBox="1"/>
            <p:nvPr/>
          </p:nvSpPr>
          <p:spPr>
            <a:xfrm>
              <a:off x="1464628" y="3236550"/>
              <a:ext cx="341577" cy="70645"/>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rPr>
                <a:t>1 TB data file</a:t>
              </a:r>
            </a:p>
          </p:txBody>
        </p:sp>
        <p:sp>
          <p:nvSpPr>
            <p:cNvPr id="221" name="TextBox 220">
              <a:extLst>
                <a:ext uri="{FF2B5EF4-FFF2-40B4-BE49-F238E27FC236}">
                  <a16:creationId xmlns:a16="http://schemas.microsoft.com/office/drawing/2014/main" id="{A5623DE7-D332-4A71-B794-938B04A852EE}"/>
                </a:ext>
              </a:extLst>
            </p:cNvPr>
            <p:cNvSpPr txBox="1"/>
            <p:nvPr/>
          </p:nvSpPr>
          <p:spPr>
            <a:xfrm>
              <a:off x="1423988" y="2995354"/>
              <a:ext cx="409575" cy="207749"/>
            </a:xfrm>
            <a:prstGeom prst="rect">
              <a:avLst/>
            </a:prstGeom>
            <a:solidFill>
              <a:srgbClr val="50E6FF">
                <a:lumMod val="60000"/>
                <a:lumOff val="40000"/>
              </a:srgbClr>
            </a:solidFill>
          </p:spPr>
          <p:txBody>
            <a:bodyPr wrap="square" lIns="27978" tIns="0" rIns="0" bIns="0" rtlCol="0">
              <a:noAutofit/>
            </a:bodyPr>
            <a:lstStyle>
              <a:defPPr>
                <a:defRPr lang="en-US"/>
              </a:defPPr>
              <a:lvl1pPr defTabSz="914344">
                <a:defRPr sz="600" kern="0">
                  <a:gradFill>
                    <a:gsLst>
                      <a:gs pos="2917">
                        <a:srgbClr val="1A1A1A"/>
                      </a:gs>
                      <a:gs pos="30000">
                        <a:srgbClr val="1A1A1A"/>
                      </a:gs>
                    </a:gsLst>
                    <a:lin ang="5400000" scaled="0"/>
                  </a:gradFill>
                  <a:latin typeface="Segoe UI"/>
                </a:defRPr>
              </a:lvl1p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latin typeface="Segoe UI"/>
                </a:rPr>
                <a:t>Covering RBPEX Data Cache</a:t>
              </a:r>
            </a:p>
          </p:txBody>
        </p:sp>
        <p:cxnSp>
          <p:nvCxnSpPr>
            <p:cNvPr id="222" name="Straight Arrow Connector 221">
              <a:extLst>
                <a:ext uri="{FF2B5EF4-FFF2-40B4-BE49-F238E27FC236}">
                  <a16:creationId xmlns:a16="http://schemas.microsoft.com/office/drawing/2014/main" id="{6A3DA425-00A7-4045-9D06-2B8DAC092915}"/>
                </a:ext>
              </a:extLst>
            </p:cNvPr>
            <p:cNvCxnSpPr>
              <a:cxnSpLocks/>
              <a:stCxn id="217" idx="1"/>
              <a:endCxn id="227" idx="1"/>
            </p:cNvCxnSpPr>
            <p:nvPr/>
          </p:nvCxnSpPr>
          <p:spPr>
            <a:xfrm flipH="1" flipV="1">
              <a:off x="1628569" y="3334296"/>
              <a:ext cx="5896" cy="437294"/>
            </a:xfrm>
            <a:prstGeom prst="straightConnector1">
              <a:avLst/>
            </a:prstGeom>
            <a:noFill/>
            <a:ln w="28575" cap="flat" cmpd="sng" algn="ctr">
              <a:solidFill>
                <a:srgbClr val="C00000"/>
              </a:solidFill>
              <a:prstDash val="solid"/>
              <a:headEnd type="none" w="lg" len="med"/>
              <a:tailEnd type="triangle"/>
            </a:ln>
            <a:effectLst/>
          </p:spPr>
        </p:cxnSp>
      </p:grpSp>
      <p:cxnSp>
        <p:nvCxnSpPr>
          <p:cNvPr id="231" name="Straight Arrow Connector 230">
            <a:extLst>
              <a:ext uri="{FF2B5EF4-FFF2-40B4-BE49-F238E27FC236}">
                <a16:creationId xmlns:a16="http://schemas.microsoft.com/office/drawing/2014/main" id="{04C2A8D6-1EE4-419B-AC7F-F4BD80158798}"/>
              </a:ext>
            </a:extLst>
          </p:cNvPr>
          <p:cNvCxnSpPr>
            <a:cxnSpLocks/>
            <a:stCxn id="160" idx="1"/>
            <a:endCxn id="195" idx="1"/>
          </p:cNvCxnSpPr>
          <p:nvPr/>
        </p:nvCxnSpPr>
        <p:spPr>
          <a:xfrm flipV="1">
            <a:off x="1461239" y="4553790"/>
            <a:ext cx="646" cy="620740"/>
          </a:xfrm>
          <a:prstGeom prst="straightConnector1">
            <a:avLst/>
          </a:prstGeom>
          <a:noFill/>
          <a:ln w="28575" cap="flat" cmpd="sng" algn="ctr">
            <a:solidFill>
              <a:srgbClr val="C00000"/>
            </a:solidFill>
            <a:prstDash val="solid"/>
            <a:headEnd type="none" w="lg" len="med"/>
            <a:tailEnd type="triangle"/>
          </a:ln>
          <a:effectLst/>
        </p:spPr>
      </p:cxnSp>
      <p:sp>
        <p:nvSpPr>
          <p:cNvPr id="232" name="Rectangle 231">
            <a:extLst>
              <a:ext uri="{FF2B5EF4-FFF2-40B4-BE49-F238E27FC236}">
                <a16:creationId xmlns:a16="http://schemas.microsoft.com/office/drawing/2014/main" id="{349E7AAE-6A78-4E63-8892-598E45EB5C89}"/>
              </a:ext>
            </a:extLst>
          </p:cNvPr>
          <p:cNvSpPr/>
          <p:nvPr/>
        </p:nvSpPr>
        <p:spPr bwMode="auto">
          <a:xfrm>
            <a:off x="1016207" y="3509076"/>
            <a:ext cx="3230072" cy="1285486"/>
          </a:xfrm>
          <a:prstGeom prst="rect">
            <a:avLst/>
          </a:prstGeom>
          <a:noFill/>
          <a:ln w="19050" cap="flat" cmpd="sng" algn="ctr">
            <a:solidFill>
              <a:srgbClr val="0279D8"/>
            </a:solidFill>
            <a:prstDash val="sysDash"/>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233" name="TextBox 232">
            <a:extLst>
              <a:ext uri="{FF2B5EF4-FFF2-40B4-BE49-F238E27FC236}">
                <a16:creationId xmlns:a16="http://schemas.microsoft.com/office/drawing/2014/main" id="{5483209F-9104-41DD-8A54-C0941CBE6B1A}"/>
              </a:ext>
            </a:extLst>
          </p:cNvPr>
          <p:cNvSpPr txBox="1"/>
          <p:nvPr/>
        </p:nvSpPr>
        <p:spPr>
          <a:xfrm>
            <a:off x="1830724" y="3543690"/>
            <a:ext cx="1575262" cy="168070"/>
          </a:xfrm>
          <a:prstGeom prst="rect">
            <a:avLst/>
          </a:prstGeom>
          <a:noFill/>
        </p:spPr>
        <p:txBody>
          <a:bodyPr wrap="square" lIns="0" tIns="0" rIns="0" bIns="0" rtlCol="0">
            <a:spAutoFit/>
          </a:bodyPr>
          <a:lstStyle>
            <a:defPPr>
              <a:defRPr lang="en-US"/>
            </a:defPPr>
            <a:lvl1pPr algn="ctr" defTabSz="914344">
              <a:defRPr sz="1050" kern="0">
                <a:gradFill>
                  <a:gsLst>
                    <a:gs pos="2917">
                      <a:srgbClr val="1A1A1A"/>
                    </a:gs>
                    <a:gs pos="30000">
                      <a:srgbClr val="1A1A1A"/>
                    </a:gs>
                  </a:gsLst>
                  <a:lin ang="5400000" scaled="0"/>
                </a:gradFill>
                <a:latin typeface="Segoe UI"/>
              </a:defRPr>
            </a:lvl1p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gradFill>
                  <a:gsLst>
                    <a:gs pos="2917">
                      <a:srgbClr val="1A1A1A"/>
                    </a:gs>
                    <a:gs pos="30000">
                      <a:srgbClr val="1A1A1A"/>
                    </a:gs>
                  </a:gsLst>
                  <a:lin ang="5400000" scaled="0"/>
                </a:gradFill>
                <a:effectLst/>
                <a:uLnTx/>
                <a:uFillTx/>
                <a:latin typeface="Segoe UI"/>
              </a:rPr>
              <a:t>Page Servers</a:t>
            </a:r>
          </a:p>
        </p:txBody>
      </p:sp>
      <p:grpSp>
        <p:nvGrpSpPr>
          <p:cNvPr id="234" name="Group 233">
            <a:extLst>
              <a:ext uri="{FF2B5EF4-FFF2-40B4-BE49-F238E27FC236}">
                <a16:creationId xmlns:a16="http://schemas.microsoft.com/office/drawing/2014/main" id="{0C234FFC-D4DD-4511-8BA4-8D6AB3BF992B}"/>
              </a:ext>
            </a:extLst>
          </p:cNvPr>
          <p:cNvGrpSpPr/>
          <p:nvPr/>
        </p:nvGrpSpPr>
        <p:grpSpPr>
          <a:xfrm>
            <a:off x="896359" y="1823139"/>
            <a:ext cx="869552" cy="959284"/>
            <a:chOff x="1040746" y="1290694"/>
            <a:chExt cx="639434" cy="705420"/>
          </a:xfrm>
        </p:grpSpPr>
        <p:sp>
          <p:nvSpPr>
            <p:cNvPr id="235" name="TextBox 234">
              <a:extLst>
                <a:ext uri="{FF2B5EF4-FFF2-40B4-BE49-F238E27FC236}">
                  <a16:creationId xmlns:a16="http://schemas.microsoft.com/office/drawing/2014/main" id="{F38EE4FE-A4BA-404B-8E41-5D31DD2A22AC}"/>
                </a:ext>
              </a:extLst>
            </p:cNvPr>
            <p:cNvSpPr txBox="1"/>
            <p:nvPr/>
          </p:nvSpPr>
          <p:spPr>
            <a:xfrm>
              <a:off x="1170549" y="1622636"/>
              <a:ext cx="385762" cy="138500"/>
            </a:xfrm>
            <a:prstGeom prst="rect">
              <a:avLst/>
            </a:prstGeom>
            <a:solidFill>
              <a:srgbClr val="50E6FF">
                <a:lumMod val="60000"/>
                <a:lumOff val="40000"/>
              </a:srgbClr>
            </a:solidFill>
          </p:spPr>
          <p:txBody>
            <a:bodyPr wrap="square" lIns="0" tIns="0" rIns="0" bIns="0" rtlCol="0">
              <a:noAutofit/>
            </a:bodyPr>
            <a:lstStyle>
              <a:defPPr>
                <a:defRPr lang="en-US"/>
              </a:defPPr>
              <a:lvl1pPr algn="ctr" defTabSz="914344">
                <a:defRPr sz="600" kern="0">
                  <a:gradFill>
                    <a:gsLst>
                      <a:gs pos="2917">
                        <a:srgbClr val="1A1A1A"/>
                      </a:gs>
                      <a:gs pos="30000">
                        <a:srgbClr val="1A1A1A"/>
                      </a:gs>
                    </a:gsLst>
                    <a:lin ang="5400000" scaled="0"/>
                  </a:gradFill>
                  <a:latin typeface="Segoe UI"/>
                </a:defRPr>
              </a:lvl1p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612" b="0" i="0" u="none" strike="noStrike" kern="0" cap="none" spc="0" normalizeH="0" baseline="0" noProof="0">
                  <a:ln>
                    <a:noFill/>
                  </a:ln>
                  <a:gradFill>
                    <a:gsLst>
                      <a:gs pos="2917">
                        <a:srgbClr val="1A1A1A"/>
                      </a:gs>
                      <a:gs pos="30000">
                        <a:srgbClr val="1A1A1A"/>
                      </a:gs>
                    </a:gsLst>
                    <a:lin ang="5400000" scaled="0"/>
                  </a:gradFill>
                  <a:effectLst/>
                  <a:uLnTx/>
                  <a:uFillTx/>
                  <a:latin typeface="Segoe UI"/>
                </a:rPr>
                <a:t>RBPEX Data Cache</a:t>
              </a:r>
            </a:p>
          </p:txBody>
        </p:sp>
        <p:sp>
          <p:nvSpPr>
            <p:cNvPr id="236" name="TextBox 235">
              <a:extLst>
                <a:ext uri="{FF2B5EF4-FFF2-40B4-BE49-F238E27FC236}">
                  <a16:creationId xmlns:a16="http://schemas.microsoft.com/office/drawing/2014/main" id="{EFC125FF-97BB-46F8-BA13-DFFCDB6C2DC6}"/>
                </a:ext>
              </a:extLst>
            </p:cNvPr>
            <p:cNvSpPr txBox="1"/>
            <p:nvPr/>
          </p:nvSpPr>
          <p:spPr>
            <a:xfrm>
              <a:off x="1163305" y="1784486"/>
              <a:ext cx="392355" cy="117725"/>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510" b="0" i="0" u="none" strike="noStrike" kern="0" cap="none" spc="0" normalizeH="0" baseline="0" noProof="0">
                  <a:ln>
                    <a:noFill/>
                  </a:ln>
                  <a:gradFill>
                    <a:gsLst>
                      <a:gs pos="2917">
                        <a:srgbClr val="1A1A1A"/>
                      </a:gs>
                      <a:gs pos="30000">
                        <a:srgbClr val="1A1A1A"/>
                      </a:gs>
                    </a:gsLst>
                    <a:lin ang="5400000" scaled="0"/>
                  </a:gradFill>
                  <a:effectLst/>
                  <a:uLnTx/>
                  <a:uFillTx/>
                </a:rPr>
                <a:t>Primary Compute</a:t>
              </a:r>
            </a:p>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510" b="0" i="0" u="none" strike="noStrike" kern="0" cap="none" spc="0" normalizeH="0" baseline="0" noProof="0">
                  <a:ln>
                    <a:noFill/>
                  </a:ln>
                  <a:gradFill>
                    <a:gsLst>
                      <a:gs pos="2917">
                        <a:srgbClr val="1A1A1A"/>
                      </a:gs>
                      <a:gs pos="30000">
                        <a:srgbClr val="1A1A1A"/>
                      </a:gs>
                    </a:gsLst>
                    <a:lin ang="5400000" scaled="0"/>
                  </a:gradFill>
                  <a:effectLst/>
                  <a:uLnTx/>
                  <a:uFillTx/>
                </a:rPr>
                <a:t>sqlservr.exe</a:t>
              </a:r>
            </a:p>
          </p:txBody>
        </p:sp>
        <p:grpSp>
          <p:nvGrpSpPr>
            <p:cNvPr id="237" name="Group 236">
              <a:extLst>
                <a:ext uri="{FF2B5EF4-FFF2-40B4-BE49-F238E27FC236}">
                  <a16:creationId xmlns:a16="http://schemas.microsoft.com/office/drawing/2014/main" id="{9889F8A4-3E53-4A35-99CD-6BDDDAAE1886}"/>
                </a:ext>
              </a:extLst>
            </p:cNvPr>
            <p:cNvGrpSpPr/>
            <p:nvPr/>
          </p:nvGrpSpPr>
          <p:grpSpPr>
            <a:xfrm>
              <a:off x="1040746" y="1290694"/>
              <a:ext cx="639434" cy="705420"/>
              <a:chOff x="1387660" y="1720925"/>
              <a:chExt cx="852579" cy="940560"/>
            </a:xfrm>
          </p:grpSpPr>
          <p:sp>
            <p:nvSpPr>
              <p:cNvPr id="238" name="Cylinder 513">
                <a:extLst>
                  <a:ext uri="{FF2B5EF4-FFF2-40B4-BE49-F238E27FC236}">
                    <a16:creationId xmlns:a16="http://schemas.microsoft.com/office/drawing/2014/main" id="{63DBA616-BD77-49A7-922C-06B6602EB99D}"/>
                  </a:ext>
                </a:extLst>
              </p:cNvPr>
              <p:cNvSpPr/>
              <p:nvPr/>
            </p:nvSpPr>
            <p:spPr bwMode="auto">
              <a:xfrm>
                <a:off x="1540296" y="1912241"/>
                <a:ext cx="547307" cy="749244"/>
              </a:xfrm>
              <a:prstGeom prst="can">
                <a:avLst>
                  <a:gd name="adj" fmla="val 39530"/>
                </a:avLst>
              </a:prstGeom>
              <a:noFill/>
              <a:ln w="22225"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408" b="0" i="0" u="none" strike="noStrike" kern="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39" name="TextBox 238">
                <a:extLst>
                  <a:ext uri="{FF2B5EF4-FFF2-40B4-BE49-F238E27FC236}">
                    <a16:creationId xmlns:a16="http://schemas.microsoft.com/office/drawing/2014/main" id="{27AD78E2-3CBA-4EE6-BD0B-BDC2FBAA7F3C}"/>
                  </a:ext>
                </a:extLst>
              </p:cNvPr>
              <p:cNvSpPr txBox="1"/>
              <p:nvPr/>
            </p:nvSpPr>
            <p:spPr>
              <a:xfrm>
                <a:off x="1387660" y="1720925"/>
                <a:ext cx="852579" cy="172676"/>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srgbClr val="1A1A1A"/>
                        </a:gs>
                        <a:gs pos="30000">
                          <a:srgbClr val="1A1A1A"/>
                        </a:gs>
                      </a:gsLst>
                      <a:lin ang="5400000" scaled="0"/>
                    </a:gradFill>
                    <a:effectLst/>
                    <a:uLnTx/>
                    <a:uFillTx/>
                  </a:rPr>
                  <a:t>HS_Gen5_2</a:t>
                </a:r>
              </a:p>
            </p:txBody>
          </p:sp>
        </p:grpSp>
      </p:grpSp>
      <p:grpSp>
        <p:nvGrpSpPr>
          <p:cNvPr id="240" name="Group 239">
            <a:extLst>
              <a:ext uri="{FF2B5EF4-FFF2-40B4-BE49-F238E27FC236}">
                <a16:creationId xmlns:a16="http://schemas.microsoft.com/office/drawing/2014/main" id="{7FB7BEA9-103D-41BF-B9D1-8E2494C09541}"/>
              </a:ext>
            </a:extLst>
          </p:cNvPr>
          <p:cNvGrpSpPr/>
          <p:nvPr/>
        </p:nvGrpSpPr>
        <p:grpSpPr>
          <a:xfrm>
            <a:off x="502592" y="1155858"/>
            <a:ext cx="1684753" cy="1619392"/>
            <a:chOff x="5277401" y="176704"/>
            <a:chExt cx="1238902" cy="1190837"/>
          </a:xfrm>
        </p:grpSpPr>
        <p:sp>
          <p:nvSpPr>
            <p:cNvPr id="241" name="TextBox 240">
              <a:extLst>
                <a:ext uri="{FF2B5EF4-FFF2-40B4-BE49-F238E27FC236}">
                  <a16:creationId xmlns:a16="http://schemas.microsoft.com/office/drawing/2014/main" id="{1982A61E-4E93-489A-ACEF-E425BD61E243}"/>
                </a:ext>
              </a:extLst>
            </p:cNvPr>
            <p:cNvSpPr txBox="1"/>
            <p:nvPr/>
          </p:nvSpPr>
          <p:spPr>
            <a:xfrm>
              <a:off x="5596348" y="1066484"/>
              <a:ext cx="601005" cy="188320"/>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816" b="0" i="0" u="none" strike="noStrike" kern="0" cap="none" spc="0" normalizeH="0" baseline="0" noProof="0">
                  <a:ln>
                    <a:noFill/>
                  </a:ln>
                  <a:gradFill>
                    <a:gsLst>
                      <a:gs pos="2917">
                        <a:srgbClr val="1A1A1A"/>
                      </a:gs>
                      <a:gs pos="30000">
                        <a:srgbClr val="1A1A1A"/>
                      </a:gs>
                    </a:gsLst>
                    <a:lin ang="5400000" scaled="0"/>
                  </a:gradFill>
                  <a:effectLst/>
                  <a:uLnTx/>
                  <a:uFillTx/>
                </a:rPr>
                <a:t>Primary Compute</a:t>
              </a:r>
            </a:p>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816" b="0" i="0" u="none" strike="noStrike" kern="0" cap="none" spc="0" normalizeH="0" baseline="0" noProof="0">
                  <a:ln>
                    <a:noFill/>
                  </a:ln>
                  <a:gradFill>
                    <a:gsLst>
                      <a:gs pos="2917">
                        <a:srgbClr val="1A1A1A"/>
                      </a:gs>
                      <a:gs pos="30000">
                        <a:srgbClr val="1A1A1A"/>
                      </a:gs>
                    </a:gsLst>
                    <a:lin ang="5400000" scaled="0"/>
                  </a:gradFill>
                  <a:effectLst/>
                  <a:uLnTx/>
                  <a:uFillTx/>
                </a:rPr>
                <a:t>sqlservr.exe</a:t>
              </a:r>
            </a:p>
          </p:txBody>
        </p:sp>
        <p:grpSp>
          <p:nvGrpSpPr>
            <p:cNvPr id="242" name="Group 241">
              <a:extLst>
                <a:ext uri="{FF2B5EF4-FFF2-40B4-BE49-F238E27FC236}">
                  <a16:creationId xmlns:a16="http://schemas.microsoft.com/office/drawing/2014/main" id="{8CB0B748-ADDC-4A65-B2D3-AF3D58C76749}"/>
                </a:ext>
              </a:extLst>
            </p:cNvPr>
            <p:cNvGrpSpPr/>
            <p:nvPr/>
          </p:nvGrpSpPr>
          <p:grpSpPr>
            <a:xfrm>
              <a:off x="5277401" y="176704"/>
              <a:ext cx="1238902" cy="1190837"/>
              <a:chOff x="1387660" y="1763448"/>
              <a:chExt cx="852579" cy="898037"/>
            </a:xfrm>
          </p:grpSpPr>
          <p:sp>
            <p:nvSpPr>
              <p:cNvPr id="244" name="Cylinder 513">
                <a:extLst>
                  <a:ext uri="{FF2B5EF4-FFF2-40B4-BE49-F238E27FC236}">
                    <a16:creationId xmlns:a16="http://schemas.microsoft.com/office/drawing/2014/main" id="{0CF462AD-D860-4B45-A1B2-88858A7DC22D}"/>
                  </a:ext>
                </a:extLst>
              </p:cNvPr>
              <p:cNvSpPr/>
              <p:nvPr/>
            </p:nvSpPr>
            <p:spPr bwMode="auto">
              <a:xfrm>
                <a:off x="1542663" y="1912241"/>
                <a:ext cx="547307" cy="749244"/>
              </a:xfrm>
              <a:prstGeom prst="can">
                <a:avLst>
                  <a:gd name="adj" fmla="val 39530"/>
                </a:avLst>
              </a:prstGeom>
              <a:solidFill>
                <a:srgbClr val="FFFFFF"/>
              </a:solidFill>
              <a:ln w="22225" cap="flat" cmpd="sng" algn="ctr">
                <a:solidFill>
                  <a:srgbClr val="0279D8"/>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endParaRPr kumimoji="0" lang="en-US" sz="408" b="0" i="0" u="none" strike="noStrike" kern="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45" name="TextBox 244">
                <a:extLst>
                  <a:ext uri="{FF2B5EF4-FFF2-40B4-BE49-F238E27FC236}">
                    <a16:creationId xmlns:a16="http://schemas.microsoft.com/office/drawing/2014/main" id="{FF116C04-B088-47C2-B9E9-CF249FB2D14A}"/>
                  </a:ext>
                </a:extLst>
              </p:cNvPr>
              <p:cNvSpPr txBox="1"/>
              <p:nvPr/>
            </p:nvSpPr>
            <p:spPr>
              <a:xfrm>
                <a:off x="1387660" y="1763448"/>
                <a:ext cx="852579" cy="97664"/>
              </a:xfrm>
              <a:prstGeom prst="rect">
                <a:avLst/>
              </a:prstGeom>
              <a:noFill/>
            </p:spPr>
            <p:txBody>
              <a:bodyPr wrap="square" lIns="0" tIns="0" rIns="0" bIns="0" rtlCol="0">
                <a:spAutoFit/>
              </a:body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2917">
                          <a:srgbClr val="1A1A1A"/>
                        </a:gs>
                        <a:gs pos="30000">
                          <a:srgbClr val="1A1A1A"/>
                        </a:gs>
                      </a:gsLst>
                      <a:lin ang="5400000" scaled="0"/>
                    </a:gradFill>
                    <a:effectLst/>
                    <a:uLnTx/>
                    <a:uFillTx/>
                  </a:rPr>
                  <a:t>HS_Gen5_80</a:t>
                </a:r>
              </a:p>
            </p:txBody>
          </p:sp>
        </p:grpSp>
        <p:sp>
          <p:nvSpPr>
            <p:cNvPr id="243" name="TextBox 242">
              <a:extLst>
                <a:ext uri="{FF2B5EF4-FFF2-40B4-BE49-F238E27FC236}">
                  <a16:creationId xmlns:a16="http://schemas.microsoft.com/office/drawing/2014/main" id="{6D6D3BA1-95FE-4464-AA6E-1A86EE2AC8C2}"/>
                </a:ext>
              </a:extLst>
            </p:cNvPr>
            <p:cNvSpPr txBox="1"/>
            <p:nvPr/>
          </p:nvSpPr>
          <p:spPr>
            <a:xfrm>
              <a:off x="5500312" y="787766"/>
              <a:ext cx="775097" cy="231890"/>
            </a:xfrm>
            <a:prstGeom prst="rect">
              <a:avLst/>
            </a:prstGeom>
            <a:solidFill>
              <a:srgbClr val="50E6FF">
                <a:lumMod val="60000"/>
                <a:lumOff val="40000"/>
              </a:srgbClr>
            </a:solidFill>
          </p:spPr>
          <p:txBody>
            <a:bodyPr wrap="square" lIns="0" tIns="0" rIns="0" bIns="0" rtlCol="0" anchor="ctr">
              <a:noAutofit/>
            </a:bodyPr>
            <a:lstStyle>
              <a:defPPr>
                <a:defRPr lang="en-US"/>
              </a:defPPr>
              <a:lvl1pPr algn="ctr" defTabSz="914344">
                <a:defRPr sz="600" kern="0">
                  <a:gradFill>
                    <a:gsLst>
                      <a:gs pos="2917">
                        <a:srgbClr val="1A1A1A"/>
                      </a:gs>
                      <a:gs pos="30000">
                        <a:srgbClr val="1A1A1A"/>
                      </a:gs>
                    </a:gsLst>
                    <a:lin ang="5400000" scaled="0"/>
                  </a:gradFill>
                  <a:latin typeface="Segoe UI"/>
                </a:defRPr>
              </a:lvl1p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gradFill>
                    <a:gsLst>
                      <a:gs pos="2917">
                        <a:srgbClr val="1A1A1A"/>
                      </a:gs>
                      <a:gs pos="30000">
                        <a:srgbClr val="1A1A1A"/>
                      </a:gs>
                    </a:gsLst>
                    <a:lin ang="5400000" scaled="0"/>
                  </a:gradFill>
                  <a:effectLst/>
                  <a:uLnTx/>
                  <a:uFillTx/>
                  <a:latin typeface="Segoe UI"/>
                </a:rPr>
                <a:t>RBPEX Data Cache</a:t>
              </a:r>
            </a:p>
          </p:txBody>
        </p:sp>
      </p:grpSp>
      <p:sp>
        <p:nvSpPr>
          <p:cNvPr id="246" name="TextBox 245">
            <a:extLst>
              <a:ext uri="{FF2B5EF4-FFF2-40B4-BE49-F238E27FC236}">
                <a16:creationId xmlns:a16="http://schemas.microsoft.com/office/drawing/2014/main" id="{8034E863-D650-4C64-A919-94269F8FFCF4}"/>
              </a:ext>
            </a:extLst>
          </p:cNvPr>
          <p:cNvSpPr txBox="1"/>
          <p:nvPr/>
        </p:nvSpPr>
        <p:spPr>
          <a:xfrm>
            <a:off x="6187484" y="2619604"/>
            <a:ext cx="1700239" cy="176114"/>
          </a:xfrm>
          <a:prstGeom prst="rect">
            <a:avLst/>
          </a:prstGeom>
          <a:noFill/>
        </p:spPr>
        <p:txBody>
          <a:bodyPr wrap="square" lIns="0" tIns="0" rIns="0" bIns="0" rtlCol="0">
            <a:spAutoFit/>
          </a:bodyPr>
          <a:lstStyle/>
          <a:p>
            <a:pPr marL="0" marR="0" lvl="0" indent="0" algn="ctr" defTabSz="932539"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srgbClr val="1A1A1A"/>
                    </a:gs>
                    <a:gs pos="30000">
                      <a:srgbClr val="1A1A1A"/>
                    </a:gs>
                  </a:gsLst>
                  <a:lin ang="5400000" scaled="0"/>
                </a:gradFill>
                <a:effectLst/>
                <a:uLnTx/>
                <a:uFillTx/>
              </a:rPr>
              <a:t>Log Service</a:t>
            </a:r>
          </a:p>
        </p:txBody>
      </p:sp>
      <p:sp>
        <p:nvSpPr>
          <p:cNvPr id="247" name="TextBox 246">
            <a:extLst>
              <a:ext uri="{FF2B5EF4-FFF2-40B4-BE49-F238E27FC236}">
                <a16:creationId xmlns:a16="http://schemas.microsoft.com/office/drawing/2014/main" id="{1B25BA46-26CB-4220-87A8-8678036A8A3E}"/>
              </a:ext>
            </a:extLst>
          </p:cNvPr>
          <p:cNvSpPr txBox="1"/>
          <p:nvPr/>
        </p:nvSpPr>
        <p:spPr>
          <a:xfrm>
            <a:off x="8737330" y="657148"/>
            <a:ext cx="3238355" cy="1111742"/>
          </a:xfrm>
          <a:prstGeom prst="rect">
            <a:avLst/>
          </a:prstGeom>
          <a:noFill/>
        </p:spPr>
        <p:txBody>
          <a:bodyPr wrap="square" rtlCol="0">
            <a:spAutoFit/>
          </a:bodyPr>
          <a:lstStyle/>
          <a:p>
            <a:pPr marL="0" marR="0" lvl="0" indent="0" defTabSz="1243431" eaLnBrk="1" fontAlgn="auto" latinLnBrk="0" hangingPunct="1">
              <a:lnSpc>
                <a:spcPct val="100000"/>
              </a:lnSpc>
              <a:spcBef>
                <a:spcPts val="612"/>
              </a:spcBef>
              <a:spcAft>
                <a:spcPts val="0"/>
              </a:spcAft>
              <a:buClrTx/>
              <a:buSzTx/>
              <a:buFontTx/>
              <a:buNone/>
              <a:tabLst/>
              <a:defRPr/>
            </a:pPr>
            <a:r>
              <a:rPr kumimoji="0" lang="en-US" sz="1496" b="0" i="0" u="none" strike="noStrike" kern="0" cap="none" spc="0" normalizeH="0" baseline="0" noProof="0">
                <a:ln>
                  <a:noFill/>
                </a:ln>
                <a:solidFill>
                  <a:srgbClr val="000000"/>
                </a:solidFill>
                <a:effectLst/>
                <a:uLnTx/>
                <a:uFillTx/>
              </a:rPr>
              <a:t>Constant time scale up and down.</a:t>
            </a:r>
          </a:p>
          <a:p>
            <a:pPr marL="0" marR="0" lvl="0" indent="0" defTabSz="1243431" eaLnBrk="1" fontAlgn="auto" latinLnBrk="0" hangingPunct="1">
              <a:lnSpc>
                <a:spcPct val="100000"/>
              </a:lnSpc>
              <a:spcBef>
                <a:spcPts val="612"/>
              </a:spcBef>
              <a:spcAft>
                <a:spcPts val="0"/>
              </a:spcAft>
              <a:buClrTx/>
              <a:buSzTx/>
              <a:buFontTx/>
              <a:buNone/>
              <a:tabLst/>
              <a:defRPr/>
            </a:pPr>
            <a:r>
              <a:rPr kumimoji="0" lang="en-US" sz="1496" b="0" i="0" u="none" strike="noStrike" kern="0" cap="none" spc="0" normalizeH="0" baseline="0" noProof="0">
                <a:ln>
                  <a:noFill/>
                </a:ln>
                <a:solidFill>
                  <a:srgbClr val="000000"/>
                </a:solidFill>
                <a:effectLst/>
                <a:uLnTx/>
                <a:uFillTx/>
              </a:rPr>
              <a:t>Offload read-only workload by adding read-scale replicas without data copy – constant time as well.</a:t>
            </a:r>
          </a:p>
        </p:txBody>
      </p:sp>
      <p:sp>
        <p:nvSpPr>
          <p:cNvPr id="248" name="TextBox 247">
            <a:extLst>
              <a:ext uri="{FF2B5EF4-FFF2-40B4-BE49-F238E27FC236}">
                <a16:creationId xmlns:a16="http://schemas.microsoft.com/office/drawing/2014/main" id="{7D9474C4-3C27-40E6-82B7-7A8E38CC1019}"/>
              </a:ext>
            </a:extLst>
          </p:cNvPr>
          <p:cNvSpPr txBox="1"/>
          <p:nvPr/>
        </p:nvSpPr>
        <p:spPr>
          <a:xfrm>
            <a:off x="8737330" y="1788657"/>
            <a:ext cx="3302270" cy="1346515"/>
          </a:xfrm>
          <a:prstGeom prst="rect">
            <a:avLst/>
          </a:prstGeom>
          <a:noFill/>
        </p:spPr>
        <p:txBody>
          <a:bodyPr wrap="square" rtlCol="0">
            <a:spAutoFit/>
          </a:bodyPr>
          <a:lstStyle/>
          <a:p>
            <a:pPr marL="0" marR="0" lvl="0" indent="0" defTabSz="1243431" eaLnBrk="1" fontAlgn="auto" latinLnBrk="0" hangingPunct="1">
              <a:lnSpc>
                <a:spcPct val="100000"/>
              </a:lnSpc>
              <a:spcBef>
                <a:spcPts val="612"/>
              </a:spcBef>
              <a:spcAft>
                <a:spcPts val="0"/>
              </a:spcAft>
              <a:buClrTx/>
              <a:buSzTx/>
              <a:buFontTx/>
              <a:buNone/>
              <a:tabLst/>
              <a:defRPr/>
            </a:pPr>
            <a:r>
              <a:rPr kumimoji="0" lang="en-US" sz="1496" b="0" i="0" u="none" strike="noStrike" kern="0" cap="none" spc="0" normalizeH="0" baseline="0" noProof="0">
                <a:ln>
                  <a:noFill/>
                </a:ln>
                <a:solidFill>
                  <a:srgbClr val="000000"/>
                </a:solidFill>
                <a:effectLst/>
                <a:uLnTx/>
                <a:uFillTx/>
              </a:rPr>
              <a:t>Low log commit latency - &lt;2.5ms with Premium Storage; &lt; 0.5ms with Ultra SSD (future improvement).</a:t>
            </a:r>
          </a:p>
          <a:p>
            <a:pPr marL="0" marR="0" lvl="0" indent="0" defTabSz="1243431" eaLnBrk="1" fontAlgn="auto" latinLnBrk="0" hangingPunct="1">
              <a:lnSpc>
                <a:spcPct val="100000"/>
              </a:lnSpc>
              <a:spcBef>
                <a:spcPts val="612"/>
              </a:spcBef>
              <a:spcAft>
                <a:spcPts val="0"/>
              </a:spcAft>
              <a:buClrTx/>
              <a:buSzTx/>
              <a:buFontTx/>
              <a:buNone/>
              <a:tabLst/>
              <a:defRPr/>
            </a:pPr>
            <a:r>
              <a:rPr kumimoji="0" lang="en-US" sz="1496" b="0" i="0" u="none" strike="noStrike" kern="0" cap="none" spc="0" normalizeH="0" baseline="0" noProof="0">
                <a:ln>
                  <a:noFill/>
                </a:ln>
                <a:solidFill>
                  <a:srgbClr val="000000"/>
                </a:solidFill>
                <a:effectLst/>
                <a:uLnTx/>
                <a:uFillTx/>
              </a:rPr>
              <a:t>High log generation rate and </a:t>
            </a:r>
            <a:br>
              <a:rPr kumimoji="0" lang="en-US" sz="1496" b="0" i="0" u="none" strike="noStrike" kern="0" cap="none" spc="0" normalizeH="0" baseline="0" noProof="0">
                <a:ln>
                  <a:noFill/>
                </a:ln>
                <a:solidFill>
                  <a:srgbClr val="000000"/>
                </a:solidFill>
                <a:effectLst/>
                <a:uLnTx/>
                <a:uFillTx/>
              </a:rPr>
            </a:br>
            <a:r>
              <a:rPr kumimoji="0" lang="en-US" sz="1496" b="0" i="0" u="none" strike="noStrike" kern="0" cap="none" spc="0" normalizeH="0" baseline="0" noProof="0">
                <a:ln>
                  <a:noFill/>
                </a:ln>
                <a:solidFill>
                  <a:srgbClr val="000000"/>
                </a:solidFill>
                <a:effectLst/>
                <a:uLnTx/>
                <a:uFillTx/>
              </a:rPr>
              <a:t>fast data loading.</a:t>
            </a:r>
          </a:p>
        </p:txBody>
      </p:sp>
      <p:sp>
        <p:nvSpPr>
          <p:cNvPr id="249" name="TextBox 248">
            <a:extLst>
              <a:ext uri="{FF2B5EF4-FFF2-40B4-BE49-F238E27FC236}">
                <a16:creationId xmlns:a16="http://schemas.microsoft.com/office/drawing/2014/main" id="{97F8EAA4-5983-43B0-8516-3356EE650A6A}"/>
              </a:ext>
            </a:extLst>
          </p:cNvPr>
          <p:cNvSpPr txBox="1"/>
          <p:nvPr/>
        </p:nvSpPr>
        <p:spPr>
          <a:xfrm>
            <a:off x="8737330" y="3159584"/>
            <a:ext cx="3302270" cy="1320233"/>
          </a:xfrm>
          <a:prstGeom prst="rect">
            <a:avLst/>
          </a:prstGeom>
          <a:noFill/>
        </p:spPr>
        <p:txBody>
          <a:bodyPr wrap="square" rtlCol="0">
            <a:spAutoFit/>
          </a:bodyPr>
          <a:lstStyle/>
          <a:p>
            <a:pPr marL="0" marR="0" lvl="0" indent="0" defTabSz="1243431" eaLnBrk="1" fontAlgn="auto" latinLnBrk="0" hangingPunct="1">
              <a:lnSpc>
                <a:spcPct val="100000"/>
              </a:lnSpc>
              <a:spcBef>
                <a:spcPts val="612"/>
              </a:spcBef>
              <a:spcAft>
                <a:spcPts val="0"/>
              </a:spcAft>
              <a:buClrTx/>
              <a:buSzTx/>
              <a:buFontTx/>
              <a:buNone/>
              <a:tabLst/>
              <a:defRPr/>
            </a:pPr>
            <a:r>
              <a:rPr kumimoji="0" lang="en-US" sz="1496" b="0" i="0" u="none" strike="noStrike" kern="0" cap="none" spc="0" normalizeH="0" baseline="0" noProof="0">
                <a:ln>
                  <a:noFill/>
                </a:ln>
                <a:solidFill>
                  <a:srgbClr val="000000"/>
                </a:solidFill>
                <a:effectLst/>
                <a:uLnTx/>
                <a:uFillTx/>
              </a:rPr>
              <a:t>Page server instances work independently – infinite scale out.</a:t>
            </a:r>
          </a:p>
          <a:p>
            <a:pPr marL="0" marR="0" lvl="0" indent="0" defTabSz="1243431" eaLnBrk="1" fontAlgn="auto" latinLnBrk="0" hangingPunct="1">
              <a:lnSpc>
                <a:spcPct val="100000"/>
              </a:lnSpc>
              <a:spcBef>
                <a:spcPts val="612"/>
              </a:spcBef>
              <a:spcAft>
                <a:spcPts val="0"/>
              </a:spcAft>
              <a:buClrTx/>
              <a:buSzTx/>
              <a:buFontTx/>
              <a:buNone/>
              <a:tabLst/>
              <a:defRPr/>
            </a:pPr>
            <a:r>
              <a:rPr kumimoji="0" lang="en-US" sz="1496" b="0" i="0" u="none" strike="noStrike" kern="0" cap="none" spc="0" normalizeH="0" baseline="0" noProof="0">
                <a:ln>
                  <a:noFill/>
                </a:ln>
                <a:solidFill>
                  <a:srgbClr val="000000"/>
                </a:solidFill>
                <a:effectLst/>
                <a:uLnTx/>
                <a:uFillTx/>
              </a:rPr>
              <a:t>Adding more page servers as your database grows – pay by usage </a:t>
            </a:r>
            <a:br>
              <a:rPr kumimoji="0" lang="en-US" sz="1496" b="0" i="0" u="none" strike="noStrike" kern="0" cap="none" spc="0" normalizeH="0" baseline="0" noProof="0">
                <a:ln>
                  <a:noFill/>
                </a:ln>
                <a:solidFill>
                  <a:srgbClr val="000000"/>
                </a:solidFill>
                <a:effectLst/>
                <a:uLnTx/>
                <a:uFillTx/>
              </a:rPr>
            </a:br>
            <a:r>
              <a:rPr kumimoji="0" lang="en-US" sz="1496" b="0" i="0" u="none" strike="noStrike" kern="0" cap="none" spc="0" normalizeH="0" baseline="0" noProof="0">
                <a:ln>
                  <a:noFill/>
                </a:ln>
                <a:solidFill>
                  <a:srgbClr val="000000"/>
                </a:solidFill>
                <a:effectLst/>
                <a:uLnTx/>
                <a:uFillTx/>
              </a:rPr>
              <a:t>(start with 5GB with 1GB increments).</a:t>
            </a:r>
          </a:p>
        </p:txBody>
      </p:sp>
      <p:sp>
        <p:nvSpPr>
          <p:cNvPr id="250" name="TextBox 249">
            <a:extLst>
              <a:ext uri="{FF2B5EF4-FFF2-40B4-BE49-F238E27FC236}">
                <a16:creationId xmlns:a16="http://schemas.microsoft.com/office/drawing/2014/main" id="{2A132641-0ECB-4886-9BE1-3D34B54D9329}"/>
              </a:ext>
            </a:extLst>
          </p:cNvPr>
          <p:cNvSpPr txBox="1"/>
          <p:nvPr/>
        </p:nvSpPr>
        <p:spPr>
          <a:xfrm>
            <a:off x="8737330" y="4582461"/>
            <a:ext cx="3302270" cy="1894539"/>
          </a:xfrm>
          <a:prstGeom prst="rect">
            <a:avLst/>
          </a:prstGeom>
          <a:noFill/>
        </p:spPr>
        <p:txBody>
          <a:bodyPr wrap="square" rtlCol="0">
            <a:spAutoFit/>
          </a:bodyPr>
          <a:lstStyle/>
          <a:p>
            <a:pPr marL="0" marR="0" lvl="0" indent="0" defTabSz="1243431" eaLnBrk="1" fontAlgn="auto" latinLnBrk="0" hangingPunct="1">
              <a:lnSpc>
                <a:spcPct val="100000"/>
              </a:lnSpc>
              <a:spcBef>
                <a:spcPts val="612"/>
              </a:spcBef>
              <a:spcAft>
                <a:spcPts val="0"/>
              </a:spcAft>
              <a:buClrTx/>
              <a:buSzTx/>
              <a:buFontTx/>
              <a:buNone/>
              <a:tabLst/>
              <a:defRPr/>
            </a:pPr>
            <a:r>
              <a:rPr kumimoji="0" lang="en-US" sz="1496" b="0" i="0" u="none" strike="noStrike" kern="0" cap="none" spc="0" normalizeH="0" baseline="0" noProof="0">
                <a:ln>
                  <a:noFill/>
                </a:ln>
                <a:solidFill>
                  <a:srgbClr val="000000"/>
                </a:solidFill>
                <a:effectLst/>
                <a:uLnTx/>
                <a:uFillTx/>
              </a:rPr>
              <a:t>Snapshot backup + log offloading – zero impact to compute resource.</a:t>
            </a:r>
          </a:p>
          <a:p>
            <a:pPr marL="0" marR="0" lvl="0" indent="0" defTabSz="1243431" eaLnBrk="1" fontAlgn="auto" latinLnBrk="0" hangingPunct="1">
              <a:lnSpc>
                <a:spcPct val="100000"/>
              </a:lnSpc>
              <a:spcBef>
                <a:spcPts val="612"/>
              </a:spcBef>
              <a:spcAft>
                <a:spcPts val="0"/>
              </a:spcAft>
              <a:buClrTx/>
              <a:buSzTx/>
              <a:buFontTx/>
              <a:buNone/>
              <a:tabLst/>
              <a:defRPr/>
            </a:pPr>
            <a:r>
              <a:rPr kumimoji="0" lang="en-US" sz="1496" b="0" i="0" u="none" strike="noStrike" kern="0" cap="none" spc="0" normalizeH="0" baseline="0" noProof="0">
                <a:ln>
                  <a:noFill/>
                </a:ln>
                <a:solidFill>
                  <a:srgbClr val="000000"/>
                </a:solidFill>
                <a:effectLst/>
                <a:uLnTx/>
                <a:uFillTx/>
              </a:rPr>
              <a:t>Restore database by copying snapshots and log records – constant time point in time restore.</a:t>
            </a:r>
          </a:p>
          <a:p>
            <a:pPr marL="0" marR="0" lvl="0" indent="0" defTabSz="1243431" eaLnBrk="1" fontAlgn="auto" latinLnBrk="0" hangingPunct="1">
              <a:lnSpc>
                <a:spcPct val="100000"/>
              </a:lnSpc>
              <a:spcBef>
                <a:spcPts val="612"/>
              </a:spcBef>
              <a:spcAft>
                <a:spcPts val="0"/>
              </a:spcAft>
              <a:buClrTx/>
              <a:buSzTx/>
              <a:buFontTx/>
              <a:buNone/>
              <a:tabLst/>
              <a:defRPr/>
            </a:pPr>
            <a:r>
              <a:rPr kumimoji="0" lang="en-US" sz="1496" b="0" i="0" u="none" strike="noStrike" kern="0" cap="none" spc="0" normalizeH="0" baseline="0" noProof="0">
                <a:ln>
                  <a:noFill/>
                </a:ln>
                <a:solidFill>
                  <a:srgbClr val="000000"/>
                </a:solidFill>
                <a:effectLst/>
                <a:uLnTx/>
                <a:uFillTx/>
              </a:rPr>
              <a:t>Checkpoints also offloaded to </a:t>
            </a:r>
            <a:br>
              <a:rPr kumimoji="0" lang="en-US" sz="1496" b="0" i="0" u="none" strike="noStrike" kern="0" cap="none" spc="0" normalizeH="0" baseline="0" noProof="0">
                <a:ln>
                  <a:noFill/>
                </a:ln>
                <a:solidFill>
                  <a:srgbClr val="000000"/>
                </a:solidFill>
                <a:effectLst/>
                <a:uLnTx/>
                <a:uFillTx/>
              </a:rPr>
            </a:br>
            <a:r>
              <a:rPr kumimoji="0" lang="en-US" sz="1496" b="0" i="0" u="none" strike="noStrike" kern="0" cap="none" spc="0" normalizeH="0" baseline="0" noProof="0">
                <a:ln>
                  <a:noFill/>
                </a:ln>
                <a:solidFill>
                  <a:srgbClr val="000000"/>
                </a:solidFill>
                <a:effectLst/>
                <a:uLnTx/>
                <a:uFillTx/>
              </a:rPr>
              <a:t>page servers.</a:t>
            </a:r>
          </a:p>
        </p:txBody>
      </p:sp>
      <p:sp>
        <p:nvSpPr>
          <p:cNvPr id="251" name="Cylinder 513">
            <a:extLst>
              <a:ext uri="{FF2B5EF4-FFF2-40B4-BE49-F238E27FC236}">
                <a16:creationId xmlns:a16="http://schemas.microsoft.com/office/drawing/2014/main" id="{E288E601-FFBD-4209-A8C7-642BA30C5D2F}"/>
              </a:ext>
            </a:extLst>
          </p:cNvPr>
          <p:cNvSpPr/>
          <p:nvPr/>
        </p:nvSpPr>
        <p:spPr bwMode="auto">
          <a:xfrm>
            <a:off x="1149221" y="3805196"/>
            <a:ext cx="632200" cy="753067"/>
          </a:xfrm>
          <a:prstGeom prst="can">
            <a:avLst>
              <a:gd name="adj" fmla="val 39530"/>
            </a:avLst>
          </a:prstGeom>
          <a:solidFill>
            <a:srgbClr val="0070C0"/>
          </a:solidFill>
          <a:ln w="12700" cap="flat" cmpd="sng" algn="ctr">
            <a:solidFill>
              <a:srgbClr val="0078D3"/>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r>
              <a:rPr kumimoji="0" lang="en-US" sz="1904" b="1" i="0" u="none" strike="noStrike" kern="0" cap="none" spc="0" normalizeH="0" baseline="0" noProof="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SQL</a:t>
            </a:r>
          </a:p>
        </p:txBody>
      </p:sp>
      <p:sp>
        <p:nvSpPr>
          <p:cNvPr id="252" name="Cylinder 513">
            <a:extLst>
              <a:ext uri="{FF2B5EF4-FFF2-40B4-BE49-F238E27FC236}">
                <a16:creationId xmlns:a16="http://schemas.microsoft.com/office/drawing/2014/main" id="{BE4DED54-D6F0-42EA-8CC7-BD69B74F4F2A}"/>
              </a:ext>
            </a:extLst>
          </p:cNvPr>
          <p:cNvSpPr/>
          <p:nvPr/>
        </p:nvSpPr>
        <p:spPr bwMode="auto">
          <a:xfrm>
            <a:off x="2071521" y="3841087"/>
            <a:ext cx="632200" cy="753067"/>
          </a:xfrm>
          <a:prstGeom prst="can">
            <a:avLst>
              <a:gd name="adj" fmla="val 39530"/>
            </a:avLst>
          </a:prstGeom>
          <a:solidFill>
            <a:srgbClr val="0070C0"/>
          </a:solidFill>
          <a:ln w="12700" cap="flat" cmpd="sng" algn="ctr">
            <a:solidFill>
              <a:srgbClr val="0078D3"/>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r>
              <a:rPr kumimoji="0" lang="en-US" sz="1904" b="1" i="0" u="none" strike="noStrike" kern="0" cap="none" spc="0" normalizeH="0" baseline="0" noProof="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SQL</a:t>
            </a:r>
          </a:p>
        </p:txBody>
      </p:sp>
      <p:sp>
        <p:nvSpPr>
          <p:cNvPr id="253" name="Cylinder 513">
            <a:extLst>
              <a:ext uri="{FF2B5EF4-FFF2-40B4-BE49-F238E27FC236}">
                <a16:creationId xmlns:a16="http://schemas.microsoft.com/office/drawing/2014/main" id="{09791323-0891-41FE-8AE2-C9F25AA63521}"/>
              </a:ext>
            </a:extLst>
          </p:cNvPr>
          <p:cNvSpPr/>
          <p:nvPr/>
        </p:nvSpPr>
        <p:spPr bwMode="auto">
          <a:xfrm>
            <a:off x="3271661" y="3814660"/>
            <a:ext cx="632200" cy="753067"/>
          </a:xfrm>
          <a:prstGeom prst="can">
            <a:avLst>
              <a:gd name="adj" fmla="val 39530"/>
            </a:avLst>
          </a:prstGeom>
          <a:solidFill>
            <a:srgbClr val="0070C0"/>
          </a:solidFill>
          <a:ln w="12700" cap="flat" cmpd="sng" algn="ctr">
            <a:solidFill>
              <a:srgbClr val="0078D3"/>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05" eaLnBrk="1" fontAlgn="base" latinLnBrk="0" hangingPunct="1">
              <a:lnSpc>
                <a:spcPct val="90000"/>
              </a:lnSpc>
              <a:spcBef>
                <a:spcPct val="0"/>
              </a:spcBef>
              <a:spcAft>
                <a:spcPct val="0"/>
              </a:spcAft>
              <a:buClrTx/>
              <a:buSzTx/>
              <a:buFontTx/>
              <a:buNone/>
              <a:tabLst/>
              <a:defRPr/>
            </a:pPr>
            <a:r>
              <a:rPr kumimoji="0" lang="en-US" sz="1904" b="1" i="0" u="none" strike="noStrike" kern="0" cap="none" spc="0" normalizeH="0" baseline="0" noProof="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SQL</a:t>
            </a:r>
          </a:p>
        </p:txBody>
      </p:sp>
      <p:sp>
        <p:nvSpPr>
          <p:cNvPr id="254" name="Rectangle 253">
            <a:extLst>
              <a:ext uri="{FF2B5EF4-FFF2-40B4-BE49-F238E27FC236}">
                <a16:creationId xmlns:a16="http://schemas.microsoft.com/office/drawing/2014/main" id="{8FCD5A44-D305-4994-9E31-89E42CA4B238}"/>
              </a:ext>
            </a:extLst>
          </p:cNvPr>
          <p:cNvSpPr/>
          <p:nvPr/>
        </p:nvSpPr>
        <p:spPr bwMode="auto">
          <a:xfrm>
            <a:off x="5148687" y="4867310"/>
            <a:ext cx="2997654" cy="1233328"/>
          </a:xfrm>
          <a:prstGeom prst="rect">
            <a:avLst/>
          </a:prstGeom>
          <a:noFill/>
          <a:ln w="19050" cap="flat" cmpd="sng" algn="ctr">
            <a:solidFill>
              <a:srgbClr val="0078D3"/>
            </a:solidFill>
            <a:prstDash val="dash"/>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endParaRPr>
          </a:p>
        </p:txBody>
      </p:sp>
      <p:sp>
        <p:nvSpPr>
          <p:cNvPr id="255" name="Rectangle 254">
            <a:extLst>
              <a:ext uri="{FF2B5EF4-FFF2-40B4-BE49-F238E27FC236}">
                <a16:creationId xmlns:a16="http://schemas.microsoft.com/office/drawing/2014/main" id="{867EA6CC-F216-48A0-9233-D89D752A9652}"/>
              </a:ext>
            </a:extLst>
          </p:cNvPr>
          <p:cNvSpPr/>
          <p:nvPr/>
        </p:nvSpPr>
        <p:spPr bwMode="auto">
          <a:xfrm>
            <a:off x="5270477" y="5028712"/>
            <a:ext cx="552337" cy="231291"/>
          </a:xfrm>
          <a:prstGeom prst="rect">
            <a:avLst/>
          </a:prstGeom>
          <a:solidFill>
            <a:srgbClr val="50E6FF">
              <a:lumMod val="60000"/>
              <a:lumOff val="40000"/>
            </a:srgbClr>
          </a:solidFill>
          <a:ln w="25400"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05" eaLnBrk="1" fontAlgn="base" latinLnBrk="0" hangingPunct="1">
              <a:lnSpc>
                <a:spcPct val="100000"/>
              </a:lnSpc>
              <a:spcBef>
                <a:spcPct val="0"/>
              </a:spcBef>
              <a:spcAft>
                <a:spcPct val="0"/>
              </a:spcAft>
              <a:buClrTx/>
              <a:buSzTx/>
              <a:buFontTx/>
              <a:buNone/>
              <a:tabLst/>
              <a:defRPr/>
            </a:pPr>
            <a:endParaRPr kumimoji="0" lang="en-US" sz="1224" b="0" i="0" u="none" strike="noStrike" kern="0" cap="none" spc="0" normalizeH="0" baseline="0" noProof="0">
              <a:ln>
                <a:noFill/>
              </a:ln>
              <a:solidFill>
                <a:srgbClr val="1A1A1A"/>
              </a:solidFill>
              <a:effectLst/>
              <a:uLnTx/>
              <a:uFillTx/>
            </a:endParaRPr>
          </a:p>
        </p:txBody>
      </p:sp>
      <p:sp>
        <p:nvSpPr>
          <p:cNvPr id="256" name="TextBox 255">
            <a:extLst>
              <a:ext uri="{FF2B5EF4-FFF2-40B4-BE49-F238E27FC236}">
                <a16:creationId xmlns:a16="http://schemas.microsoft.com/office/drawing/2014/main" id="{20208657-16CF-4BF5-9882-CECC4F8681D2}"/>
              </a:ext>
            </a:extLst>
          </p:cNvPr>
          <p:cNvSpPr txBox="1"/>
          <p:nvPr/>
        </p:nvSpPr>
        <p:spPr>
          <a:xfrm>
            <a:off x="5980521" y="5048483"/>
            <a:ext cx="1886830" cy="192135"/>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2917">
                      <a:srgbClr val="1A1A1A"/>
                    </a:gs>
                    <a:gs pos="30000">
                      <a:srgbClr val="1A1A1A"/>
                    </a:gs>
                  </a:gsLst>
                  <a:lin ang="5400000" scaled="0"/>
                </a:gradFill>
                <a:effectLst/>
                <a:uLnTx/>
                <a:uFillTx/>
              </a:rPr>
              <a:t>Local SSD Cache</a:t>
            </a:r>
          </a:p>
        </p:txBody>
      </p:sp>
      <p:sp>
        <p:nvSpPr>
          <p:cNvPr id="257" name="TextBox 256">
            <a:extLst>
              <a:ext uri="{FF2B5EF4-FFF2-40B4-BE49-F238E27FC236}">
                <a16:creationId xmlns:a16="http://schemas.microsoft.com/office/drawing/2014/main" id="{9D96BA24-203A-42D4-993D-2EB41AD4E303}"/>
              </a:ext>
            </a:extLst>
          </p:cNvPr>
          <p:cNvSpPr txBox="1"/>
          <p:nvPr/>
        </p:nvSpPr>
        <p:spPr>
          <a:xfrm>
            <a:off x="5277633" y="5356305"/>
            <a:ext cx="552337" cy="224114"/>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2917">
                      <a:srgbClr val="1A1A1A"/>
                    </a:gs>
                    <a:gs pos="30000">
                      <a:srgbClr val="1A1A1A"/>
                    </a:gs>
                  </a:gsLst>
                  <a:lin ang="5400000" scaled="0"/>
                </a:gradFill>
                <a:effectLst/>
                <a:uLnTx/>
                <a:uFillTx/>
              </a:rPr>
              <a:t>RBPEX</a:t>
            </a:r>
            <a:endParaRPr kumimoji="0" lang="en-US" sz="1224" b="0" i="0" u="none" strike="noStrike" kern="0" cap="none" spc="0" normalizeH="0" baseline="0" noProof="0">
              <a:ln>
                <a:noFill/>
              </a:ln>
              <a:gradFill>
                <a:gsLst>
                  <a:gs pos="2917">
                    <a:srgbClr val="1A1A1A"/>
                  </a:gs>
                  <a:gs pos="30000">
                    <a:srgbClr val="1A1A1A"/>
                  </a:gs>
                </a:gsLst>
                <a:lin ang="5400000" scaled="0"/>
              </a:gradFill>
              <a:effectLst/>
              <a:uLnTx/>
              <a:uFillTx/>
            </a:endParaRPr>
          </a:p>
        </p:txBody>
      </p:sp>
      <p:cxnSp>
        <p:nvCxnSpPr>
          <p:cNvPr id="258" name="Straight Arrow Connector 257">
            <a:extLst>
              <a:ext uri="{FF2B5EF4-FFF2-40B4-BE49-F238E27FC236}">
                <a16:creationId xmlns:a16="http://schemas.microsoft.com/office/drawing/2014/main" id="{2273D96D-522A-491F-AC80-41FBBA6F573F}"/>
              </a:ext>
            </a:extLst>
          </p:cNvPr>
          <p:cNvCxnSpPr>
            <a:cxnSpLocks/>
          </p:cNvCxnSpPr>
          <p:nvPr/>
        </p:nvCxnSpPr>
        <p:spPr>
          <a:xfrm>
            <a:off x="5270477" y="5674832"/>
            <a:ext cx="552337" cy="0"/>
          </a:xfrm>
          <a:prstGeom prst="straightConnector1">
            <a:avLst/>
          </a:prstGeom>
          <a:noFill/>
          <a:ln w="28575" cap="flat" cmpd="sng" algn="ctr">
            <a:solidFill>
              <a:srgbClr val="000000">
                <a:lumMod val="50000"/>
                <a:lumOff val="50000"/>
              </a:srgbClr>
            </a:solidFill>
            <a:prstDash val="solid"/>
            <a:headEnd type="none" w="lg" len="med"/>
            <a:tailEnd type="triangle"/>
          </a:ln>
          <a:effectLst/>
        </p:spPr>
      </p:cxnSp>
      <p:sp>
        <p:nvSpPr>
          <p:cNvPr id="259" name="TextBox 258">
            <a:extLst>
              <a:ext uri="{FF2B5EF4-FFF2-40B4-BE49-F238E27FC236}">
                <a16:creationId xmlns:a16="http://schemas.microsoft.com/office/drawing/2014/main" id="{D32CF83C-BE0C-4636-A086-E2C261AB3D9A}"/>
              </a:ext>
            </a:extLst>
          </p:cNvPr>
          <p:cNvSpPr txBox="1"/>
          <p:nvPr/>
        </p:nvSpPr>
        <p:spPr>
          <a:xfrm>
            <a:off x="5980521" y="5569488"/>
            <a:ext cx="1886830" cy="192135"/>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2917">
                      <a:srgbClr val="1A1A1A"/>
                    </a:gs>
                    <a:gs pos="30000">
                      <a:srgbClr val="1A1A1A"/>
                    </a:gs>
                  </a:gsLst>
                  <a:lin ang="5400000" scaled="0"/>
                </a:gradFill>
                <a:effectLst/>
                <a:uLnTx/>
                <a:uFillTx/>
              </a:rPr>
              <a:t>Log Pathway</a:t>
            </a:r>
          </a:p>
        </p:txBody>
      </p:sp>
      <p:sp>
        <p:nvSpPr>
          <p:cNvPr id="260" name="TextBox 259">
            <a:extLst>
              <a:ext uri="{FF2B5EF4-FFF2-40B4-BE49-F238E27FC236}">
                <a16:creationId xmlns:a16="http://schemas.microsoft.com/office/drawing/2014/main" id="{464FEA92-AEA7-46E8-AD4A-9C69638AD367}"/>
              </a:ext>
            </a:extLst>
          </p:cNvPr>
          <p:cNvSpPr txBox="1"/>
          <p:nvPr/>
        </p:nvSpPr>
        <p:spPr>
          <a:xfrm>
            <a:off x="5980520" y="5336727"/>
            <a:ext cx="2165821" cy="192135"/>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2917">
                      <a:srgbClr val="1A1A1A"/>
                    </a:gs>
                    <a:gs pos="30000">
                      <a:srgbClr val="1A1A1A"/>
                    </a:gs>
                  </a:gsLst>
                  <a:lin ang="5400000" scaled="0"/>
                </a:gradFill>
                <a:effectLst/>
                <a:uLnTx/>
                <a:uFillTx/>
              </a:rPr>
              <a:t>Resilient Buffer Pool Extension</a:t>
            </a:r>
          </a:p>
        </p:txBody>
      </p:sp>
      <p:cxnSp>
        <p:nvCxnSpPr>
          <p:cNvPr id="261" name="Straight Arrow Connector 260">
            <a:extLst>
              <a:ext uri="{FF2B5EF4-FFF2-40B4-BE49-F238E27FC236}">
                <a16:creationId xmlns:a16="http://schemas.microsoft.com/office/drawing/2014/main" id="{762E45D9-E40E-442B-B240-DE35A5CCA94B}"/>
              </a:ext>
            </a:extLst>
          </p:cNvPr>
          <p:cNvCxnSpPr>
            <a:cxnSpLocks/>
          </p:cNvCxnSpPr>
          <p:nvPr/>
        </p:nvCxnSpPr>
        <p:spPr>
          <a:xfrm>
            <a:off x="5277632" y="5971580"/>
            <a:ext cx="538025" cy="0"/>
          </a:xfrm>
          <a:prstGeom prst="straightConnector1">
            <a:avLst/>
          </a:prstGeom>
          <a:noFill/>
          <a:ln w="28575" cap="flat" cmpd="sng" algn="ctr">
            <a:solidFill>
              <a:srgbClr val="C00000"/>
            </a:solidFill>
            <a:prstDash val="solid"/>
            <a:headEnd type="none" w="lg" len="med"/>
            <a:tailEnd type="triangle"/>
          </a:ln>
          <a:effectLst/>
        </p:spPr>
      </p:cxnSp>
      <p:sp>
        <p:nvSpPr>
          <p:cNvPr id="262" name="TextBox 261">
            <a:extLst>
              <a:ext uri="{FF2B5EF4-FFF2-40B4-BE49-F238E27FC236}">
                <a16:creationId xmlns:a16="http://schemas.microsoft.com/office/drawing/2014/main" id="{8C38B17A-12E7-44B0-8639-29BB48C5DFA1}"/>
              </a:ext>
            </a:extLst>
          </p:cNvPr>
          <p:cNvSpPr txBox="1"/>
          <p:nvPr/>
        </p:nvSpPr>
        <p:spPr>
          <a:xfrm>
            <a:off x="5980521" y="5857733"/>
            <a:ext cx="1886830" cy="192135"/>
          </a:xfrm>
          <a:prstGeom prst="rect">
            <a:avLst/>
          </a:prstGeom>
          <a:noFill/>
        </p:spPr>
        <p:txBody>
          <a:bodyPr wrap="square" lIns="0" tIns="0" rIns="0" bIns="0" rtlCol="0">
            <a:spAutoFit/>
          </a:bodyPr>
          <a:lstStyle/>
          <a:p>
            <a:pPr marL="0" marR="0" lvl="0" indent="0" defTabSz="932539"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2917">
                      <a:srgbClr val="1A1A1A"/>
                    </a:gs>
                    <a:gs pos="30000">
                      <a:srgbClr val="1A1A1A"/>
                    </a:gs>
                  </a:gsLst>
                  <a:lin ang="5400000" scaled="0"/>
                </a:gradFill>
                <a:effectLst/>
                <a:uLnTx/>
                <a:uFillTx/>
              </a:rPr>
              <a:t>Data Pathway</a:t>
            </a:r>
          </a:p>
        </p:txBody>
      </p:sp>
    </p:spTree>
    <p:extLst>
      <p:ext uri="{BB962C8B-B14F-4D97-AF65-F5344CB8AC3E}">
        <p14:creationId xmlns:p14="http://schemas.microsoft.com/office/powerpoint/2010/main" val="364567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wipe(left)">
                                      <p:cBhvr>
                                        <p:cTn id="7" dur="500"/>
                                        <p:tgtEl>
                                          <p:spTgt spid="18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185"/>
                                        </p:tgtEl>
                                        <p:attrNameLst>
                                          <p:attrName>style.visibility</p:attrName>
                                        </p:attrNameLst>
                                      </p:cBhvr>
                                      <p:to>
                                        <p:strVal val="visible"/>
                                      </p:to>
                                    </p:set>
                                    <p:animEffect transition="in" filter="wipe(right)">
                                      <p:cBhvr>
                                        <p:cTn id="12" dur="500"/>
                                        <p:tgtEl>
                                          <p:spTgt spid="18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231"/>
                                        </p:tgtEl>
                                        <p:attrNameLst>
                                          <p:attrName>style.visibility</p:attrName>
                                        </p:attrNameLst>
                                      </p:cBhvr>
                                      <p:to>
                                        <p:strVal val="visible"/>
                                      </p:to>
                                    </p:set>
                                    <p:animEffect transition="in" filter="wipe(down)">
                                      <p:cBhvr>
                                        <p:cTn id="17" dur="500"/>
                                        <p:tgtEl>
                                          <p:spTgt spid="23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173"/>
                                        </p:tgtEl>
                                        <p:attrNameLst>
                                          <p:attrName>style.visibility</p:attrName>
                                        </p:attrNameLst>
                                      </p:cBhvr>
                                      <p:to>
                                        <p:strVal val="visible"/>
                                      </p:to>
                                    </p:set>
                                    <p:animEffect transition="in" filter="wipe(down)">
                                      <p:cBhvr>
                                        <p:cTn id="22" dur="500"/>
                                        <p:tgtEl>
                                          <p:spTgt spid="17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34"/>
                                        </p:tgtEl>
                                        <p:attrNameLst>
                                          <p:attrName>style.visibility</p:attrName>
                                        </p:attrNameLst>
                                      </p:cBhvr>
                                      <p:to>
                                        <p:strVal val="visible"/>
                                      </p:to>
                                    </p:set>
                                    <p:animEffect transition="in" filter="fade">
                                      <p:cBhvr>
                                        <p:cTn id="27" dur="500"/>
                                        <p:tgtEl>
                                          <p:spTgt spid="23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40"/>
                                        </p:tgtEl>
                                        <p:attrNameLst>
                                          <p:attrName>style.visibility</p:attrName>
                                        </p:attrNameLst>
                                      </p:cBhvr>
                                      <p:to>
                                        <p:strVal val="visible"/>
                                      </p:to>
                                    </p:set>
                                    <p:animEffect transition="in" filter="fade">
                                      <p:cBhvr>
                                        <p:cTn id="32" dur="1000"/>
                                        <p:tgtEl>
                                          <p:spTgt spid="240"/>
                                        </p:tgtEl>
                                      </p:cBhvr>
                                    </p:animEffect>
                                  </p:childTnLst>
                                </p:cTn>
                              </p:par>
                              <p:par>
                                <p:cTn id="33" presetID="10" presetClass="exit" presetSubtype="0" fill="hold" nodeType="withEffect">
                                  <p:stCondLst>
                                    <p:cond delay="0"/>
                                  </p:stCondLst>
                                  <p:childTnLst>
                                    <p:animEffect transition="out" filter="fade">
                                      <p:cBhvr>
                                        <p:cTn id="34" dur="1000"/>
                                        <p:tgtEl>
                                          <p:spTgt spid="234"/>
                                        </p:tgtEl>
                                      </p:cBhvr>
                                    </p:animEffect>
                                    <p:set>
                                      <p:cBhvr>
                                        <p:cTn id="35" dur="1" fill="hold">
                                          <p:stCondLst>
                                            <p:cond delay="999"/>
                                          </p:stCondLst>
                                        </p:cTn>
                                        <p:tgtEl>
                                          <p:spTgt spid="234"/>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34"/>
                                        </p:tgtEl>
                                        <p:attrNameLst>
                                          <p:attrName>style.visibility</p:attrName>
                                        </p:attrNameLst>
                                      </p:cBhvr>
                                      <p:to>
                                        <p:strVal val="visible"/>
                                      </p:to>
                                    </p:set>
                                    <p:animEffect transition="in" filter="fade">
                                      <p:cBhvr>
                                        <p:cTn id="40" dur="1000"/>
                                        <p:tgtEl>
                                          <p:spTgt spid="234"/>
                                        </p:tgtEl>
                                      </p:cBhvr>
                                    </p:animEffect>
                                  </p:childTnLst>
                                </p:cTn>
                              </p:par>
                              <p:par>
                                <p:cTn id="41" presetID="10" presetClass="exit" presetSubtype="0" fill="hold" nodeType="withEffect">
                                  <p:stCondLst>
                                    <p:cond delay="0"/>
                                  </p:stCondLst>
                                  <p:childTnLst>
                                    <p:animEffect transition="out" filter="fade">
                                      <p:cBhvr>
                                        <p:cTn id="42" dur="1000"/>
                                        <p:tgtEl>
                                          <p:spTgt spid="240"/>
                                        </p:tgtEl>
                                      </p:cBhvr>
                                    </p:animEffect>
                                    <p:set>
                                      <p:cBhvr>
                                        <p:cTn id="43" dur="1" fill="hold">
                                          <p:stCondLst>
                                            <p:cond delay="999"/>
                                          </p:stCondLst>
                                        </p:cTn>
                                        <p:tgtEl>
                                          <p:spTgt spid="240"/>
                                        </p:tgtEl>
                                        <p:attrNameLst>
                                          <p:attrName>style.visibility</p:attrName>
                                        </p:attrNameLst>
                                      </p:cBhvr>
                                      <p:to>
                                        <p:strVal val="hidden"/>
                                      </p:to>
                                    </p:se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247">
                                            <p:txEl>
                                              <p:pRg st="0" end="0"/>
                                            </p:txEl>
                                          </p:spTgt>
                                        </p:tgtEl>
                                        <p:attrNameLst>
                                          <p:attrName>style.visibility</p:attrName>
                                        </p:attrNameLst>
                                      </p:cBhvr>
                                      <p:to>
                                        <p:strVal val="visible"/>
                                      </p:to>
                                    </p:set>
                                    <p:animEffect transition="in" filter="fade">
                                      <p:cBhvr>
                                        <p:cTn id="47" dur="500"/>
                                        <p:tgtEl>
                                          <p:spTgt spid="247">
                                            <p:txEl>
                                              <p:pRg st="0" end="0"/>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41"/>
                                        </p:tgtEl>
                                        <p:attrNameLst>
                                          <p:attrName>style.visibility</p:attrName>
                                        </p:attrNameLst>
                                      </p:cBhvr>
                                      <p:to>
                                        <p:strVal val="visible"/>
                                      </p:to>
                                    </p:set>
                                    <p:animEffect transition="in" filter="fade">
                                      <p:cBhvr>
                                        <p:cTn id="52" dur="1000"/>
                                        <p:tgtEl>
                                          <p:spTgt spid="141"/>
                                        </p:tgtEl>
                                      </p:cBhvr>
                                    </p:animEffect>
                                  </p:childTnLst>
                                </p:cTn>
                              </p:par>
                            </p:childTnLst>
                          </p:cTn>
                        </p:par>
                        <p:par>
                          <p:cTn id="53" fill="hold">
                            <p:stCondLst>
                              <p:cond delay="1000"/>
                            </p:stCondLst>
                            <p:childTnLst>
                              <p:par>
                                <p:cTn id="54" presetID="10" presetClass="entr" presetSubtype="0" fill="hold" nodeType="afterEffect">
                                  <p:stCondLst>
                                    <p:cond delay="0"/>
                                  </p:stCondLst>
                                  <p:childTnLst>
                                    <p:set>
                                      <p:cBhvr>
                                        <p:cTn id="55" dur="1" fill="hold">
                                          <p:stCondLst>
                                            <p:cond delay="0"/>
                                          </p:stCondLst>
                                        </p:cTn>
                                        <p:tgtEl>
                                          <p:spTgt spid="135"/>
                                        </p:tgtEl>
                                        <p:attrNameLst>
                                          <p:attrName>style.visibility</p:attrName>
                                        </p:attrNameLst>
                                      </p:cBhvr>
                                      <p:to>
                                        <p:strVal val="visible"/>
                                      </p:to>
                                    </p:set>
                                    <p:animEffect transition="in" filter="fade">
                                      <p:cBhvr>
                                        <p:cTn id="56" dur="1000"/>
                                        <p:tgtEl>
                                          <p:spTgt spid="135"/>
                                        </p:tgtEl>
                                      </p:cBhvr>
                                    </p:animEffect>
                                  </p:childTnLst>
                                </p:cTn>
                              </p:par>
                            </p:childTnLst>
                          </p:cTn>
                        </p:par>
                        <p:par>
                          <p:cTn id="57" fill="hold">
                            <p:stCondLst>
                              <p:cond delay="2000"/>
                            </p:stCondLst>
                            <p:childTnLst>
                              <p:par>
                                <p:cTn id="58" presetID="10" presetClass="entr" presetSubtype="0" fill="hold" nodeType="afterEffect">
                                  <p:stCondLst>
                                    <p:cond delay="0"/>
                                  </p:stCondLst>
                                  <p:childTnLst>
                                    <p:set>
                                      <p:cBhvr>
                                        <p:cTn id="59" dur="1" fill="hold">
                                          <p:stCondLst>
                                            <p:cond delay="0"/>
                                          </p:stCondLst>
                                        </p:cTn>
                                        <p:tgtEl>
                                          <p:spTgt spid="147"/>
                                        </p:tgtEl>
                                        <p:attrNameLst>
                                          <p:attrName>style.visibility</p:attrName>
                                        </p:attrNameLst>
                                      </p:cBhvr>
                                      <p:to>
                                        <p:strVal val="visible"/>
                                      </p:to>
                                    </p:set>
                                    <p:animEffect transition="in" filter="fade">
                                      <p:cBhvr>
                                        <p:cTn id="60" dur="1000"/>
                                        <p:tgtEl>
                                          <p:spTgt spid="147"/>
                                        </p:tgtEl>
                                      </p:cBhvr>
                                    </p:animEffect>
                                  </p:childTnLst>
                                </p:cTn>
                              </p:par>
                            </p:childTnLst>
                          </p:cTn>
                        </p:par>
                        <p:par>
                          <p:cTn id="61" fill="hold">
                            <p:stCondLst>
                              <p:cond delay="3000"/>
                            </p:stCondLst>
                            <p:childTnLst>
                              <p:par>
                                <p:cTn id="62" presetID="21" presetClass="entr" presetSubtype="1" fill="hold" grpId="0" nodeType="afterEffect">
                                  <p:stCondLst>
                                    <p:cond delay="500"/>
                                  </p:stCondLst>
                                  <p:childTnLst>
                                    <p:set>
                                      <p:cBhvr>
                                        <p:cTn id="63" dur="1" fill="hold">
                                          <p:stCondLst>
                                            <p:cond delay="0"/>
                                          </p:stCondLst>
                                        </p:cTn>
                                        <p:tgtEl>
                                          <p:spTgt spid="134"/>
                                        </p:tgtEl>
                                        <p:attrNameLst>
                                          <p:attrName>style.visibility</p:attrName>
                                        </p:attrNameLst>
                                      </p:cBhvr>
                                      <p:to>
                                        <p:strVal val="visible"/>
                                      </p:to>
                                    </p:set>
                                    <p:animEffect transition="in" filter="wheel(1)">
                                      <p:cBhvr>
                                        <p:cTn id="64" dur="1000"/>
                                        <p:tgtEl>
                                          <p:spTgt spid="134"/>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55"/>
                                        </p:tgtEl>
                                        <p:attrNameLst>
                                          <p:attrName>style.visibility</p:attrName>
                                        </p:attrNameLst>
                                      </p:cBhvr>
                                      <p:to>
                                        <p:strVal val="visible"/>
                                      </p:to>
                                    </p:set>
                                    <p:animEffect transition="in" filter="fade">
                                      <p:cBhvr>
                                        <p:cTn id="69" dur="500"/>
                                        <p:tgtEl>
                                          <p:spTgt spid="155"/>
                                        </p:tgtEl>
                                      </p:cBhvr>
                                    </p:animEffect>
                                  </p:childTnLst>
                                </p:cTn>
                              </p:par>
                            </p:childTnLst>
                          </p:cTn>
                        </p:par>
                        <p:par>
                          <p:cTn id="70" fill="hold">
                            <p:stCondLst>
                              <p:cond delay="500"/>
                            </p:stCondLst>
                            <p:childTnLst>
                              <p:par>
                                <p:cTn id="71" presetID="22" presetClass="entr" presetSubtype="2" fill="hold" nodeType="afterEffect">
                                  <p:stCondLst>
                                    <p:cond delay="0"/>
                                  </p:stCondLst>
                                  <p:childTnLst>
                                    <p:set>
                                      <p:cBhvr>
                                        <p:cTn id="72" dur="1" fill="hold">
                                          <p:stCondLst>
                                            <p:cond delay="0"/>
                                          </p:stCondLst>
                                        </p:cTn>
                                        <p:tgtEl>
                                          <p:spTgt spid="156"/>
                                        </p:tgtEl>
                                        <p:attrNameLst>
                                          <p:attrName>style.visibility</p:attrName>
                                        </p:attrNameLst>
                                      </p:cBhvr>
                                      <p:to>
                                        <p:strVal val="visible"/>
                                      </p:to>
                                    </p:set>
                                    <p:animEffect transition="in" filter="wipe(right)">
                                      <p:cBhvr>
                                        <p:cTn id="73" dur="500"/>
                                        <p:tgtEl>
                                          <p:spTgt spid="156"/>
                                        </p:tgtEl>
                                      </p:cBhvr>
                                    </p:animEffect>
                                  </p:childTnLst>
                                </p:cTn>
                              </p:par>
                              <p:par>
                                <p:cTn id="74" presetID="22" presetClass="entr" presetSubtype="2" fill="hold" grpId="0" nodeType="withEffect">
                                  <p:stCondLst>
                                    <p:cond delay="0"/>
                                  </p:stCondLst>
                                  <p:childTnLst>
                                    <p:set>
                                      <p:cBhvr>
                                        <p:cTn id="75" dur="1" fill="hold">
                                          <p:stCondLst>
                                            <p:cond delay="0"/>
                                          </p:stCondLst>
                                        </p:cTn>
                                        <p:tgtEl>
                                          <p:spTgt spid="158"/>
                                        </p:tgtEl>
                                        <p:attrNameLst>
                                          <p:attrName>style.visibility</p:attrName>
                                        </p:attrNameLst>
                                      </p:cBhvr>
                                      <p:to>
                                        <p:strVal val="visible"/>
                                      </p:to>
                                    </p:set>
                                    <p:animEffect transition="in" filter="wipe(right)">
                                      <p:cBhvr>
                                        <p:cTn id="76" dur="500"/>
                                        <p:tgtEl>
                                          <p:spTgt spid="158"/>
                                        </p:tgtEl>
                                      </p:cBhvr>
                                    </p:animEffect>
                                  </p:childTnLst>
                                </p:cTn>
                              </p:par>
                            </p:childTnLst>
                          </p:cTn>
                        </p:par>
                        <p:par>
                          <p:cTn id="77" fill="hold">
                            <p:stCondLst>
                              <p:cond delay="1000"/>
                            </p:stCondLst>
                            <p:childTnLst>
                              <p:par>
                                <p:cTn id="78" presetID="22" presetClass="entr" presetSubtype="8" fill="hold" nodeType="afterEffect">
                                  <p:stCondLst>
                                    <p:cond delay="0"/>
                                  </p:stCondLst>
                                  <p:childTnLst>
                                    <p:set>
                                      <p:cBhvr>
                                        <p:cTn id="79" dur="1" fill="hold">
                                          <p:stCondLst>
                                            <p:cond delay="0"/>
                                          </p:stCondLst>
                                        </p:cTn>
                                        <p:tgtEl>
                                          <p:spTgt spid="157"/>
                                        </p:tgtEl>
                                        <p:attrNameLst>
                                          <p:attrName>style.visibility</p:attrName>
                                        </p:attrNameLst>
                                      </p:cBhvr>
                                      <p:to>
                                        <p:strVal val="visible"/>
                                      </p:to>
                                    </p:set>
                                    <p:animEffect transition="in" filter="wipe(left)">
                                      <p:cBhvr>
                                        <p:cTn id="80" dur="500"/>
                                        <p:tgtEl>
                                          <p:spTgt spid="157"/>
                                        </p:tgtEl>
                                      </p:cBhvr>
                                    </p:animEffect>
                                  </p:childTnLst>
                                </p:cTn>
                              </p:par>
                              <p:par>
                                <p:cTn id="81" presetID="22" presetClass="entr" presetSubtype="8" fill="hold" grpId="0" nodeType="withEffect">
                                  <p:stCondLst>
                                    <p:cond delay="0"/>
                                  </p:stCondLst>
                                  <p:childTnLst>
                                    <p:set>
                                      <p:cBhvr>
                                        <p:cTn id="82" dur="1" fill="hold">
                                          <p:stCondLst>
                                            <p:cond delay="0"/>
                                          </p:stCondLst>
                                        </p:cTn>
                                        <p:tgtEl>
                                          <p:spTgt spid="159"/>
                                        </p:tgtEl>
                                        <p:attrNameLst>
                                          <p:attrName>style.visibility</p:attrName>
                                        </p:attrNameLst>
                                      </p:cBhvr>
                                      <p:to>
                                        <p:strVal val="visible"/>
                                      </p:to>
                                    </p:set>
                                    <p:animEffect transition="in" filter="wipe(left)">
                                      <p:cBhvr>
                                        <p:cTn id="83" dur="500"/>
                                        <p:tgtEl>
                                          <p:spTgt spid="159"/>
                                        </p:tgtEl>
                                      </p:cBhvr>
                                    </p:animEffect>
                                  </p:childTnLst>
                                </p:cTn>
                              </p:par>
                            </p:childTnLst>
                          </p:cTn>
                        </p:par>
                        <p:par>
                          <p:cTn id="84" fill="hold">
                            <p:stCondLst>
                              <p:cond delay="1500"/>
                            </p:stCondLst>
                            <p:childTnLst>
                              <p:par>
                                <p:cTn id="85" presetID="10" presetClass="entr" presetSubtype="0" fill="hold" nodeType="afterEffect">
                                  <p:stCondLst>
                                    <p:cond delay="0"/>
                                  </p:stCondLst>
                                  <p:childTnLst>
                                    <p:set>
                                      <p:cBhvr>
                                        <p:cTn id="86" dur="1" fill="hold">
                                          <p:stCondLst>
                                            <p:cond delay="0"/>
                                          </p:stCondLst>
                                        </p:cTn>
                                        <p:tgtEl>
                                          <p:spTgt spid="247">
                                            <p:txEl>
                                              <p:pRg st="1" end="1"/>
                                            </p:txEl>
                                          </p:spTgt>
                                        </p:tgtEl>
                                        <p:attrNameLst>
                                          <p:attrName>style.visibility</p:attrName>
                                        </p:attrNameLst>
                                      </p:cBhvr>
                                      <p:to>
                                        <p:strVal val="visible"/>
                                      </p:to>
                                    </p:set>
                                    <p:animEffect transition="in" filter="fade">
                                      <p:cBhvr>
                                        <p:cTn id="87" dur="500"/>
                                        <p:tgtEl>
                                          <p:spTgt spid="247">
                                            <p:txEl>
                                              <p:pRg st="1" end="1"/>
                                            </p:txEl>
                                          </p:spTgt>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xit" presetSubtype="0" fill="hold" grpId="0" nodeType="clickEffect">
                                  <p:stCondLst>
                                    <p:cond delay="0"/>
                                  </p:stCondLst>
                                  <p:childTnLst>
                                    <p:animEffect transition="out" filter="fade">
                                      <p:cBhvr>
                                        <p:cTn id="91" dur="500"/>
                                        <p:tgtEl>
                                          <p:spTgt spid="247">
                                            <p:txEl>
                                              <p:pRg st="0" end="0"/>
                                            </p:txEl>
                                          </p:spTgt>
                                        </p:tgtEl>
                                      </p:cBhvr>
                                    </p:animEffect>
                                    <p:set>
                                      <p:cBhvr>
                                        <p:cTn id="92" dur="1" fill="hold">
                                          <p:stCondLst>
                                            <p:cond delay="499"/>
                                          </p:stCondLst>
                                        </p:cTn>
                                        <p:tgtEl>
                                          <p:spTgt spid="247">
                                            <p:txEl>
                                              <p:pRg st="0" end="0"/>
                                            </p:txEl>
                                          </p:spTgt>
                                        </p:tgtEl>
                                        <p:attrNameLst>
                                          <p:attrName>style.visibility</p:attrName>
                                        </p:attrNameLst>
                                      </p:cBhvr>
                                      <p:to>
                                        <p:strVal val="hidden"/>
                                      </p:to>
                                    </p:set>
                                  </p:childTnLst>
                                </p:cTn>
                              </p:par>
                              <p:par>
                                <p:cTn id="93" presetID="10" presetClass="exit" presetSubtype="0" fill="hold" grpId="0" nodeType="withEffect">
                                  <p:stCondLst>
                                    <p:cond delay="0"/>
                                  </p:stCondLst>
                                  <p:childTnLst>
                                    <p:animEffect transition="out" filter="fade">
                                      <p:cBhvr>
                                        <p:cTn id="94" dur="500"/>
                                        <p:tgtEl>
                                          <p:spTgt spid="247">
                                            <p:txEl>
                                              <p:pRg st="1" end="1"/>
                                            </p:txEl>
                                          </p:spTgt>
                                        </p:tgtEl>
                                      </p:cBhvr>
                                    </p:animEffect>
                                    <p:set>
                                      <p:cBhvr>
                                        <p:cTn id="95" dur="1" fill="hold">
                                          <p:stCondLst>
                                            <p:cond delay="499"/>
                                          </p:stCondLst>
                                        </p:cTn>
                                        <p:tgtEl>
                                          <p:spTgt spid="247">
                                            <p:txEl>
                                              <p:pRg st="1" end="1"/>
                                            </p:txEl>
                                          </p:spTgt>
                                        </p:tgtEl>
                                        <p:attrNameLst>
                                          <p:attrName>style.visibility</p:attrName>
                                        </p:attrNameLst>
                                      </p:cBhvr>
                                      <p:to>
                                        <p:strVal val="hidden"/>
                                      </p:to>
                                    </p:set>
                                  </p:childTnLst>
                                </p:cTn>
                              </p:par>
                            </p:childTnLst>
                          </p:cTn>
                        </p:par>
                      </p:childTnLst>
                    </p:cTn>
                  </p:par>
                  <p:par>
                    <p:cTn id="96" fill="hold">
                      <p:stCondLst>
                        <p:cond delay="indefinite"/>
                      </p:stCondLst>
                      <p:childTnLst>
                        <p:par>
                          <p:cTn id="97" fill="hold">
                            <p:stCondLst>
                              <p:cond delay="0"/>
                            </p:stCondLst>
                            <p:childTnLst>
                              <p:par>
                                <p:cTn id="98" presetID="22" presetClass="entr" presetSubtype="8" fill="hold" grpId="0" nodeType="clickEffect">
                                  <p:stCondLst>
                                    <p:cond delay="0"/>
                                  </p:stCondLst>
                                  <p:childTnLst>
                                    <p:set>
                                      <p:cBhvr>
                                        <p:cTn id="99" dur="1" fill="hold">
                                          <p:stCondLst>
                                            <p:cond delay="0"/>
                                          </p:stCondLst>
                                        </p:cTn>
                                        <p:tgtEl>
                                          <p:spTgt spid="179"/>
                                        </p:tgtEl>
                                        <p:attrNameLst>
                                          <p:attrName>style.visibility</p:attrName>
                                        </p:attrNameLst>
                                      </p:cBhvr>
                                      <p:to>
                                        <p:strVal val="visible"/>
                                      </p:to>
                                    </p:set>
                                    <p:animEffect transition="in" filter="wipe(left)">
                                      <p:cBhvr>
                                        <p:cTn id="100" dur="500"/>
                                        <p:tgtEl>
                                          <p:spTgt spid="179"/>
                                        </p:tgtEl>
                                      </p:cBhvr>
                                    </p:animEffect>
                                  </p:childTnLst>
                                </p:cTn>
                              </p:par>
                            </p:childTnLst>
                          </p:cTn>
                        </p:par>
                        <p:par>
                          <p:cTn id="101" fill="hold">
                            <p:stCondLst>
                              <p:cond delay="500"/>
                            </p:stCondLst>
                            <p:childTnLst>
                              <p:par>
                                <p:cTn id="102" presetID="10" presetClass="entr" presetSubtype="0" fill="hold" nodeType="afterEffect">
                                  <p:stCondLst>
                                    <p:cond delay="0"/>
                                  </p:stCondLst>
                                  <p:childTnLst>
                                    <p:set>
                                      <p:cBhvr>
                                        <p:cTn id="103" dur="1" fill="hold">
                                          <p:stCondLst>
                                            <p:cond delay="0"/>
                                          </p:stCondLst>
                                        </p:cTn>
                                        <p:tgtEl>
                                          <p:spTgt spid="248">
                                            <p:txEl>
                                              <p:pRg st="0" end="0"/>
                                            </p:txEl>
                                          </p:spTgt>
                                        </p:tgtEl>
                                        <p:attrNameLst>
                                          <p:attrName>style.visibility</p:attrName>
                                        </p:attrNameLst>
                                      </p:cBhvr>
                                      <p:to>
                                        <p:strVal val="visible"/>
                                      </p:to>
                                    </p:set>
                                    <p:animEffect transition="in" filter="fade">
                                      <p:cBhvr>
                                        <p:cTn id="104" dur="500"/>
                                        <p:tgtEl>
                                          <p:spTgt spid="248">
                                            <p:txEl>
                                              <p:pRg st="0" end="0"/>
                                            </p:txEl>
                                          </p:spTgt>
                                        </p:tgtEl>
                                      </p:cBhvr>
                                    </p:animEffect>
                                  </p:childTnLst>
                                </p:cTn>
                              </p:par>
                            </p:childTnLst>
                          </p:cTn>
                        </p:par>
                        <p:par>
                          <p:cTn id="105" fill="hold">
                            <p:stCondLst>
                              <p:cond delay="1000"/>
                            </p:stCondLst>
                            <p:childTnLst>
                              <p:par>
                                <p:cTn id="106" presetID="10" presetClass="entr" presetSubtype="0" fill="hold" nodeType="afterEffect">
                                  <p:stCondLst>
                                    <p:cond delay="0"/>
                                  </p:stCondLst>
                                  <p:childTnLst>
                                    <p:set>
                                      <p:cBhvr>
                                        <p:cTn id="107" dur="1" fill="hold">
                                          <p:stCondLst>
                                            <p:cond delay="0"/>
                                          </p:stCondLst>
                                        </p:cTn>
                                        <p:tgtEl>
                                          <p:spTgt spid="248">
                                            <p:txEl>
                                              <p:pRg st="1" end="1"/>
                                            </p:txEl>
                                          </p:spTgt>
                                        </p:tgtEl>
                                        <p:attrNameLst>
                                          <p:attrName>style.visibility</p:attrName>
                                        </p:attrNameLst>
                                      </p:cBhvr>
                                      <p:to>
                                        <p:strVal val="visible"/>
                                      </p:to>
                                    </p:set>
                                    <p:animEffect transition="in" filter="fade">
                                      <p:cBhvr>
                                        <p:cTn id="108" dur="500"/>
                                        <p:tgtEl>
                                          <p:spTgt spid="248">
                                            <p:txEl>
                                              <p:pRg st="1" end="1"/>
                                            </p:txEl>
                                          </p:spTgt>
                                        </p:tgtEl>
                                      </p:cBhvr>
                                    </p:animEffect>
                                  </p:childTnLst>
                                </p:cTn>
                              </p:par>
                            </p:childTnLst>
                          </p:cTn>
                        </p:par>
                      </p:childTnLst>
                    </p:cTn>
                  </p:par>
                  <p:par>
                    <p:cTn id="109" fill="hold">
                      <p:stCondLst>
                        <p:cond delay="indefinite"/>
                      </p:stCondLst>
                      <p:childTnLst>
                        <p:par>
                          <p:cTn id="110" fill="hold">
                            <p:stCondLst>
                              <p:cond delay="0"/>
                            </p:stCondLst>
                            <p:childTnLst>
                              <p:par>
                                <p:cTn id="111" presetID="22" presetClass="entr" presetSubtype="8" fill="hold" nodeType="clickEffect">
                                  <p:stCondLst>
                                    <p:cond delay="0"/>
                                  </p:stCondLst>
                                  <p:childTnLst>
                                    <p:set>
                                      <p:cBhvr>
                                        <p:cTn id="112" dur="1" fill="hold">
                                          <p:stCondLst>
                                            <p:cond delay="0"/>
                                          </p:stCondLst>
                                        </p:cTn>
                                        <p:tgtEl>
                                          <p:spTgt spid="183"/>
                                        </p:tgtEl>
                                        <p:attrNameLst>
                                          <p:attrName>style.visibility</p:attrName>
                                        </p:attrNameLst>
                                      </p:cBhvr>
                                      <p:to>
                                        <p:strVal val="visible"/>
                                      </p:to>
                                    </p:set>
                                    <p:animEffect transition="in" filter="wipe(left)">
                                      <p:cBhvr>
                                        <p:cTn id="113" dur="500"/>
                                        <p:tgtEl>
                                          <p:spTgt spid="183"/>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75"/>
                                        </p:tgtEl>
                                        <p:attrNameLst>
                                          <p:attrName>style.visibility</p:attrName>
                                        </p:attrNameLst>
                                      </p:cBhvr>
                                      <p:to>
                                        <p:strVal val="visible"/>
                                      </p:to>
                                    </p:set>
                                    <p:animEffect transition="in" filter="fade">
                                      <p:cBhvr>
                                        <p:cTn id="118" dur="500"/>
                                        <p:tgtEl>
                                          <p:spTgt spid="175"/>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176"/>
                                        </p:tgtEl>
                                        <p:attrNameLst>
                                          <p:attrName>style.visibility</p:attrName>
                                        </p:attrNameLst>
                                      </p:cBhvr>
                                      <p:to>
                                        <p:strVal val="visible"/>
                                      </p:to>
                                    </p:set>
                                    <p:animEffect transition="in" filter="fade">
                                      <p:cBhvr>
                                        <p:cTn id="121" dur="500"/>
                                        <p:tgtEl>
                                          <p:spTgt spid="176"/>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177"/>
                                        </p:tgtEl>
                                        <p:attrNameLst>
                                          <p:attrName>style.visibility</p:attrName>
                                        </p:attrNameLst>
                                      </p:cBhvr>
                                      <p:to>
                                        <p:strVal val="visible"/>
                                      </p:to>
                                    </p:set>
                                    <p:animEffect transition="in" filter="fade">
                                      <p:cBhvr>
                                        <p:cTn id="124" dur="500"/>
                                        <p:tgtEl>
                                          <p:spTgt spid="177"/>
                                        </p:tgtEl>
                                      </p:cBhvr>
                                    </p:animEffect>
                                  </p:childTnLst>
                                </p:cTn>
                              </p:par>
                            </p:childTnLst>
                          </p:cTn>
                        </p:par>
                      </p:childTnLst>
                    </p:cTn>
                  </p:par>
                  <p:par>
                    <p:cTn id="125" fill="hold">
                      <p:stCondLst>
                        <p:cond delay="indefinite"/>
                      </p:stCondLst>
                      <p:childTnLst>
                        <p:par>
                          <p:cTn id="126" fill="hold">
                            <p:stCondLst>
                              <p:cond delay="0"/>
                            </p:stCondLst>
                            <p:childTnLst>
                              <p:par>
                                <p:cTn id="127" presetID="22" presetClass="entr" presetSubtype="2" fill="hold" nodeType="clickEffect">
                                  <p:stCondLst>
                                    <p:cond delay="0"/>
                                  </p:stCondLst>
                                  <p:childTnLst>
                                    <p:set>
                                      <p:cBhvr>
                                        <p:cTn id="128" dur="1" fill="hold">
                                          <p:stCondLst>
                                            <p:cond delay="0"/>
                                          </p:stCondLst>
                                        </p:cTn>
                                        <p:tgtEl>
                                          <p:spTgt spid="178"/>
                                        </p:tgtEl>
                                        <p:attrNameLst>
                                          <p:attrName>style.visibility</p:attrName>
                                        </p:attrNameLst>
                                      </p:cBhvr>
                                      <p:to>
                                        <p:strVal val="visible"/>
                                      </p:to>
                                    </p:set>
                                    <p:animEffect transition="in" filter="wipe(right)">
                                      <p:cBhvr>
                                        <p:cTn id="129" dur="500"/>
                                        <p:tgtEl>
                                          <p:spTgt spid="178"/>
                                        </p:tgtEl>
                                      </p:cBhvr>
                                    </p:animEffect>
                                  </p:childTnLst>
                                </p:cTn>
                              </p:par>
                            </p:childTnLst>
                          </p:cTn>
                        </p:par>
                      </p:childTnLst>
                    </p:cTn>
                  </p:par>
                  <p:par>
                    <p:cTn id="130" fill="hold">
                      <p:stCondLst>
                        <p:cond delay="indefinite"/>
                      </p:stCondLst>
                      <p:childTnLst>
                        <p:par>
                          <p:cTn id="131" fill="hold">
                            <p:stCondLst>
                              <p:cond delay="0"/>
                            </p:stCondLst>
                            <p:childTnLst>
                              <p:par>
                                <p:cTn id="132" presetID="10" presetClass="exit" presetSubtype="0" fill="hold" grpId="0" nodeType="clickEffect">
                                  <p:stCondLst>
                                    <p:cond delay="0"/>
                                  </p:stCondLst>
                                  <p:childTnLst>
                                    <p:animEffect transition="out" filter="fade">
                                      <p:cBhvr>
                                        <p:cTn id="133" dur="500"/>
                                        <p:tgtEl>
                                          <p:spTgt spid="248">
                                            <p:txEl>
                                              <p:pRg st="0" end="0"/>
                                            </p:txEl>
                                          </p:spTgt>
                                        </p:tgtEl>
                                      </p:cBhvr>
                                    </p:animEffect>
                                    <p:set>
                                      <p:cBhvr>
                                        <p:cTn id="134" dur="1" fill="hold">
                                          <p:stCondLst>
                                            <p:cond delay="499"/>
                                          </p:stCondLst>
                                        </p:cTn>
                                        <p:tgtEl>
                                          <p:spTgt spid="248">
                                            <p:txEl>
                                              <p:pRg st="0" end="0"/>
                                            </p:txEl>
                                          </p:spTgt>
                                        </p:tgtEl>
                                        <p:attrNameLst>
                                          <p:attrName>style.visibility</p:attrName>
                                        </p:attrNameLst>
                                      </p:cBhvr>
                                      <p:to>
                                        <p:strVal val="hidden"/>
                                      </p:to>
                                    </p:set>
                                  </p:childTnLst>
                                </p:cTn>
                              </p:par>
                              <p:par>
                                <p:cTn id="135" presetID="10" presetClass="exit" presetSubtype="0" fill="hold" grpId="0" nodeType="withEffect">
                                  <p:stCondLst>
                                    <p:cond delay="0"/>
                                  </p:stCondLst>
                                  <p:childTnLst>
                                    <p:animEffect transition="out" filter="fade">
                                      <p:cBhvr>
                                        <p:cTn id="136" dur="500"/>
                                        <p:tgtEl>
                                          <p:spTgt spid="248">
                                            <p:txEl>
                                              <p:pRg st="1" end="1"/>
                                            </p:txEl>
                                          </p:spTgt>
                                        </p:tgtEl>
                                      </p:cBhvr>
                                    </p:animEffect>
                                    <p:set>
                                      <p:cBhvr>
                                        <p:cTn id="137" dur="1" fill="hold">
                                          <p:stCondLst>
                                            <p:cond delay="499"/>
                                          </p:stCondLst>
                                        </p:cTn>
                                        <p:tgtEl>
                                          <p:spTgt spid="248">
                                            <p:txEl>
                                              <p:pRg st="1" end="1"/>
                                            </p:txEl>
                                          </p:spTgt>
                                        </p:tgtEl>
                                        <p:attrNameLst>
                                          <p:attrName>style.visibility</p:attrName>
                                        </p:attrNameLst>
                                      </p:cBhvr>
                                      <p:to>
                                        <p:strVal val="hidden"/>
                                      </p:to>
                                    </p:set>
                                  </p:childTnLst>
                                </p:cTn>
                              </p:par>
                            </p:childTnLst>
                          </p:cTn>
                        </p:par>
                      </p:childTnLst>
                    </p:cTn>
                  </p:par>
                  <p:par>
                    <p:cTn id="138" fill="hold">
                      <p:stCondLst>
                        <p:cond delay="indefinite"/>
                      </p:stCondLst>
                      <p:childTnLst>
                        <p:par>
                          <p:cTn id="139" fill="hold">
                            <p:stCondLst>
                              <p:cond delay="0"/>
                            </p:stCondLst>
                            <p:childTnLst>
                              <p:par>
                                <p:cTn id="140" presetID="10" presetClass="entr" presetSubtype="0" fill="hold" grpId="0" nodeType="clickEffect">
                                  <p:stCondLst>
                                    <p:cond delay="0"/>
                                  </p:stCondLst>
                                  <p:childTnLst>
                                    <p:set>
                                      <p:cBhvr>
                                        <p:cTn id="141" dur="1" fill="hold">
                                          <p:stCondLst>
                                            <p:cond delay="0"/>
                                          </p:stCondLst>
                                        </p:cTn>
                                        <p:tgtEl>
                                          <p:spTgt spid="160"/>
                                        </p:tgtEl>
                                        <p:attrNameLst>
                                          <p:attrName>style.visibility</p:attrName>
                                        </p:attrNameLst>
                                      </p:cBhvr>
                                      <p:to>
                                        <p:strVal val="visible"/>
                                      </p:to>
                                    </p:set>
                                    <p:animEffect transition="in" filter="fade">
                                      <p:cBhvr>
                                        <p:cTn id="142" dur="500"/>
                                        <p:tgtEl>
                                          <p:spTgt spid="160"/>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61"/>
                                        </p:tgtEl>
                                        <p:attrNameLst>
                                          <p:attrName>style.visibility</p:attrName>
                                        </p:attrNameLst>
                                      </p:cBhvr>
                                      <p:to>
                                        <p:strVal val="visible"/>
                                      </p:to>
                                    </p:set>
                                    <p:animEffect transition="in" filter="fade">
                                      <p:cBhvr>
                                        <p:cTn id="145" dur="500"/>
                                        <p:tgtEl>
                                          <p:spTgt spid="161"/>
                                        </p:tgtEl>
                                      </p:cBhvr>
                                    </p:animEffect>
                                  </p:childTnLst>
                                </p:cTn>
                              </p:par>
                            </p:childTnLst>
                          </p:cTn>
                        </p:par>
                      </p:childTnLst>
                    </p:cTn>
                  </p:par>
                  <p:par>
                    <p:cTn id="146" fill="hold">
                      <p:stCondLst>
                        <p:cond delay="indefinite"/>
                      </p:stCondLst>
                      <p:childTnLst>
                        <p:par>
                          <p:cTn id="147" fill="hold">
                            <p:stCondLst>
                              <p:cond delay="0"/>
                            </p:stCondLst>
                            <p:childTnLst>
                              <p:par>
                                <p:cTn id="148" presetID="10" presetClass="entr" presetSubtype="0" fill="hold" nodeType="clickEffect">
                                  <p:stCondLst>
                                    <p:cond delay="0"/>
                                  </p:stCondLst>
                                  <p:childTnLst>
                                    <p:set>
                                      <p:cBhvr>
                                        <p:cTn id="149" dur="1" fill="hold">
                                          <p:stCondLst>
                                            <p:cond delay="0"/>
                                          </p:stCondLst>
                                        </p:cTn>
                                        <p:tgtEl>
                                          <p:spTgt spid="187"/>
                                        </p:tgtEl>
                                        <p:attrNameLst>
                                          <p:attrName>style.visibility</p:attrName>
                                        </p:attrNameLst>
                                      </p:cBhvr>
                                      <p:to>
                                        <p:strVal val="visible"/>
                                      </p:to>
                                    </p:set>
                                    <p:animEffect transition="in" filter="fade">
                                      <p:cBhvr>
                                        <p:cTn id="150" dur="500"/>
                                        <p:tgtEl>
                                          <p:spTgt spid="187"/>
                                        </p:tgtEl>
                                      </p:cBhvr>
                                    </p:animEffect>
                                  </p:childTnLst>
                                </p:cTn>
                              </p:par>
                            </p:childTnLst>
                          </p:cTn>
                        </p:par>
                        <p:par>
                          <p:cTn id="151" fill="hold">
                            <p:stCondLst>
                              <p:cond delay="500"/>
                            </p:stCondLst>
                            <p:childTnLst>
                              <p:par>
                                <p:cTn id="152" presetID="10" presetClass="entr" presetSubtype="0" fill="hold" nodeType="afterEffect">
                                  <p:stCondLst>
                                    <p:cond delay="0"/>
                                  </p:stCondLst>
                                  <p:childTnLst>
                                    <p:set>
                                      <p:cBhvr>
                                        <p:cTn id="153" dur="1" fill="hold">
                                          <p:stCondLst>
                                            <p:cond delay="0"/>
                                          </p:stCondLst>
                                        </p:cTn>
                                        <p:tgtEl>
                                          <p:spTgt spid="249">
                                            <p:txEl>
                                              <p:pRg st="0" end="0"/>
                                            </p:txEl>
                                          </p:spTgt>
                                        </p:tgtEl>
                                        <p:attrNameLst>
                                          <p:attrName>style.visibility</p:attrName>
                                        </p:attrNameLst>
                                      </p:cBhvr>
                                      <p:to>
                                        <p:strVal val="visible"/>
                                      </p:to>
                                    </p:set>
                                    <p:animEffect transition="in" filter="fade">
                                      <p:cBhvr>
                                        <p:cTn id="154" dur="500"/>
                                        <p:tgtEl>
                                          <p:spTgt spid="249">
                                            <p:txEl>
                                              <p:pRg st="0" end="0"/>
                                            </p:txEl>
                                          </p:spTgt>
                                        </p:tgtEl>
                                      </p:cBhvr>
                                    </p:animEffect>
                                  </p:childTnLst>
                                </p:cTn>
                              </p:par>
                            </p:childTnLst>
                          </p:cTn>
                        </p:par>
                      </p:childTnLst>
                    </p:cTn>
                  </p:par>
                  <p:par>
                    <p:cTn id="155" fill="hold">
                      <p:stCondLst>
                        <p:cond delay="indefinite"/>
                      </p:stCondLst>
                      <p:childTnLst>
                        <p:par>
                          <p:cTn id="156" fill="hold">
                            <p:stCondLst>
                              <p:cond delay="0"/>
                            </p:stCondLst>
                            <p:childTnLst>
                              <p:par>
                                <p:cTn id="157" presetID="22" presetClass="entr" presetSubtype="1" fill="hold" nodeType="clickEffect">
                                  <p:stCondLst>
                                    <p:cond delay="0"/>
                                  </p:stCondLst>
                                  <p:childTnLst>
                                    <p:set>
                                      <p:cBhvr>
                                        <p:cTn id="158" dur="1" fill="hold">
                                          <p:stCondLst>
                                            <p:cond delay="0"/>
                                          </p:stCondLst>
                                        </p:cTn>
                                        <p:tgtEl>
                                          <p:spTgt spid="216"/>
                                        </p:tgtEl>
                                        <p:attrNameLst>
                                          <p:attrName>style.visibility</p:attrName>
                                        </p:attrNameLst>
                                      </p:cBhvr>
                                      <p:to>
                                        <p:strVal val="visible"/>
                                      </p:to>
                                    </p:set>
                                    <p:animEffect transition="in" filter="wipe(up)">
                                      <p:cBhvr>
                                        <p:cTn id="159" dur="500"/>
                                        <p:tgtEl>
                                          <p:spTgt spid="216"/>
                                        </p:tgtEl>
                                      </p:cBhvr>
                                    </p:animEffect>
                                  </p:childTnLst>
                                </p:cTn>
                              </p:par>
                            </p:childTnLst>
                          </p:cTn>
                        </p:par>
                      </p:childTnLst>
                    </p:cTn>
                  </p:par>
                  <p:par>
                    <p:cTn id="160" fill="hold">
                      <p:stCondLst>
                        <p:cond delay="indefinite"/>
                      </p:stCondLst>
                      <p:childTnLst>
                        <p:par>
                          <p:cTn id="161" fill="hold">
                            <p:stCondLst>
                              <p:cond delay="0"/>
                            </p:stCondLst>
                            <p:childTnLst>
                              <p:par>
                                <p:cTn id="162" presetID="22" presetClass="entr" presetSubtype="8" fill="hold" grpId="0" nodeType="clickEffect">
                                  <p:stCondLst>
                                    <p:cond delay="0"/>
                                  </p:stCondLst>
                                  <p:childTnLst>
                                    <p:set>
                                      <p:cBhvr>
                                        <p:cTn id="163" dur="1" fill="hold">
                                          <p:stCondLst>
                                            <p:cond delay="0"/>
                                          </p:stCondLst>
                                        </p:cTn>
                                        <p:tgtEl>
                                          <p:spTgt spid="199"/>
                                        </p:tgtEl>
                                        <p:attrNameLst>
                                          <p:attrName>style.visibility</p:attrName>
                                        </p:attrNameLst>
                                      </p:cBhvr>
                                      <p:to>
                                        <p:strVal val="visible"/>
                                      </p:to>
                                    </p:set>
                                    <p:animEffect transition="in" filter="wipe(left)">
                                      <p:cBhvr>
                                        <p:cTn id="164" dur="500"/>
                                        <p:tgtEl>
                                          <p:spTgt spid="199"/>
                                        </p:tgtEl>
                                      </p:cBhvr>
                                    </p:animEffect>
                                  </p:childTnLst>
                                </p:cTn>
                              </p:par>
                              <p:par>
                                <p:cTn id="165" presetID="22" presetClass="entr" presetSubtype="8" fill="hold" grpId="0" nodeType="withEffect">
                                  <p:stCondLst>
                                    <p:cond delay="0"/>
                                  </p:stCondLst>
                                  <p:childTnLst>
                                    <p:set>
                                      <p:cBhvr>
                                        <p:cTn id="166" dur="1" fill="hold">
                                          <p:stCondLst>
                                            <p:cond delay="0"/>
                                          </p:stCondLst>
                                        </p:cTn>
                                        <p:tgtEl>
                                          <p:spTgt spid="162"/>
                                        </p:tgtEl>
                                        <p:attrNameLst>
                                          <p:attrName>style.visibility</p:attrName>
                                        </p:attrNameLst>
                                      </p:cBhvr>
                                      <p:to>
                                        <p:strVal val="visible"/>
                                      </p:to>
                                    </p:set>
                                    <p:animEffect transition="in" filter="wipe(left)">
                                      <p:cBhvr>
                                        <p:cTn id="167" dur="500"/>
                                        <p:tgtEl>
                                          <p:spTgt spid="162"/>
                                        </p:tgtEl>
                                      </p:cBhvr>
                                    </p:animEffect>
                                  </p:childTnLst>
                                </p:cTn>
                              </p:par>
                            </p:childTnLst>
                          </p:cTn>
                        </p:par>
                      </p:childTnLst>
                    </p:cTn>
                  </p:par>
                  <p:par>
                    <p:cTn id="168" fill="hold">
                      <p:stCondLst>
                        <p:cond delay="indefinite"/>
                      </p:stCondLst>
                      <p:childTnLst>
                        <p:par>
                          <p:cTn id="169" fill="hold">
                            <p:stCondLst>
                              <p:cond delay="0"/>
                            </p:stCondLst>
                            <p:childTnLst>
                              <p:par>
                                <p:cTn id="170" presetID="22" presetClass="entr" presetSubtype="1" fill="hold" nodeType="clickEffect">
                                  <p:stCondLst>
                                    <p:cond delay="0"/>
                                  </p:stCondLst>
                                  <p:childTnLst>
                                    <p:set>
                                      <p:cBhvr>
                                        <p:cTn id="171" dur="1" fill="hold">
                                          <p:stCondLst>
                                            <p:cond delay="0"/>
                                          </p:stCondLst>
                                        </p:cTn>
                                        <p:tgtEl>
                                          <p:spTgt spid="201"/>
                                        </p:tgtEl>
                                        <p:attrNameLst>
                                          <p:attrName>style.visibility</p:attrName>
                                        </p:attrNameLst>
                                      </p:cBhvr>
                                      <p:to>
                                        <p:strVal val="visible"/>
                                      </p:to>
                                    </p:set>
                                    <p:animEffect transition="in" filter="wipe(up)">
                                      <p:cBhvr>
                                        <p:cTn id="172" dur="500"/>
                                        <p:tgtEl>
                                          <p:spTgt spid="201"/>
                                        </p:tgtEl>
                                      </p:cBhvr>
                                    </p:animEffect>
                                  </p:childTnLst>
                                </p:cTn>
                              </p:par>
                            </p:childTnLst>
                          </p:cTn>
                        </p:par>
                        <p:par>
                          <p:cTn id="173" fill="hold">
                            <p:stCondLst>
                              <p:cond delay="500"/>
                            </p:stCondLst>
                            <p:childTnLst>
                              <p:par>
                                <p:cTn id="174" presetID="10" presetClass="entr" presetSubtype="0" fill="hold" nodeType="afterEffect">
                                  <p:stCondLst>
                                    <p:cond delay="0"/>
                                  </p:stCondLst>
                                  <p:childTnLst>
                                    <p:set>
                                      <p:cBhvr>
                                        <p:cTn id="175" dur="1" fill="hold">
                                          <p:stCondLst>
                                            <p:cond delay="0"/>
                                          </p:stCondLst>
                                        </p:cTn>
                                        <p:tgtEl>
                                          <p:spTgt spid="249">
                                            <p:txEl>
                                              <p:pRg st="1" end="1"/>
                                            </p:txEl>
                                          </p:spTgt>
                                        </p:tgtEl>
                                        <p:attrNameLst>
                                          <p:attrName>style.visibility</p:attrName>
                                        </p:attrNameLst>
                                      </p:cBhvr>
                                      <p:to>
                                        <p:strVal val="visible"/>
                                      </p:to>
                                    </p:set>
                                    <p:animEffect transition="in" filter="fade">
                                      <p:cBhvr>
                                        <p:cTn id="176" dur="500"/>
                                        <p:tgtEl>
                                          <p:spTgt spid="249">
                                            <p:txEl>
                                              <p:pRg st="1" end="1"/>
                                            </p:txEl>
                                          </p:spTgt>
                                        </p:tgtEl>
                                      </p:cBhvr>
                                    </p:animEffect>
                                  </p:childTnLst>
                                </p:cTn>
                              </p:par>
                            </p:childTnLst>
                          </p:cTn>
                        </p:par>
                      </p:childTnLst>
                    </p:cTn>
                  </p:par>
                  <p:par>
                    <p:cTn id="177" fill="hold">
                      <p:stCondLst>
                        <p:cond delay="indefinite"/>
                      </p:stCondLst>
                      <p:childTnLst>
                        <p:par>
                          <p:cTn id="178" fill="hold">
                            <p:stCondLst>
                              <p:cond delay="0"/>
                            </p:stCondLst>
                            <p:childTnLst>
                              <p:par>
                                <p:cTn id="179" presetID="10" presetClass="entr" presetSubtype="0" fill="hold" grpId="0" nodeType="clickEffect">
                                  <p:stCondLst>
                                    <p:cond delay="0"/>
                                  </p:stCondLst>
                                  <p:childTnLst>
                                    <p:set>
                                      <p:cBhvr>
                                        <p:cTn id="180" dur="1" fill="hold">
                                          <p:stCondLst>
                                            <p:cond delay="0"/>
                                          </p:stCondLst>
                                        </p:cTn>
                                        <p:tgtEl>
                                          <p:spTgt spid="251"/>
                                        </p:tgtEl>
                                        <p:attrNameLst>
                                          <p:attrName>style.visibility</p:attrName>
                                        </p:attrNameLst>
                                      </p:cBhvr>
                                      <p:to>
                                        <p:strVal val="visible"/>
                                      </p:to>
                                    </p:set>
                                    <p:animEffect transition="in" filter="fade">
                                      <p:cBhvr>
                                        <p:cTn id="181" dur="500"/>
                                        <p:tgtEl>
                                          <p:spTgt spid="251"/>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252"/>
                                        </p:tgtEl>
                                        <p:attrNameLst>
                                          <p:attrName>style.visibility</p:attrName>
                                        </p:attrNameLst>
                                      </p:cBhvr>
                                      <p:to>
                                        <p:strVal val="visible"/>
                                      </p:to>
                                    </p:set>
                                    <p:animEffect transition="in" filter="fade">
                                      <p:cBhvr>
                                        <p:cTn id="184" dur="500"/>
                                        <p:tgtEl>
                                          <p:spTgt spid="252"/>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253"/>
                                        </p:tgtEl>
                                        <p:attrNameLst>
                                          <p:attrName>style.visibility</p:attrName>
                                        </p:attrNameLst>
                                      </p:cBhvr>
                                      <p:to>
                                        <p:strVal val="visible"/>
                                      </p:to>
                                    </p:set>
                                    <p:animEffect transition="in" filter="fade">
                                      <p:cBhvr>
                                        <p:cTn id="187" dur="500"/>
                                        <p:tgtEl>
                                          <p:spTgt spid="253"/>
                                        </p:tgtEl>
                                      </p:cBhvr>
                                    </p:animEffect>
                                  </p:childTnLst>
                                </p:cTn>
                              </p:par>
                            </p:childTnLst>
                          </p:cTn>
                        </p:par>
                      </p:childTnLst>
                    </p:cTn>
                  </p:par>
                  <p:par>
                    <p:cTn id="188" fill="hold">
                      <p:stCondLst>
                        <p:cond delay="indefinite"/>
                      </p:stCondLst>
                      <p:childTnLst>
                        <p:par>
                          <p:cTn id="189" fill="hold">
                            <p:stCondLst>
                              <p:cond delay="0"/>
                            </p:stCondLst>
                            <p:childTnLst>
                              <p:par>
                                <p:cTn id="190" presetID="10" presetClass="exit" presetSubtype="0" fill="hold" grpId="0" nodeType="clickEffect">
                                  <p:stCondLst>
                                    <p:cond delay="0"/>
                                  </p:stCondLst>
                                  <p:childTnLst>
                                    <p:animEffect transition="out" filter="fade">
                                      <p:cBhvr>
                                        <p:cTn id="191" dur="500"/>
                                        <p:tgtEl>
                                          <p:spTgt spid="249">
                                            <p:txEl>
                                              <p:pRg st="0" end="0"/>
                                            </p:txEl>
                                          </p:spTgt>
                                        </p:tgtEl>
                                      </p:cBhvr>
                                    </p:animEffect>
                                    <p:set>
                                      <p:cBhvr>
                                        <p:cTn id="192" dur="1" fill="hold">
                                          <p:stCondLst>
                                            <p:cond delay="499"/>
                                          </p:stCondLst>
                                        </p:cTn>
                                        <p:tgtEl>
                                          <p:spTgt spid="249">
                                            <p:txEl>
                                              <p:pRg st="0" end="0"/>
                                            </p:txEl>
                                          </p:spTgt>
                                        </p:tgtEl>
                                        <p:attrNameLst>
                                          <p:attrName>style.visibility</p:attrName>
                                        </p:attrNameLst>
                                      </p:cBhvr>
                                      <p:to>
                                        <p:strVal val="hidden"/>
                                      </p:to>
                                    </p:set>
                                  </p:childTnLst>
                                </p:cTn>
                              </p:par>
                              <p:par>
                                <p:cTn id="193" presetID="10" presetClass="exit" presetSubtype="0" fill="hold" grpId="0" nodeType="withEffect">
                                  <p:stCondLst>
                                    <p:cond delay="0"/>
                                  </p:stCondLst>
                                  <p:childTnLst>
                                    <p:animEffect transition="out" filter="fade">
                                      <p:cBhvr>
                                        <p:cTn id="194" dur="500"/>
                                        <p:tgtEl>
                                          <p:spTgt spid="249">
                                            <p:txEl>
                                              <p:pRg st="1" end="1"/>
                                            </p:txEl>
                                          </p:spTgt>
                                        </p:tgtEl>
                                      </p:cBhvr>
                                    </p:animEffect>
                                    <p:set>
                                      <p:cBhvr>
                                        <p:cTn id="195" dur="1" fill="hold">
                                          <p:stCondLst>
                                            <p:cond delay="499"/>
                                          </p:stCondLst>
                                        </p:cTn>
                                        <p:tgtEl>
                                          <p:spTgt spid="249">
                                            <p:txEl>
                                              <p:pRg st="1" end="1"/>
                                            </p:txEl>
                                          </p:spTgt>
                                        </p:tgtEl>
                                        <p:attrNameLst>
                                          <p:attrName>style.visibility</p:attrName>
                                        </p:attrNameLst>
                                      </p:cBhvr>
                                      <p:to>
                                        <p:strVal val="hidden"/>
                                      </p:to>
                                    </p:set>
                                  </p:childTnLst>
                                </p:cTn>
                              </p:par>
                            </p:childTnLst>
                          </p:cTn>
                        </p:par>
                      </p:childTnLst>
                    </p:cTn>
                  </p:par>
                  <p:par>
                    <p:cTn id="196" fill="hold">
                      <p:stCondLst>
                        <p:cond delay="indefinite"/>
                      </p:stCondLst>
                      <p:childTnLst>
                        <p:par>
                          <p:cTn id="197" fill="hold">
                            <p:stCondLst>
                              <p:cond delay="0"/>
                            </p:stCondLst>
                            <p:childTnLst>
                              <p:par>
                                <p:cTn id="198" presetID="22" presetClass="entr" presetSubtype="4" fill="hold" grpId="0" nodeType="clickEffect">
                                  <p:stCondLst>
                                    <p:cond delay="0"/>
                                  </p:stCondLst>
                                  <p:childTnLst>
                                    <p:set>
                                      <p:cBhvr>
                                        <p:cTn id="199" dur="1" fill="hold">
                                          <p:stCondLst>
                                            <p:cond delay="0"/>
                                          </p:stCondLst>
                                        </p:cTn>
                                        <p:tgtEl>
                                          <p:spTgt spid="165"/>
                                        </p:tgtEl>
                                        <p:attrNameLst>
                                          <p:attrName>style.visibility</p:attrName>
                                        </p:attrNameLst>
                                      </p:cBhvr>
                                      <p:to>
                                        <p:strVal val="visible"/>
                                      </p:to>
                                    </p:set>
                                    <p:animEffect transition="in" filter="wipe(down)">
                                      <p:cBhvr>
                                        <p:cTn id="200" dur="500"/>
                                        <p:tgtEl>
                                          <p:spTgt spid="165"/>
                                        </p:tgtEl>
                                      </p:cBhvr>
                                    </p:animEffect>
                                  </p:childTnLst>
                                </p:cTn>
                              </p:par>
                              <p:par>
                                <p:cTn id="201" presetID="22" presetClass="entr" presetSubtype="4" fill="hold" grpId="0" nodeType="withEffect">
                                  <p:stCondLst>
                                    <p:cond delay="0"/>
                                  </p:stCondLst>
                                  <p:childTnLst>
                                    <p:set>
                                      <p:cBhvr>
                                        <p:cTn id="202" dur="1" fill="hold">
                                          <p:stCondLst>
                                            <p:cond delay="0"/>
                                          </p:stCondLst>
                                        </p:cTn>
                                        <p:tgtEl>
                                          <p:spTgt spid="168"/>
                                        </p:tgtEl>
                                        <p:attrNameLst>
                                          <p:attrName>style.visibility</p:attrName>
                                        </p:attrNameLst>
                                      </p:cBhvr>
                                      <p:to>
                                        <p:strVal val="visible"/>
                                      </p:to>
                                    </p:set>
                                    <p:animEffect transition="in" filter="wipe(down)">
                                      <p:cBhvr>
                                        <p:cTn id="203" dur="500"/>
                                        <p:tgtEl>
                                          <p:spTgt spid="168"/>
                                        </p:tgtEl>
                                      </p:cBhvr>
                                    </p:animEffect>
                                  </p:childTnLst>
                                </p:cTn>
                              </p:par>
                              <p:par>
                                <p:cTn id="204" presetID="22" presetClass="entr" presetSubtype="4" fill="hold" grpId="0" nodeType="withEffect">
                                  <p:stCondLst>
                                    <p:cond delay="0"/>
                                  </p:stCondLst>
                                  <p:childTnLst>
                                    <p:set>
                                      <p:cBhvr>
                                        <p:cTn id="205" dur="1" fill="hold">
                                          <p:stCondLst>
                                            <p:cond delay="0"/>
                                          </p:stCondLst>
                                        </p:cTn>
                                        <p:tgtEl>
                                          <p:spTgt spid="171"/>
                                        </p:tgtEl>
                                        <p:attrNameLst>
                                          <p:attrName>style.visibility</p:attrName>
                                        </p:attrNameLst>
                                      </p:cBhvr>
                                      <p:to>
                                        <p:strVal val="visible"/>
                                      </p:to>
                                    </p:set>
                                    <p:animEffect transition="in" filter="wipe(down)">
                                      <p:cBhvr>
                                        <p:cTn id="206" dur="500"/>
                                        <p:tgtEl>
                                          <p:spTgt spid="171"/>
                                        </p:tgtEl>
                                      </p:cBhvr>
                                    </p:animEffect>
                                  </p:childTnLst>
                                </p:cTn>
                              </p:par>
                            </p:childTnLst>
                          </p:cTn>
                        </p:par>
                      </p:childTnLst>
                    </p:cTn>
                  </p:par>
                  <p:par>
                    <p:cTn id="207" fill="hold">
                      <p:stCondLst>
                        <p:cond delay="indefinite"/>
                      </p:stCondLst>
                      <p:childTnLst>
                        <p:par>
                          <p:cTn id="208" fill="hold">
                            <p:stCondLst>
                              <p:cond delay="0"/>
                            </p:stCondLst>
                            <p:childTnLst>
                              <p:par>
                                <p:cTn id="209" presetID="22" presetClass="entr" presetSubtype="4" fill="hold" grpId="0" nodeType="clickEffect">
                                  <p:stCondLst>
                                    <p:cond delay="0"/>
                                  </p:stCondLst>
                                  <p:childTnLst>
                                    <p:set>
                                      <p:cBhvr>
                                        <p:cTn id="210" dur="1" fill="hold">
                                          <p:stCondLst>
                                            <p:cond delay="0"/>
                                          </p:stCondLst>
                                        </p:cTn>
                                        <p:tgtEl>
                                          <p:spTgt spid="164"/>
                                        </p:tgtEl>
                                        <p:attrNameLst>
                                          <p:attrName>style.visibility</p:attrName>
                                        </p:attrNameLst>
                                      </p:cBhvr>
                                      <p:to>
                                        <p:strVal val="visible"/>
                                      </p:to>
                                    </p:set>
                                    <p:animEffect transition="in" filter="wipe(down)">
                                      <p:cBhvr>
                                        <p:cTn id="211" dur="500"/>
                                        <p:tgtEl>
                                          <p:spTgt spid="164"/>
                                        </p:tgtEl>
                                      </p:cBhvr>
                                    </p:animEffect>
                                  </p:childTnLst>
                                </p:cTn>
                              </p:par>
                              <p:par>
                                <p:cTn id="212" presetID="22" presetClass="entr" presetSubtype="4" fill="hold" grpId="0" nodeType="withEffect">
                                  <p:stCondLst>
                                    <p:cond delay="0"/>
                                  </p:stCondLst>
                                  <p:childTnLst>
                                    <p:set>
                                      <p:cBhvr>
                                        <p:cTn id="213" dur="1" fill="hold">
                                          <p:stCondLst>
                                            <p:cond delay="0"/>
                                          </p:stCondLst>
                                        </p:cTn>
                                        <p:tgtEl>
                                          <p:spTgt spid="167"/>
                                        </p:tgtEl>
                                        <p:attrNameLst>
                                          <p:attrName>style.visibility</p:attrName>
                                        </p:attrNameLst>
                                      </p:cBhvr>
                                      <p:to>
                                        <p:strVal val="visible"/>
                                      </p:to>
                                    </p:set>
                                    <p:animEffect transition="in" filter="wipe(down)">
                                      <p:cBhvr>
                                        <p:cTn id="214" dur="500"/>
                                        <p:tgtEl>
                                          <p:spTgt spid="167"/>
                                        </p:tgtEl>
                                      </p:cBhvr>
                                    </p:animEffect>
                                  </p:childTnLst>
                                </p:cTn>
                              </p:par>
                              <p:par>
                                <p:cTn id="215" presetID="22" presetClass="entr" presetSubtype="4" fill="hold" grpId="0" nodeType="withEffect">
                                  <p:stCondLst>
                                    <p:cond delay="0"/>
                                  </p:stCondLst>
                                  <p:childTnLst>
                                    <p:set>
                                      <p:cBhvr>
                                        <p:cTn id="216" dur="1" fill="hold">
                                          <p:stCondLst>
                                            <p:cond delay="0"/>
                                          </p:stCondLst>
                                        </p:cTn>
                                        <p:tgtEl>
                                          <p:spTgt spid="170"/>
                                        </p:tgtEl>
                                        <p:attrNameLst>
                                          <p:attrName>style.visibility</p:attrName>
                                        </p:attrNameLst>
                                      </p:cBhvr>
                                      <p:to>
                                        <p:strVal val="visible"/>
                                      </p:to>
                                    </p:set>
                                    <p:animEffect transition="in" filter="wipe(down)">
                                      <p:cBhvr>
                                        <p:cTn id="217" dur="500"/>
                                        <p:tgtEl>
                                          <p:spTgt spid="170"/>
                                        </p:tgtEl>
                                      </p:cBhvr>
                                    </p:animEffect>
                                  </p:childTnLst>
                                </p:cTn>
                              </p:par>
                            </p:childTnLst>
                          </p:cTn>
                        </p:par>
                      </p:childTnLst>
                    </p:cTn>
                  </p:par>
                  <p:par>
                    <p:cTn id="218" fill="hold">
                      <p:stCondLst>
                        <p:cond delay="indefinite"/>
                      </p:stCondLst>
                      <p:childTnLst>
                        <p:par>
                          <p:cTn id="219" fill="hold">
                            <p:stCondLst>
                              <p:cond delay="0"/>
                            </p:stCondLst>
                            <p:childTnLst>
                              <p:par>
                                <p:cTn id="220" presetID="22" presetClass="entr" presetSubtype="4" fill="hold" grpId="0" nodeType="clickEffect">
                                  <p:stCondLst>
                                    <p:cond delay="0"/>
                                  </p:stCondLst>
                                  <p:childTnLst>
                                    <p:set>
                                      <p:cBhvr>
                                        <p:cTn id="221" dur="1" fill="hold">
                                          <p:stCondLst>
                                            <p:cond delay="0"/>
                                          </p:stCondLst>
                                        </p:cTn>
                                        <p:tgtEl>
                                          <p:spTgt spid="163"/>
                                        </p:tgtEl>
                                        <p:attrNameLst>
                                          <p:attrName>style.visibility</p:attrName>
                                        </p:attrNameLst>
                                      </p:cBhvr>
                                      <p:to>
                                        <p:strVal val="visible"/>
                                      </p:to>
                                    </p:set>
                                    <p:animEffect transition="in" filter="wipe(down)">
                                      <p:cBhvr>
                                        <p:cTn id="222" dur="500"/>
                                        <p:tgtEl>
                                          <p:spTgt spid="163"/>
                                        </p:tgtEl>
                                      </p:cBhvr>
                                    </p:animEffect>
                                  </p:childTnLst>
                                </p:cTn>
                              </p:par>
                              <p:par>
                                <p:cTn id="223" presetID="22" presetClass="entr" presetSubtype="4" fill="hold" grpId="0" nodeType="withEffect">
                                  <p:stCondLst>
                                    <p:cond delay="0"/>
                                  </p:stCondLst>
                                  <p:childTnLst>
                                    <p:set>
                                      <p:cBhvr>
                                        <p:cTn id="224" dur="1" fill="hold">
                                          <p:stCondLst>
                                            <p:cond delay="0"/>
                                          </p:stCondLst>
                                        </p:cTn>
                                        <p:tgtEl>
                                          <p:spTgt spid="166"/>
                                        </p:tgtEl>
                                        <p:attrNameLst>
                                          <p:attrName>style.visibility</p:attrName>
                                        </p:attrNameLst>
                                      </p:cBhvr>
                                      <p:to>
                                        <p:strVal val="visible"/>
                                      </p:to>
                                    </p:set>
                                    <p:animEffect transition="in" filter="wipe(down)">
                                      <p:cBhvr>
                                        <p:cTn id="225" dur="500"/>
                                        <p:tgtEl>
                                          <p:spTgt spid="166"/>
                                        </p:tgtEl>
                                      </p:cBhvr>
                                    </p:animEffect>
                                  </p:childTnLst>
                                </p:cTn>
                              </p:par>
                              <p:par>
                                <p:cTn id="226" presetID="22" presetClass="entr" presetSubtype="4" fill="hold" grpId="0" nodeType="withEffect">
                                  <p:stCondLst>
                                    <p:cond delay="0"/>
                                  </p:stCondLst>
                                  <p:childTnLst>
                                    <p:set>
                                      <p:cBhvr>
                                        <p:cTn id="227" dur="1" fill="hold">
                                          <p:stCondLst>
                                            <p:cond delay="0"/>
                                          </p:stCondLst>
                                        </p:cTn>
                                        <p:tgtEl>
                                          <p:spTgt spid="169"/>
                                        </p:tgtEl>
                                        <p:attrNameLst>
                                          <p:attrName>style.visibility</p:attrName>
                                        </p:attrNameLst>
                                      </p:cBhvr>
                                      <p:to>
                                        <p:strVal val="visible"/>
                                      </p:to>
                                    </p:set>
                                    <p:animEffect transition="in" filter="wipe(down)">
                                      <p:cBhvr>
                                        <p:cTn id="228" dur="500"/>
                                        <p:tgtEl>
                                          <p:spTgt spid="169"/>
                                        </p:tgtEl>
                                      </p:cBhvr>
                                    </p:animEffect>
                                  </p:childTnLst>
                                </p:cTn>
                              </p:par>
                            </p:childTnLst>
                          </p:cTn>
                        </p:par>
                      </p:childTnLst>
                    </p:cTn>
                  </p:par>
                  <p:par>
                    <p:cTn id="229" fill="hold">
                      <p:stCondLst>
                        <p:cond delay="indefinite"/>
                      </p:stCondLst>
                      <p:childTnLst>
                        <p:par>
                          <p:cTn id="230" fill="hold">
                            <p:stCondLst>
                              <p:cond delay="0"/>
                            </p:stCondLst>
                            <p:childTnLst>
                              <p:par>
                                <p:cTn id="231" presetID="22" presetClass="entr" presetSubtype="2" fill="hold" nodeType="clickEffect">
                                  <p:stCondLst>
                                    <p:cond delay="0"/>
                                  </p:stCondLst>
                                  <p:childTnLst>
                                    <p:set>
                                      <p:cBhvr>
                                        <p:cTn id="232" dur="1" fill="hold">
                                          <p:stCondLst>
                                            <p:cond delay="0"/>
                                          </p:stCondLst>
                                        </p:cTn>
                                        <p:tgtEl>
                                          <p:spTgt spid="181"/>
                                        </p:tgtEl>
                                        <p:attrNameLst>
                                          <p:attrName>style.visibility</p:attrName>
                                        </p:attrNameLst>
                                      </p:cBhvr>
                                      <p:to>
                                        <p:strVal val="visible"/>
                                      </p:to>
                                    </p:set>
                                    <p:animEffect transition="in" filter="wipe(right)">
                                      <p:cBhvr>
                                        <p:cTn id="233" dur="500"/>
                                        <p:tgtEl>
                                          <p:spTgt spid="181"/>
                                        </p:tgtEl>
                                      </p:cBhvr>
                                    </p:animEffect>
                                  </p:childTnLst>
                                </p:cTn>
                              </p:par>
                              <p:par>
                                <p:cTn id="234" presetID="22" presetClass="entr" presetSubtype="2" fill="hold" grpId="0" nodeType="withEffect">
                                  <p:stCondLst>
                                    <p:cond delay="0"/>
                                  </p:stCondLst>
                                  <p:childTnLst>
                                    <p:set>
                                      <p:cBhvr>
                                        <p:cTn id="235" dur="1" fill="hold">
                                          <p:stCondLst>
                                            <p:cond delay="0"/>
                                          </p:stCondLst>
                                        </p:cTn>
                                        <p:tgtEl>
                                          <p:spTgt spid="184"/>
                                        </p:tgtEl>
                                        <p:attrNameLst>
                                          <p:attrName>style.visibility</p:attrName>
                                        </p:attrNameLst>
                                      </p:cBhvr>
                                      <p:to>
                                        <p:strVal val="visible"/>
                                      </p:to>
                                    </p:set>
                                    <p:animEffect transition="in" filter="wipe(right)">
                                      <p:cBhvr>
                                        <p:cTn id="236" dur="500"/>
                                        <p:tgtEl>
                                          <p:spTgt spid="184"/>
                                        </p:tgtEl>
                                      </p:cBhvr>
                                    </p:animEffect>
                                  </p:childTnLst>
                                </p:cTn>
                              </p:par>
                            </p:childTnLst>
                          </p:cTn>
                        </p:par>
                      </p:childTnLst>
                    </p:cTn>
                  </p:par>
                  <p:par>
                    <p:cTn id="237" fill="hold">
                      <p:stCondLst>
                        <p:cond delay="indefinite"/>
                      </p:stCondLst>
                      <p:childTnLst>
                        <p:par>
                          <p:cTn id="238" fill="hold">
                            <p:stCondLst>
                              <p:cond delay="0"/>
                            </p:stCondLst>
                            <p:childTnLst>
                              <p:par>
                                <p:cTn id="239" presetID="22" presetClass="entr" presetSubtype="2" fill="hold" grpId="0" nodeType="clickEffect">
                                  <p:stCondLst>
                                    <p:cond delay="0"/>
                                  </p:stCondLst>
                                  <p:childTnLst>
                                    <p:set>
                                      <p:cBhvr>
                                        <p:cTn id="240" dur="1" fill="hold">
                                          <p:stCondLst>
                                            <p:cond delay="0"/>
                                          </p:stCondLst>
                                        </p:cTn>
                                        <p:tgtEl>
                                          <p:spTgt spid="180"/>
                                        </p:tgtEl>
                                        <p:attrNameLst>
                                          <p:attrName>style.visibility</p:attrName>
                                        </p:attrNameLst>
                                      </p:cBhvr>
                                      <p:to>
                                        <p:strVal val="visible"/>
                                      </p:to>
                                    </p:set>
                                    <p:animEffect transition="in" filter="wipe(right)">
                                      <p:cBhvr>
                                        <p:cTn id="241" dur="500"/>
                                        <p:tgtEl>
                                          <p:spTgt spid="180"/>
                                        </p:tgtEl>
                                      </p:cBhvr>
                                    </p:animEffect>
                                  </p:childTnLst>
                                </p:cTn>
                              </p:par>
                            </p:childTnLst>
                          </p:cTn>
                        </p:par>
                        <p:par>
                          <p:cTn id="242" fill="hold">
                            <p:stCondLst>
                              <p:cond delay="500"/>
                            </p:stCondLst>
                            <p:childTnLst>
                              <p:par>
                                <p:cTn id="243" presetID="10" presetClass="entr" presetSubtype="0" fill="hold" nodeType="afterEffect">
                                  <p:stCondLst>
                                    <p:cond delay="0"/>
                                  </p:stCondLst>
                                  <p:childTnLst>
                                    <p:set>
                                      <p:cBhvr>
                                        <p:cTn id="244" dur="1" fill="hold">
                                          <p:stCondLst>
                                            <p:cond delay="0"/>
                                          </p:stCondLst>
                                        </p:cTn>
                                        <p:tgtEl>
                                          <p:spTgt spid="250">
                                            <p:txEl>
                                              <p:pRg st="0" end="0"/>
                                            </p:txEl>
                                          </p:spTgt>
                                        </p:tgtEl>
                                        <p:attrNameLst>
                                          <p:attrName>style.visibility</p:attrName>
                                        </p:attrNameLst>
                                      </p:cBhvr>
                                      <p:to>
                                        <p:strVal val="visible"/>
                                      </p:to>
                                    </p:set>
                                    <p:animEffect transition="in" filter="fade">
                                      <p:cBhvr>
                                        <p:cTn id="245" dur="500"/>
                                        <p:tgtEl>
                                          <p:spTgt spid="250">
                                            <p:txEl>
                                              <p:pRg st="0" end="0"/>
                                            </p:txEl>
                                          </p:spTgt>
                                        </p:tgtEl>
                                      </p:cBhvr>
                                    </p:animEffect>
                                  </p:childTnLst>
                                </p:cTn>
                              </p:par>
                            </p:childTnLst>
                          </p:cTn>
                        </p:par>
                        <p:par>
                          <p:cTn id="246" fill="hold">
                            <p:stCondLst>
                              <p:cond delay="1000"/>
                            </p:stCondLst>
                            <p:childTnLst>
                              <p:par>
                                <p:cTn id="247" presetID="10" presetClass="entr" presetSubtype="0" fill="hold" nodeType="afterEffect">
                                  <p:stCondLst>
                                    <p:cond delay="0"/>
                                  </p:stCondLst>
                                  <p:childTnLst>
                                    <p:set>
                                      <p:cBhvr>
                                        <p:cTn id="248" dur="1" fill="hold">
                                          <p:stCondLst>
                                            <p:cond delay="0"/>
                                          </p:stCondLst>
                                        </p:cTn>
                                        <p:tgtEl>
                                          <p:spTgt spid="250">
                                            <p:txEl>
                                              <p:pRg st="1" end="1"/>
                                            </p:txEl>
                                          </p:spTgt>
                                        </p:tgtEl>
                                        <p:attrNameLst>
                                          <p:attrName>style.visibility</p:attrName>
                                        </p:attrNameLst>
                                      </p:cBhvr>
                                      <p:to>
                                        <p:strVal val="visible"/>
                                      </p:to>
                                    </p:set>
                                    <p:animEffect transition="in" filter="fade">
                                      <p:cBhvr>
                                        <p:cTn id="249" dur="500"/>
                                        <p:tgtEl>
                                          <p:spTgt spid="250">
                                            <p:txEl>
                                              <p:pRg st="1" end="1"/>
                                            </p:txEl>
                                          </p:spTgt>
                                        </p:tgtEl>
                                      </p:cBhvr>
                                    </p:animEffect>
                                  </p:childTnLst>
                                </p:cTn>
                              </p:par>
                            </p:childTnLst>
                          </p:cTn>
                        </p:par>
                        <p:par>
                          <p:cTn id="250" fill="hold">
                            <p:stCondLst>
                              <p:cond delay="1500"/>
                            </p:stCondLst>
                            <p:childTnLst>
                              <p:par>
                                <p:cTn id="251" presetID="10" presetClass="entr" presetSubtype="0" fill="hold" nodeType="afterEffect">
                                  <p:stCondLst>
                                    <p:cond delay="0"/>
                                  </p:stCondLst>
                                  <p:childTnLst>
                                    <p:set>
                                      <p:cBhvr>
                                        <p:cTn id="252" dur="1" fill="hold">
                                          <p:stCondLst>
                                            <p:cond delay="0"/>
                                          </p:stCondLst>
                                        </p:cTn>
                                        <p:tgtEl>
                                          <p:spTgt spid="250">
                                            <p:txEl>
                                              <p:pRg st="2" end="2"/>
                                            </p:txEl>
                                          </p:spTgt>
                                        </p:tgtEl>
                                        <p:attrNameLst>
                                          <p:attrName>style.visibility</p:attrName>
                                        </p:attrNameLst>
                                      </p:cBhvr>
                                      <p:to>
                                        <p:strVal val="visible"/>
                                      </p:to>
                                    </p:set>
                                    <p:animEffect transition="in" filter="fade">
                                      <p:cBhvr>
                                        <p:cTn id="253" dur="500"/>
                                        <p:tgtEl>
                                          <p:spTgt spid="250">
                                            <p:txEl>
                                              <p:pRg st="2" end="2"/>
                                            </p:txEl>
                                          </p:spTgt>
                                        </p:tgtEl>
                                      </p:cBhvr>
                                    </p:animEffect>
                                  </p:childTnLst>
                                </p:cTn>
                              </p:par>
                            </p:childTnLst>
                          </p:cTn>
                        </p:par>
                      </p:childTnLst>
                    </p:cTn>
                  </p:par>
                  <p:par>
                    <p:cTn id="254" fill="hold">
                      <p:stCondLst>
                        <p:cond delay="indefinite"/>
                      </p:stCondLst>
                      <p:childTnLst>
                        <p:par>
                          <p:cTn id="255" fill="hold">
                            <p:stCondLst>
                              <p:cond delay="0"/>
                            </p:stCondLst>
                            <p:childTnLst>
                              <p:par>
                                <p:cTn id="256" presetID="10" presetClass="exit" presetSubtype="0" fill="hold" grpId="0" nodeType="clickEffect">
                                  <p:stCondLst>
                                    <p:cond delay="0"/>
                                  </p:stCondLst>
                                  <p:childTnLst>
                                    <p:animEffect transition="out" filter="fade">
                                      <p:cBhvr>
                                        <p:cTn id="257" dur="500"/>
                                        <p:tgtEl>
                                          <p:spTgt spid="250">
                                            <p:txEl>
                                              <p:pRg st="0" end="0"/>
                                            </p:txEl>
                                          </p:spTgt>
                                        </p:tgtEl>
                                      </p:cBhvr>
                                    </p:animEffect>
                                    <p:set>
                                      <p:cBhvr>
                                        <p:cTn id="258" dur="1" fill="hold">
                                          <p:stCondLst>
                                            <p:cond delay="499"/>
                                          </p:stCondLst>
                                        </p:cTn>
                                        <p:tgtEl>
                                          <p:spTgt spid="250">
                                            <p:txEl>
                                              <p:pRg st="0" end="0"/>
                                            </p:txEl>
                                          </p:spTgt>
                                        </p:tgtEl>
                                        <p:attrNameLst>
                                          <p:attrName>style.visibility</p:attrName>
                                        </p:attrNameLst>
                                      </p:cBhvr>
                                      <p:to>
                                        <p:strVal val="hidden"/>
                                      </p:to>
                                    </p:set>
                                  </p:childTnLst>
                                </p:cTn>
                              </p:par>
                              <p:par>
                                <p:cTn id="259" presetID="10" presetClass="exit" presetSubtype="0" fill="hold" grpId="0" nodeType="withEffect">
                                  <p:stCondLst>
                                    <p:cond delay="0"/>
                                  </p:stCondLst>
                                  <p:childTnLst>
                                    <p:animEffect transition="out" filter="fade">
                                      <p:cBhvr>
                                        <p:cTn id="260" dur="500"/>
                                        <p:tgtEl>
                                          <p:spTgt spid="250">
                                            <p:txEl>
                                              <p:pRg st="1" end="1"/>
                                            </p:txEl>
                                          </p:spTgt>
                                        </p:tgtEl>
                                      </p:cBhvr>
                                    </p:animEffect>
                                    <p:set>
                                      <p:cBhvr>
                                        <p:cTn id="261" dur="1" fill="hold">
                                          <p:stCondLst>
                                            <p:cond delay="499"/>
                                          </p:stCondLst>
                                        </p:cTn>
                                        <p:tgtEl>
                                          <p:spTgt spid="250">
                                            <p:txEl>
                                              <p:pRg st="1" end="1"/>
                                            </p:txEl>
                                          </p:spTgt>
                                        </p:tgtEl>
                                        <p:attrNameLst>
                                          <p:attrName>style.visibility</p:attrName>
                                        </p:attrNameLst>
                                      </p:cBhvr>
                                      <p:to>
                                        <p:strVal val="hidden"/>
                                      </p:to>
                                    </p:set>
                                  </p:childTnLst>
                                </p:cTn>
                              </p:par>
                              <p:par>
                                <p:cTn id="262" presetID="10" presetClass="exit" presetSubtype="0" fill="hold" grpId="0" nodeType="withEffect">
                                  <p:stCondLst>
                                    <p:cond delay="0"/>
                                  </p:stCondLst>
                                  <p:childTnLst>
                                    <p:animEffect transition="out" filter="fade">
                                      <p:cBhvr>
                                        <p:cTn id="263" dur="500"/>
                                        <p:tgtEl>
                                          <p:spTgt spid="250">
                                            <p:txEl>
                                              <p:pRg st="2" end="2"/>
                                            </p:txEl>
                                          </p:spTgt>
                                        </p:tgtEl>
                                      </p:cBhvr>
                                    </p:animEffect>
                                    <p:set>
                                      <p:cBhvr>
                                        <p:cTn id="264" dur="1" fill="hold">
                                          <p:stCondLst>
                                            <p:cond delay="499"/>
                                          </p:stCondLst>
                                        </p:cTn>
                                        <p:tgtEl>
                                          <p:spTgt spid="250">
                                            <p:txEl>
                                              <p:pRg st="2" end="2"/>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155" grpId="0" animBg="1"/>
      <p:bldP spid="158" grpId="0"/>
      <p:bldP spid="159" grpId="0"/>
      <p:bldP spid="160" grpId="0" animBg="1"/>
      <p:bldP spid="161" grpId="0" animBg="1"/>
      <p:bldP spid="162" grpId="0"/>
      <p:bldP spid="163" grpId="0" animBg="1"/>
      <p:bldP spid="164" grpId="0" animBg="1"/>
      <p:bldP spid="165" grpId="0" animBg="1"/>
      <p:bldP spid="166" grpId="0" animBg="1"/>
      <p:bldP spid="167" grpId="0" animBg="1"/>
      <p:bldP spid="168" grpId="0" animBg="1"/>
      <p:bldP spid="169" grpId="0" animBg="1"/>
      <p:bldP spid="170" grpId="0" animBg="1"/>
      <p:bldP spid="171" grpId="0" animBg="1"/>
      <p:bldP spid="175" grpId="0" animBg="1"/>
      <p:bldP spid="176" grpId="0" animBg="1"/>
      <p:bldP spid="177" grpId="0"/>
      <p:bldP spid="179" grpId="0" animBg="1"/>
      <p:bldP spid="180" grpId="0" animBg="1"/>
      <p:bldP spid="184" grpId="0"/>
      <p:bldP spid="199" grpId="0"/>
      <p:bldP spid="247" grpId="0" uiExpand="1" build="allAtOnce"/>
      <p:bldP spid="248" grpId="0" uiExpand="1" build="allAtOnce"/>
      <p:bldP spid="249" grpId="0" uiExpand="1" build="allAtOnce"/>
      <p:bldP spid="250" grpId="0" uiExpand="1" build="allAtOnce"/>
      <p:bldP spid="251" grpId="0" animBg="1"/>
      <p:bldP spid="252" grpId="0" animBg="1"/>
      <p:bldP spid="253"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Write IO</a:t>
            </a:r>
          </a:p>
        </p:txBody>
      </p:sp>
      <p:sp>
        <p:nvSpPr>
          <p:cNvPr id="30" name="Rectangle: Rounded Corners 29">
            <a:extLst>
              <a:ext uri="{FF2B5EF4-FFF2-40B4-BE49-F238E27FC236}">
                <a16:creationId xmlns:a16="http://schemas.microsoft.com/office/drawing/2014/main" id="{20FE8C2F-F098-4EF9-8B29-D1D41FC3A0E3}"/>
              </a:ext>
            </a:extLst>
          </p:cNvPr>
          <p:cNvSpPr/>
          <p:nvPr/>
        </p:nvSpPr>
        <p:spPr>
          <a:xfrm>
            <a:off x="1540108" y="4267200"/>
            <a:ext cx="3691556" cy="1054470"/>
          </a:xfrm>
          <a:prstGeom prst="roundRect">
            <a:avLst/>
          </a:prstGeom>
          <a:solidFill>
            <a:srgbClr val="EBEBEB"/>
          </a:solidFill>
          <a:ln w="12700" cap="flat" cmpd="sng" algn="ctr">
            <a:noFill/>
            <a:prstDash val="solid"/>
            <a:miter lim="800000"/>
          </a:ln>
          <a:effectLst/>
        </p:spPr>
        <p:txBody>
          <a:bodyPr rtlCol="0" anchor="t"/>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1" i="0" u="none" strike="noStrike" kern="0" cap="none" spc="0" normalizeH="0" baseline="0" noProof="0">
              <a:ln>
                <a:noFill/>
              </a:ln>
              <a:solidFill>
                <a:srgbClr val="000000"/>
              </a:solidFill>
              <a:effectLst/>
              <a:uLnTx/>
              <a:uFillTx/>
            </a:endParaRPr>
          </a:p>
        </p:txBody>
      </p:sp>
      <p:sp>
        <p:nvSpPr>
          <p:cNvPr id="31" name="Rectangle: Rounded Corners 30">
            <a:extLst>
              <a:ext uri="{FF2B5EF4-FFF2-40B4-BE49-F238E27FC236}">
                <a16:creationId xmlns:a16="http://schemas.microsoft.com/office/drawing/2014/main" id="{2BDEE49F-CDC6-4582-AE14-DC0F5672DF07}"/>
              </a:ext>
            </a:extLst>
          </p:cNvPr>
          <p:cNvSpPr/>
          <p:nvPr/>
        </p:nvSpPr>
        <p:spPr>
          <a:xfrm>
            <a:off x="1540108" y="5492764"/>
            <a:ext cx="3691556" cy="777169"/>
          </a:xfrm>
          <a:prstGeom prst="roundRect">
            <a:avLst/>
          </a:prstGeom>
          <a:solidFill>
            <a:srgbClr val="EBEBEB"/>
          </a:solidFill>
          <a:ln w="12700" cap="flat" cmpd="sng" algn="ctr">
            <a:noFill/>
            <a:prstDash val="solid"/>
            <a:miter lim="800000"/>
          </a:ln>
          <a:effectLst/>
        </p:spPr>
        <p:txBody>
          <a:bodyPr rtlCol="0" anchor="t"/>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1" i="0" u="none" strike="noStrike" kern="0" cap="none" spc="0" normalizeH="0" baseline="0" noProof="0">
              <a:ln>
                <a:noFill/>
              </a:ln>
              <a:solidFill>
                <a:srgbClr val="000000"/>
              </a:solidFill>
              <a:effectLst/>
              <a:uLnTx/>
              <a:uFillTx/>
            </a:endParaRPr>
          </a:p>
        </p:txBody>
      </p:sp>
      <p:sp>
        <p:nvSpPr>
          <p:cNvPr id="32" name="Rectangle: Rounded Corners 31">
            <a:extLst>
              <a:ext uri="{FF2B5EF4-FFF2-40B4-BE49-F238E27FC236}">
                <a16:creationId xmlns:a16="http://schemas.microsoft.com/office/drawing/2014/main" id="{4B9ED7AD-7B2B-4BF4-B5C5-CD2183D9B9E3}"/>
              </a:ext>
            </a:extLst>
          </p:cNvPr>
          <p:cNvSpPr/>
          <p:nvPr/>
        </p:nvSpPr>
        <p:spPr>
          <a:xfrm>
            <a:off x="1546585" y="1432294"/>
            <a:ext cx="1614787" cy="949873"/>
          </a:xfrm>
          <a:prstGeom prst="roundRect">
            <a:avLst/>
          </a:prstGeom>
          <a:noFill/>
          <a:ln w="12700" cap="flat" cmpd="sng" algn="ctr">
            <a:solidFill>
              <a:srgbClr val="0070C0"/>
            </a:solidFill>
            <a:prstDash val="solid"/>
            <a:miter lim="800000"/>
          </a:ln>
          <a:effectLst/>
        </p:spPr>
        <p:txBody>
          <a:bodyPr rtlCol="0" anchor="t"/>
          <a:lstStyle/>
          <a:p>
            <a:pPr algn="ctr" defTabSz="1243431">
              <a:defRPr/>
            </a:pPr>
            <a:r>
              <a:rPr lang="en-US" sz="2040" kern="0">
                <a:solidFill>
                  <a:srgbClr val="000000"/>
                </a:solidFill>
                <a:latin typeface="Segoe UI Semibold"/>
              </a:rPr>
              <a:t>Primary</a:t>
            </a:r>
          </a:p>
          <a:p>
            <a:pPr algn="ctr" defTabSz="1243431">
              <a:defRPr/>
            </a:pPr>
            <a:r>
              <a:rPr lang="en-US" sz="2040" kern="0">
                <a:solidFill>
                  <a:srgbClr val="000000"/>
                </a:solidFill>
                <a:latin typeface="Segoe UI Semibold"/>
              </a:rPr>
              <a:t>Compute</a:t>
            </a:r>
          </a:p>
        </p:txBody>
      </p:sp>
      <p:sp>
        <p:nvSpPr>
          <p:cNvPr id="33" name="Rectangle 32">
            <a:extLst>
              <a:ext uri="{FF2B5EF4-FFF2-40B4-BE49-F238E27FC236}">
                <a16:creationId xmlns:a16="http://schemas.microsoft.com/office/drawing/2014/main" id="{2279A206-F057-495E-89CB-D6ACC05C63AC}"/>
              </a:ext>
            </a:extLst>
          </p:cNvPr>
          <p:cNvSpPr/>
          <p:nvPr/>
        </p:nvSpPr>
        <p:spPr>
          <a:xfrm>
            <a:off x="1714970" y="2895600"/>
            <a:ext cx="3341829" cy="535097"/>
          </a:xfrm>
          <a:prstGeom prst="rect">
            <a:avLst/>
          </a:prstGeom>
          <a:solidFill>
            <a:srgbClr val="FFFFFF"/>
          </a:solidFill>
          <a:ln w="25400" cap="flat" cmpd="sng" algn="ctr">
            <a:solidFill>
              <a:srgbClr val="0070C0"/>
            </a:solidFill>
            <a:prstDash val="solid"/>
          </a:ln>
          <a:effectLst/>
        </p:spPr>
        <p:txBody>
          <a:bodyPr rtlCol="0" anchor="ctr"/>
          <a:lstStyle/>
          <a:p>
            <a:pPr algn="ctr" defTabSz="1243431">
              <a:defRPr/>
            </a:pPr>
            <a:r>
              <a:rPr lang="en-US" sz="2040" kern="0">
                <a:solidFill>
                  <a:srgbClr val="000000"/>
                </a:solidFill>
                <a:latin typeface="Segoe UI Semibold"/>
              </a:rPr>
              <a:t>Log landing zone</a:t>
            </a:r>
          </a:p>
        </p:txBody>
      </p:sp>
      <p:cxnSp>
        <p:nvCxnSpPr>
          <p:cNvPr id="34" name="Straight Arrow Connector 33">
            <a:extLst>
              <a:ext uri="{FF2B5EF4-FFF2-40B4-BE49-F238E27FC236}">
                <a16:creationId xmlns:a16="http://schemas.microsoft.com/office/drawing/2014/main" id="{7BF7A291-CF6D-4FC4-84FD-E1B07A849365}"/>
              </a:ext>
            </a:extLst>
          </p:cNvPr>
          <p:cNvCxnSpPr>
            <a:cxnSpLocks/>
            <a:stCxn id="32" idx="2"/>
          </p:cNvCxnSpPr>
          <p:nvPr/>
        </p:nvCxnSpPr>
        <p:spPr>
          <a:xfrm flipH="1">
            <a:off x="2353978" y="2382167"/>
            <a:ext cx="1" cy="483370"/>
          </a:xfrm>
          <a:prstGeom prst="straightConnector1">
            <a:avLst/>
          </a:prstGeom>
          <a:noFill/>
          <a:ln w="9525" cap="flat" cmpd="sng" algn="ctr">
            <a:solidFill>
              <a:srgbClr val="0070C0"/>
            </a:solidFill>
            <a:prstDash val="solid"/>
            <a:tailEnd type="triangle"/>
          </a:ln>
          <a:effectLst/>
        </p:spPr>
      </p:cxnSp>
      <p:sp>
        <p:nvSpPr>
          <p:cNvPr id="35" name="Rectangle: Rounded Corners 34">
            <a:extLst>
              <a:ext uri="{FF2B5EF4-FFF2-40B4-BE49-F238E27FC236}">
                <a16:creationId xmlns:a16="http://schemas.microsoft.com/office/drawing/2014/main" id="{8C8FC641-E600-4ADC-BCAF-6686E25C966F}"/>
              </a:ext>
            </a:extLst>
          </p:cNvPr>
          <p:cNvSpPr/>
          <p:nvPr/>
        </p:nvSpPr>
        <p:spPr>
          <a:xfrm>
            <a:off x="3385886" y="1432294"/>
            <a:ext cx="1614787" cy="949873"/>
          </a:xfrm>
          <a:prstGeom prst="roundRect">
            <a:avLst/>
          </a:prstGeom>
          <a:noFill/>
          <a:ln w="12700" cap="flat" cmpd="sng" algn="ctr">
            <a:solidFill>
              <a:srgbClr val="0070C0"/>
            </a:solidFill>
            <a:prstDash val="solid"/>
            <a:miter lim="800000"/>
          </a:ln>
          <a:effectLst/>
        </p:spPr>
        <p:txBody>
          <a:bodyPr rtlCol="0" anchor="t"/>
          <a:lstStyle/>
          <a:p>
            <a:pPr algn="ctr" defTabSz="1243431">
              <a:defRPr/>
            </a:pPr>
            <a:r>
              <a:rPr lang="en-US" sz="2040" kern="0">
                <a:solidFill>
                  <a:srgbClr val="000000"/>
                </a:solidFill>
                <a:latin typeface="Segoe UI Semibold"/>
              </a:rPr>
              <a:t>Secondary</a:t>
            </a:r>
          </a:p>
          <a:p>
            <a:pPr algn="ctr" defTabSz="1243431">
              <a:defRPr/>
            </a:pPr>
            <a:r>
              <a:rPr lang="en-US" sz="2040" kern="0">
                <a:solidFill>
                  <a:srgbClr val="000000"/>
                </a:solidFill>
                <a:latin typeface="Segoe UI Semibold"/>
              </a:rPr>
              <a:t>Compute</a:t>
            </a:r>
          </a:p>
        </p:txBody>
      </p:sp>
      <p:cxnSp>
        <p:nvCxnSpPr>
          <p:cNvPr id="36" name="Straight Arrow Connector 35">
            <a:extLst>
              <a:ext uri="{FF2B5EF4-FFF2-40B4-BE49-F238E27FC236}">
                <a16:creationId xmlns:a16="http://schemas.microsoft.com/office/drawing/2014/main" id="{5F897FC9-3B5F-4FAF-9286-8A4ECB56C4CF}"/>
              </a:ext>
            </a:extLst>
          </p:cNvPr>
          <p:cNvCxnSpPr>
            <a:cxnSpLocks/>
            <a:stCxn id="33" idx="3"/>
          </p:cNvCxnSpPr>
          <p:nvPr/>
        </p:nvCxnSpPr>
        <p:spPr>
          <a:xfrm>
            <a:off x="5056800" y="3163147"/>
            <a:ext cx="852451" cy="0"/>
          </a:xfrm>
          <a:prstGeom prst="straightConnector1">
            <a:avLst/>
          </a:prstGeom>
          <a:noFill/>
          <a:ln w="9525" cap="flat" cmpd="sng" algn="ctr">
            <a:solidFill>
              <a:srgbClr val="0070C0"/>
            </a:solidFill>
            <a:prstDash val="solid"/>
            <a:tailEnd type="triangle"/>
          </a:ln>
          <a:effectLst/>
        </p:spPr>
      </p:cxnSp>
      <p:sp>
        <p:nvSpPr>
          <p:cNvPr id="37" name="Rectangle: Rounded Corners 36">
            <a:extLst>
              <a:ext uri="{FF2B5EF4-FFF2-40B4-BE49-F238E27FC236}">
                <a16:creationId xmlns:a16="http://schemas.microsoft.com/office/drawing/2014/main" id="{25E2F294-BAE0-4A9F-9636-DD939DFFF644}"/>
              </a:ext>
            </a:extLst>
          </p:cNvPr>
          <p:cNvSpPr/>
          <p:nvPr/>
        </p:nvSpPr>
        <p:spPr>
          <a:xfrm>
            <a:off x="1656682" y="4360930"/>
            <a:ext cx="1113946" cy="855506"/>
          </a:xfrm>
          <a:prstGeom prst="roundRect">
            <a:avLst/>
          </a:prstGeom>
          <a:solidFill>
            <a:srgbClr val="FFFFFF"/>
          </a:solidFill>
          <a:ln w="12700" cap="flat" cmpd="sng" algn="ctr">
            <a:solidFill>
              <a:srgbClr val="0070C0"/>
            </a:solidFill>
            <a:prstDash val="solid"/>
            <a:miter lim="800000"/>
          </a:ln>
          <a:effectLst/>
        </p:spPr>
        <p:txBody>
          <a:bodyPr rtlCol="0" anchor="t"/>
          <a:lstStyle/>
          <a:p>
            <a:pPr marL="0" marR="0" lvl="0" indent="0" algn="ctr" defTabSz="1243431"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a:ln>
                  <a:noFill/>
                </a:ln>
                <a:solidFill>
                  <a:srgbClr val="000000"/>
                </a:solidFill>
                <a:effectLst/>
                <a:uLnTx/>
                <a:uFillTx/>
                <a:latin typeface="Segoe UI Semibold"/>
              </a:rPr>
              <a:t>Page Server</a:t>
            </a:r>
          </a:p>
        </p:txBody>
      </p:sp>
      <p:sp>
        <p:nvSpPr>
          <p:cNvPr id="38" name="Rectangle: Rounded Corners 37">
            <a:extLst>
              <a:ext uri="{FF2B5EF4-FFF2-40B4-BE49-F238E27FC236}">
                <a16:creationId xmlns:a16="http://schemas.microsoft.com/office/drawing/2014/main" id="{DD0CD82C-9AD9-4793-8106-D52B17E2A820}"/>
              </a:ext>
            </a:extLst>
          </p:cNvPr>
          <p:cNvSpPr/>
          <p:nvPr/>
        </p:nvSpPr>
        <p:spPr>
          <a:xfrm>
            <a:off x="3988191" y="4360930"/>
            <a:ext cx="1113946" cy="855506"/>
          </a:xfrm>
          <a:prstGeom prst="roundRect">
            <a:avLst/>
          </a:prstGeom>
          <a:solidFill>
            <a:srgbClr val="FFFFFF"/>
          </a:solidFill>
          <a:ln w="12700" cap="flat" cmpd="sng" algn="ctr">
            <a:solidFill>
              <a:srgbClr val="0070C0"/>
            </a:solidFill>
            <a:prstDash val="solid"/>
            <a:miter lim="800000"/>
          </a:ln>
          <a:effectLst/>
        </p:spPr>
        <p:txBody>
          <a:bodyPr rtlCol="0" anchor="t"/>
          <a:lstStyle/>
          <a:p>
            <a:pPr marL="0" marR="0" lvl="0" indent="0" algn="ctr" defTabSz="1243431"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a:ln>
                  <a:noFill/>
                </a:ln>
                <a:solidFill>
                  <a:srgbClr val="000000"/>
                </a:solidFill>
                <a:effectLst/>
                <a:uLnTx/>
                <a:uFillTx/>
                <a:latin typeface="Segoe UI Semibold"/>
              </a:rPr>
              <a:t>Page Server</a:t>
            </a:r>
          </a:p>
        </p:txBody>
      </p:sp>
      <p:sp>
        <p:nvSpPr>
          <p:cNvPr id="39" name="Rectangle: Rounded Corners 38">
            <a:extLst>
              <a:ext uri="{FF2B5EF4-FFF2-40B4-BE49-F238E27FC236}">
                <a16:creationId xmlns:a16="http://schemas.microsoft.com/office/drawing/2014/main" id="{4FF91FB2-420D-4B07-A8A6-882D9363A241}"/>
              </a:ext>
            </a:extLst>
          </p:cNvPr>
          <p:cNvSpPr/>
          <p:nvPr/>
        </p:nvSpPr>
        <p:spPr>
          <a:xfrm>
            <a:off x="2822436" y="4371795"/>
            <a:ext cx="1113946" cy="844641"/>
          </a:xfrm>
          <a:prstGeom prst="roundRect">
            <a:avLst/>
          </a:prstGeom>
          <a:solidFill>
            <a:srgbClr val="FFFFFF"/>
          </a:solidFill>
          <a:ln w="12700" cap="flat" cmpd="sng" algn="ctr">
            <a:solidFill>
              <a:srgbClr val="0070C0"/>
            </a:solidFill>
            <a:prstDash val="solid"/>
            <a:miter lim="800000"/>
          </a:ln>
          <a:effectLst/>
        </p:spPr>
        <p:txBody>
          <a:bodyPr rtlCol="0" anchor="t"/>
          <a:lstStyle/>
          <a:p>
            <a:pPr marL="0" marR="0" lvl="0" indent="0" algn="ctr" defTabSz="1243431"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a:ln>
                  <a:noFill/>
                </a:ln>
                <a:solidFill>
                  <a:srgbClr val="000000"/>
                </a:solidFill>
                <a:effectLst/>
                <a:uLnTx/>
                <a:uFillTx/>
                <a:latin typeface="Segoe UI Semibold"/>
              </a:rPr>
              <a:t>Page Server</a:t>
            </a:r>
          </a:p>
        </p:txBody>
      </p:sp>
      <p:sp>
        <p:nvSpPr>
          <p:cNvPr id="40" name="Rectangle: Rounded Corners 39">
            <a:extLst>
              <a:ext uri="{FF2B5EF4-FFF2-40B4-BE49-F238E27FC236}">
                <a16:creationId xmlns:a16="http://schemas.microsoft.com/office/drawing/2014/main" id="{F328055E-C54D-4BDD-924C-45CCF30FDE64}"/>
              </a:ext>
            </a:extLst>
          </p:cNvPr>
          <p:cNvSpPr/>
          <p:nvPr/>
        </p:nvSpPr>
        <p:spPr>
          <a:xfrm>
            <a:off x="5909249" y="2979256"/>
            <a:ext cx="1733798" cy="1328564"/>
          </a:xfrm>
          <a:prstGeom prst="roundRect">
            <a:avLst/>
          </a:prstGeom>
          <a:noFill/>
          <a:ln w="12700" cap="flat" cmpd="sng" algn="ctr">
            <a:solidFill>
              <a:srgbClr val="0070C0"/>
            </a:solidFill>
            <a:prstDash val="solid"/>
            <a:miter lim="800000"/>
          </a:ln>
          <a:effectLst/>
        </p:spPr>
        <p:txBody>
          <a:bodyPr rtlCol="0" anchor="t"/>
          <a:lstStyle/>
          <a:p>
            <a:pPr algn="ctr" defTabSz="1243431">
              <a:defRPr/>
            </a:pPr>
            <a:r>
              <a:rPr lang="en-US" sz="2040" kern="0">
                <a:solidFill>
                  <a:srgbClr val="000000"/>
                </a:solidFill>
                <a:latin typeface="Segoe UI Semibold"/>
              </a:rPr>
              <a:t>Log Service</a:t>
            </a:r>
          </a:p>
        </p:txBody>
      </p:sp>
      <p:sp>
        <p:nvSpPr>
          <p:cNvPr id="41" name="Rectangle 40">
            <a:extLst>
              <a:ext uri="{FF2B5EF4-FFF2-40B4-BE49-F238E27FC236}">
                <a16:creationId xmlns:a16="http://schemas.microsoft.com/office/drawing/2014/main" id="{CAFEC835-E896-438A-BEFD-373C53A29909}"/>
              </a:ext>
            </a:extLst>
          </p:cNvPr>
          <p:cNvSpPr/>
          <p:nvPr/>
        </p:nvSpPr>
        <p:spPr>
          <a:xfrm>
            <a:off x="1714970" y="3581400"/>
            <a:ext cx="3341829" cy="535097"/>
          </a:xfrm>
          <a:prstGeom prst="rect">
            <a:avLst/>
          </a:prstGeom>
          <a:solidFill>
            <a:srgbClr val="FFFFFF"/>
          </a:solidFill>
          <a:ln w="25400" cap="flat" cmpd="sng" algn="ctr">
            <a:solidFill>
              <a:srgbClr val="0070C0"/>
            </a:solidFill>
            <a:prstDash val="solid"/>
          </a:ln>
          <a:effectLst/>
        </p:spPr>
        <p:txBody>
          <a:bodyPr rtlCol="0" anchor="ctr"/>
          <a:lstStyle/>
          <a:p>
            <a:pPr algn="ctr" defTabSz="1243431">
              <a:defRPr/>
            </a:pPr>
            <a:r>
              <a:rPr lang="en-US" sz="2040" kern="0">
                <a:solidFill>
                  <a:srgbClr val="000000"/>
                </a:solidFill>
                <a:latin typeface="Segoe UI Semibold"/>
              </a:rPr>
              <a:t>Long term log storage</a:t>
            </a:r>
          </a:p>
        </p:txBody>
      </p:sp>
      <p:cxnSp>
        <p:nvCxnSpPr>
          <p:cNvPr id="42" name="Straight Arrow Connector 41">
            <a:extLst>
              <a:ext uri="{FF2B5EF4-FFF2-40B4-BE49-F238E27FC236}">
                <a16:creationId xmlns:a16="http://schemas.microsoft.com/office/drawing/2014/main" id="{DA01F0DD-CBEC-48EA-87F2-E6568C2D83E6}"/>
              </a:ext>
            </a:extLst>
          </p:cNvPr>
          <p:cNvCxnSpPr>
            <a:cxnSpLocks/>
            <a:endCxn id="41" idx="3"/>
          </p:cNvCxnSpPr>
          <p:nvPr/>
        </p:nvCxnSpPr>
        <p:spPr>
          <a:xfrm flipH="1">
            <a:off x="5056800" y="3848947"/>
            <a:ext cx="852451" cy="0"/>
          </a:xfrm>
          <a:prstGeom prst="straightConnector1">
            <a:avLst/>
          </a:prstGeom>
          <a:noFill/>
          <a:ln w="9525" cap="flat" cmpd="sng" algn="ctr">
            <a:solidFill>
              <a:srgbClr val="0070C0"/>
            </a:solidFill>
            <a:prstDash val="solid"/>
            <a:tailEnd type="triangle"/>
          </a:ln>
          <a:effectLst/>
        </p:spPr>
      </p:cxnSp>
      <p:cxnSp>
        <p:nvCxnSpPr>
          <p:cNvPr id="43" name="Connector: Elbow 42">
            <a:extLst>
              <a:ext uri="{FF2B5EF4-FFF2-40B4-BE49-F238E27FC236}">
                <a16:creationId xmlns:a16="http://schemas.microsoft.com/office/drawing/2014/main" id="{33AEE563-8B1C-4827-B981-6468AF0DEB29}"/>
              </a:ext>
            </a:extLst>
          </p:cNvPr>
          <p:cNvCxnSpPr>
            <a:cxnSpLocks/>
            <a:stCxn id="40" idx="0"/>
            <a:endCxn id="35" idx="3"/>
          </p:cNvCxnSpPr>
          <p:nvPr/>
        </p:nvCxnSpPr>
        <p:spPr>
          <a:xfrm rot="16200000" flipV="1">
            <a:off x="5352397" y="1555506"/>
            <a:ext cx="1072026" cy="1775476"/>
          </a:xfrm>
          <a:prstGeom prst="bentConnector2">
            <a:avLst/>
          </a:prstGeom>
          <a:noFill/>
          <a:ln w="9525" cap="flat" cmpd="sng" algn="ctr">
            <a:solidFill>
              <a:srgbClr val="0070C0"/>
            </a:solidFill>
            <a:prstDash val="solid"/>
            <a:tailEnd type="triangle"/>
          </a:ln>
          <a:effectLst/>
        </p:spPr>
      </p:cxnSp>
      <p:cxnSp>
        <p:nvCxnSpPr>
          <p:cNvPr id="44" name="Connector: Elbow 43">
            <a:extLst>
              <a:ext uri="{FF2B5EF4-FFF2-40B4-BE49-F238E27FC236}">
                <a16:creationId xmlns:a16="http://schemas.microsoft.com/office/drawing/2014/main" id="{6C8741AF-0FB5-44D6-9D9A-08536FE429E3}"/>
              </a:ext>
            </a:extLst>
          </p:cNvPr>
          <p:cNvCxnSpPr>
            <a:cxnSpLocks/>
            <a:stCxn id="40" idx="2"/>
            <a:endCxn id="30" idx="3"/>
          </p:cNvCxnSpPr>
          <p:nvPr/>
        </p:nvCxnSpPr>
        <p:spPr>
          <a:xfrm rot="5400000">
            <a:off x="5760599" y="3778885"/>
            <a:ext cx="486615" cy="1544484"/>
          </a:xfrm>
          <a:prstGeom prst="bentConnector2">
            <a:avLst/>
          </a:prstGeom>
          <a:noFill/>
          <a:ln w="9525" cap="flat" cmpd="sng" algn="ctr">
            <a:solidFill>
              <a:srgbClr val="0070C0"/>
            </a:solidFill>
            <a:prstDash val="solid"/>
            <a:tailEnd type="triangle"/>
          </a:ln>
          <a:effectLst/>
        </p:spPr>
      </p:cxnSp>
      <p:sp>
        <p:nvSpPr>
          <p:cNvPr id="45" name="TextBox 44">
            <a:extLst>
              <a:ext uri="{FF2B5EF4-FFF2-40B4-BE49-F238E27FC236}">
                <a16:creationId xmlns:a16="http://schemas.microsoft.com/office/drawing/2014/main" id="{32BD41BB-B1CC-4E30-8EB7-B5735E64530A}"/>
              </a:ext>
            </a:extLst>
          </p:cNvPr>
          <p:cNvSpPr txBox="1"/>
          <p:nvPr/>
        </p:nvSpPr>
        <p:spPr>
          <a:xfrm>
            <a:off x="2399475" y="2451184"/>
            <a:ext cx="1059752" cy="414353"/>
          </a:xfrm>
          <a:prstGeom prst="rect">
            <a:avLst/>
          </a:prstGeom>
          <a:noFill/>
          <a:ln>
            <a:noFill/>
          </a:ln>
        </p:spPr>
        <p:txBody>
          <a:bodyPr wrap="none" rtlCol="0">
            <a:spAutoFit/>
          </a:bodyPr>
          <a:lstStyle/>
          <a:p>
            <a:pPr marL="0" marR="0" lvl="0" indent="0" defTabSz="1243431"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a:ln>
                  <a:noFill/>
                </a:ln>
                <a:solidFill>
                  <a:srgbClr val="000000"/>
                </a:solidFill>
                <a:effectLst/>
                <a:uLnTx/>
                <a:uFillTx/>
              </a:rPr>
              <a:t>&lt;2.5ms</a:t>
            </a:r>
          </a:p>
        </p:txBody>
      </p:sp>
      <p:sp>
        <p:nvSpPr>
          <p:cNvPr id="46" name="Arrow: Down 45">
            <a:extLst>
              <a:ext uri="{FF2B5EF4-FFF2-40B4-BE49-F238E27FC236}">
                <a16:creationId xmlns:a16="http://schemas.microsoft.com/office/drawing/2014/main" id="{96B2AD80-DCB3-4B93-8019-C0BC6EE7F759}"/>
              </a:ext>
            </a:extLst>
          </p:cNvPr>
          <p:cNvSpPr/>
          <p:nvPr/>
        </p:nvSpPr>
        <p:spPr>
          <a:xfrm rot="10800000">
            <a:off x="683060" y="1432294"/>
            <a:ext cx="604449" cy="1727043"/>
          </a:xfrm>
          <a:prstGeom prst="downArrow">
            <a:avLst/>
          </a:prstGeom>
          <a:solidFill>
            <a:srgbClr val="0078D3"/>
          </a:solidFill>
          <a:ln w="25400" cap="flat" cmpd="sng" algn="ctr">
            <a:solidFill>
              <a:srgbClr val="0078D3"/>
            </a:solidFill>
            <a:prstDash val="solid"/>
          </a:ln>
          <a:effectLst/>
        </p:spPr>
        <p:txBody>
          <a:bodyPr vert="vert"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FFFFFF"/>
                </a:solidFill>
                <a:effectLst/>
                <a:uLnTx/>
                <a:uFillTx/>
              </a:rPr>
              <a:t>Tx commit</a:t>
            </a:r>
          </a:p>
        </p:txBody>
      </p:sp>
      <p:sp>
        <p:nvSpPr>
          <p:cNvPr id="47" name="Rectangle 46">
            <a:extLst>
              <a:ext uri="{FF2B5EF4-FFF2-40B4-BE49-F238E27FC236}">
                <a16:creationId xmlns:a16="http://schemas.microsoft.com/office/drawing/2014/main" id="{35DB58E8-771A-49A3-9E4A-BA5A11EAD6D5}"/>
              </a:ext>
            </a:extLst>
          </p:cNvPr>
          <p:cNvSpPr/>
          <p:nvPr/>
        </p:nvSpPr>
        <p:spPr>
          <a:xfrm>
            <a:off x="6204722" y="3625647"/>
            <a:ext cx="1179270" cy="526740"/>
          </a:xfrm>
          <a:prstGeom prst="rect">
            <a:avLst/>
          </a:prstGeom>
          <a:solidFill>
            <a:srgbClr val="50E6FF"/>
          </a:solidFill>
          <a:ln w="25400" cap="flat" cmpd="sng" algn="ctr">
            <a:noFill/>
            <a:prstDash val="solid"/>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solidFill>
                  <a:srgbClr val="000000"/>
                </a:solidFill>
                <a:effectLst/>
                <a:uLnTx/>
                <a:uFillTx/>
              </a:rPr>
              <a:t>Memory cache</a:t>
            </a:r>
          </a:p>
        </p:txBody>
      </p:sp>
      <p:sp>
        <p:nvSpPr>
          <p:cNvPr id="48" name="Rectangle: Rounded Corners 47">
            <a:extLst>
              <a:ext uri="{FF2B5EF4-FFF2-40B4-BE49-F238E27FC236}">
                <a16:creationId xmlns:a16="http://schemas.microsoft.com/office/drawing/2014/main" id="{B01364BC-ED4B-4082-AA0A-36E14785331E}"/>
              </a:ext>
            </a:extLst>
          </p:cNvPr>
          <p:cNvSpPr/>
          <p:nvPr/>
        </p:nvSpPr>
        <p:spPr>
          <a:xfrm>
            <a:off x="1656682" y="5532218"/>
            <a:ext cx="1113946" cy="667928"/>
          </a:xfrm>
          <a:prstGeom prst="roundRect">
            <a:avLst/>
          </a:prstGeom>
          <a:solidFill>
            <a:srgbClr val="FFFFFF"/>
          </a:solidFill>
          <a:ln w="12700" cap="flat" cmpd="sng" algn="ctr">
            <a:solidFill>
              <a:srgbClr val="0070C0"/>
            </a:solid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a:ln>
                  <a:noFill/>
                </a:ln>
                <a:solidFill>
                  <a:srgbClr val="000000"/>
                </a:solidFill>
                <a:effectLst/>
                <a:uLnTx/>
                <a:uFillTx/>
                <a:latin typeface="Segoe UI Semibold"/>
              </a:rPr>
              <a:t>Data File</a:t>
            </a:r>
          </a:p>
        </p:txBody>
      </p:sp>
      <p:sp>
        <p:nvSpPr>
          <p:cNvPr id="49" name="Rectangle: Rounded Corners 48">
            <a:extLst>
              <a:ext uri="{FF2B5EF4-FFF2-40B4-BE49-F238E27FC236}">
                <a16:creationId xmlns:a16="http://schemas.microsoft.com/office/drawing/2014/main" id="{F39D143D-E8EB-46A7-902A-E173B9DAC06A}"/>
              </a:ext>
            </a:extLst>
          </p:cNvPr>
          <p:cNvSpPr/>
          <p:nvPr/>
        </p:nvSpPr>
        <p:spPr>
          <a:xfrm>
            <a:off x="3988191" y="5532218"/>
            <a:ext cx="1113946" cy="667928"/>
          </a:xfrm>
          <a:prstGeom prst="roundRect">
            <a:avLst/>
          </a:prstGeom>
          <a:solidFill>
            <a:srgbClr val="FFFFFF"/>
          </a:solidFill>
          <a:ln w="12700" cap="flat" cmpd="sng" algn="ctr">
            <a:solidFill>
              <a:srgbClr val="0070C0"/>
            </a:solid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a:ln>
                  <a:noFill/>
                </a:ln>
                <a:solidFill>
                  <a:srgbClr val="000000"/>
                </a:solidFill>
                <a:effectLst/>
                <a:uLnTx/>
                <a:uFillTx/>
                <a:latin typeface="Segoe UI Semibold"/>
              </a:rPr>
              <a:t>Data File</a:t>
            </a:r>
          </a:p>
        </p:txBody>
      </p:sp>
      <p:sp>
        <p:nvSpPr>
          <p:cNvPr id="50" name="Rectangle: Rounded Corners 49">
            <a:extLst>
              <a:ext uri="{FF2B5EF4-FFF2-40B4-BE49-F238E27FC236}">
                <a16:creationId xmlns:a16="http://schemas.microsoft.com/office/drawing/2014/main" id="{0D406352-E44B-4461-B253-FEB5AAB5399B}"/>
              </a:ext>
            </a:extLst>
          </p:cNvPr>
          <p:cNvSpPr/>
          <p:nvPr/>
        </p:nvSpPr>
        <p:spPr>
          <a:xfrm>
            <a:off x="2822436" y="5543084"/>
            <a:ext cx="1113946" cy="659445"/>
          </a:xfrm>
          <a:prstGeom prst="roundRect">
            <a:avLst/>
          </a:prstGeom>
          <a:solidFill>
            <a:srgbClr val="FFFFFF"/>
          </a:solidFill>
          <a:ln w="12700" cap="flat" cmpd="sng" algn="ctr">
            <a:solidFill>
              <a:srgbClr val="0070C0"/>
            </a:solid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a:ln>
                  <a:noFill/>
                </a:ln>
                <a:solidFill>
                  <a:srgbClr val="000000"/>
                </a:solidFill>
                <a:effectLst/>
                <a:uLnTx/>
                <a:uFillTx/>
                <a:latin typeface="Segoe UI Semibold"/>
              </a:rPr>
              <a:t>Data File</a:t>
            </a:r>
          </a:p>
        </p:txBody>
      </p:sp>
      <p:cxnSp>
        <p:nvCxnSpPr>
          <p:cNvPr id="51" name="Straight Arrow Connector 50">
            <a:extLst>
              <a:ext uri="{FF2B5EF4-FFF2-40B4-BE49-F238E27FC236}">
                <a16:creationId xmlns:a16="http://schemas.microsoft.com/office/drawing/2014/main" id="{B4730560-1AC6-4003-AA19-BD16540AD008}"/>
              </a:ext>
            </a:extLst>
          </p:cNvPr>
          <p:cNvCxnSpPr>
            <a:stCxn id="37" idx="2"/>
            <a:endCxn id="48" idx="0"/>
          </p:cNvCxnSpPr>
          <p:nvPr/>
        </p:nvCxnSpPr>
        <p:spPr>
          <a:xfrm>
            <a:off x="2213655" y="5216436"/>
            <a:ext cx="0" cy="315783"/>
          </a:xfrm>
          <a:prstGeom prst="straightConnector1">
            <a:avLst/>
          </a:prstGeom>
          <a:noFill/>
          <a:ln w="9525" cap="flat" cmpd="sng" algn="ctr">
            <a:solidFill>
              <a:srgbClr val="0070C0"/>
            </a:solidFill>
            <a:prstDash val="solid"/>
            <a:tailEnd type="triangle"/>
          </a:ln>
          <a:effectLst/>
        </p:spPr>
      </p:cxnSp>
      <p:cxnSp>
        <p:nvCxnSpPr>
          <p:cNvPr id="52" name="Straight Arrow Connector 51">
            <a:extLst>
              <a:ext uri="{FF2B5EF4-FFF2-40B4-BE49-F238E27FC236}">
                <a16:creationId xmlns:a16="http://schemas.microsoft.com/office/drawing/2014/main" id="{668BA6B4-2BF5-47C5-84C3-53165B061637}"/>
              </a:ext>
            </a:extLst>
          </p:cNvPr>
          <p:cNvCxnSpPr>
            <a:stCxn id="39" idx="2"/>
            <a:endCxn id="50" idx="0"/>
          </p:cNvCxnSpPr>
          <p:nvPr/>
        </p:nvCxnSpPr>
        <p:spPr>
          <a:xfrm>
            <a:off x="3379409" y="5216436"/>
            <a:ext cx="0" cy="326648"/>
          </a:xfrm>
          <a:prstGeom prst="straightConnector1">
            <a:avLst/>
          </a:prstGeom>
          <a:noFill/>
          <a:ln w="9525" cap="flat" cmpd="sng" algn="ctr">
            <a:solidFill>
              <a:srgbClr val="0070C0"/>
            </a:solidFill>
            <a:prstDash val="solid"/>
            <a:tailEnd type="triangle"/>
          </a:ln>
          <a:effectLst/>
        </p:spPr>
      </p:cxnSp>
      <p:cxnSp>
        <p:nvCxnSpPr>
          <p:cNvPr id="53" name="Straight Arrow Connector 52">
            <a:extLst>
              <a:ext uri="{FF2B5EF4-FFF2-40B4-BE49-F238E27FC236}">
                <a16:creationId xmlns:a16="http://schemas.microsoft.com/office/drawing/2014/main" id="{DE4DF61B-13E1-40F8-9B94-EB8DF1882094}"/>
              </a:ext>
            </a:extLst>
          </p:cNvPr>
          <p:cNvCxnSpPr>
            <a:stCxn id="38" idx="2"/>
            <a:endCxn id="49" idx="0"/>
          </p:cNvCxnSpPr>
          <p:nvPr/>
        </p:nvCxnSpPr>
        <p:spPr>
          <a:xfrm>
            <a:off x="4545164" y="5216436"/>
            <a:ext cx="0" cy="315783"/>
          </a:xfrm>
          <a:prstGeom prst="straightConnector1">
            <a:avLst/>
          </a:prstGeom>
          <a:noFill/>
          <a:ln w="9525" cap="flat" cmpd="sng" algn="ctr">
            <a:solidFill>
              <a:srgbClr val="0070C0"/>
            </a:solidFill>
            <a:prstDash val="solid"/>
            <a:tailEnd type="triangle"/>
          </a:ln>
          <a:effectLst/>
        </p:spPr>
      </p:cxnSp>
      <p:sp>
        <p:nvSpPr>
          <p:cNvPr id="54" name="TextBox 53">
            <a:extLst>
              <a:ext uri="{FF2B5EF4-FFF2-40B4-BE49-F238E27FC236}">
                <a16:creationId xmlns:a16="http://schemas.microsoft.com/office/drawing/2014/main" id="{D2666140-1842-489E-A63F-18AF0F32DF7A}"/>
              </a:ext>
            </a:extLst>
          </p:cNvPr>
          <p:cNvSpPr txBox="1"/>
          <p:nvPr/>
        </p:nvSpPr>
        <p:spPr>
          <a:xfrm>
            <a:off x="7748830" y="1394960"/>
            <a:ext cx="3760111" cy="4047518"/>
          </a:xfrm>
          <a:prstGeom prst="rect">
            <a:avLst/>
          </a:prstGeom>
          <a:noFill/>
        </p:spPr>
        <p:txBody>
          <a:bodyPr wrap="square" rtlCol="0">
            <a:spAutoFit/>
          </a:bodyPr>
          <a:lstStyle/>
          <a:p>
            <a:pPr marL="0" marR="0" lvl="0" indent="0" defTabSz="932573"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Primary compute write log to the </a:t>
            </a:r>
            <a:br>
              <a:rPr kumimoji="0" lang="en-US" sz="1836" b="0" i="0" u="none" strike="noStrike" kern="0" cap="none" spc="0" normalizeH="0" baseline="0" noProof="0">
                <a:ln>
                  <a:noFill/>
                </a:ln>
                <a:solidFill>
                  <a:srgbClr val="000000"/>
                </a:solidFill>
                <a:effectLst/>
                <a:uLnTx/>
                <a:uFillTx/>
              </a:rPr>
            </a:br>
            <a:r>
              <a:rPr kumimoji="0" lang="en-US" sz="1836" b="0" i="0" u="none" strike="noStrike" kern="0" cap="none" spc="0" normalizeH="0" baseline="0" noProof="0">
                <a:ln>
                  <a:noFill/>
                </a:ln>
                <a:solidFill>
                  <a:srgbClr val="000000"/>
                </a:solidFill>
                <a:effectLst/>
                <a:uLnTx/>
                <a:uFillTx/>
              </a:rPr>
              <a:t>log landing zone - &lt;2.5ms latency.</a:t>
            </a:r>
          </a:p>
          <a:p>
            <a:pPr marL="0" marR="0" lvl="0" indent="0" defTabSz="932573"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a:p>
            <a:pPr marL="0" marR="0" lvl="0" indent="0" defTabSz="932573"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Commit transactions after </a:t>
            </a:r>
            <a:br>
              <a:rPr kumimoji="0" lang="en-US" sz="1836" b="0" i="0" u="none" strike="noStrike" kern="0" cap="none" spc="0" normalizeH="0" baseline="0" noProof="0">
                <a:ln>
                  <a:noFill/>
                </a:ln>
                <a:solidFill>
                  <a:srgbClr val="000000"/>
                </a:solidFill>
                <a:effectLst/>
                <a:uLnTx/>
                <a:uFillTx/>
              </a:rPr>
            </a:br>
            <a:r>
              <a:rPr kumimoji="0" lang="en-US" sz="1836" b="0" i="0" u="none" strike="noStrike" kern="0" cap="none" spc="0" normalizeH="0" baseline="0" noProof="0">
                <a:ln>
                  <a:noFill/>
                </a:ln>
                <a:solidFill>
                  <a:srgbClr val="000000"/>
                </a:solidFill>
                <a:effectLst/>
                <a:uLnTx/>
                <a:uFillTx/>
              </a:rPr>
              <a:t>hardening the log.</a:t>
            </a:r>
          </a:p>
          <a:p>
            <a:pPr marL="0" marR="0" lvl="0" indent="0" defTabSz="932573"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a:p>
            <a:pPr marL="0" marR="0" lvl="0" indent="0" defTabSz="932573"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Async log apply to the secondary compute.</a:t>
            </a:r>
          </a:p>
          <a:p>
            <a:pPr marL="0" marR="0" lvl="0" indent="0" defTabSz="932573"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a:p>
            <a:pPr marL="0" marR="0" lvl="0" indent="0" defTabSz="932573"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Async log apply to page servers.</a:t>
            </a:r>
          </a:p>
          <a:p>
            <a:pPr marL="0" marR="0" lvl="0" indent="0" defTabSz="932573"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a:p>
            <a:pPr marL="0" marR="0" lvl="0" indent="0" defTabSz="932573"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Page server writes data to data files </a:t>
            </a:r>
            <a:br>
              <a:rPr kumimoji="0" lang="en-US" sz="1836" b="0" i="0" u="none" strike="noStrike" kern="0" cap="none" spc="0" normalizeH="0" baseline="0" noProof="0">
                <a:ln>
                  <a:noFill/>
                </a:ln>
                <a:solidFill>
                  <a:srgbClr val="000000"/>
                </a:solidFill>
                <a:effectLst/>
                <a:uLnTx/>
                <a:uFillTx/>
              </a:rPr>
            </a:br>
            <a:r>
              <a:rPr kumimoji="0" lang="en-US" sz="1836" b="0" i="0" u="none" strike="noStrike" kern="0" cap="none" spc="0" normalizeH="0" baseline="0" noProof="0">
                <a:ln>
                  <a:noFill/>
                </a:ln>
                <a:solidFill>
                  <a:srgbClr val="000000"/>
                </a:solidFill>
                <a:effectLst/>
                <a:uLnTx/>
                <a:uFillTx/>
              </a:rPr>
              <a:t>at checkpoints.</a:t>
            </a:r>
          </a:p>
        </p:txBody>
      </p:sp>
    </p:spTree>
    <p:extLst>
      <p:ext uri="{BB962C8B-B14F-4D97-AF65-F5344CB8AC3E}">
        <p14:creationId xmlns:p14="http://schemas.microsoft.com/office/powerpoint/2010/main" val="3912474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heel(1)">
                                      <p:cBhvr>
                                        <p:cTn id="7" dur="10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wipe(up)">
                                      <p:cBhvr>
                                        <p:cTn id="12" dur="500"/>
                                        <p:tgtEl>
                                          <p:spTgt spid="34"/>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33"/>
                                        </p:tgtEl>
                                        <p:attrNameLst>
                                          <p:attrName>style.visibility</p:attrName>
                                        </p:attrNameLst>
                                      </p:cBhvr>
                                      <p:to>
                                        <p:strVal val="visible"/>
                                      </p:to>
                                    </p:set>
                                    <p:animEffect transition="in" filter="wipe(left)">
                                      <p:cBhvr>
                                        <p:cTn id="16" dur="500"/>
                                        <p:tgtEl>
                                          <p:spTgt spid="33"/>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500"/>
                                        <p:tgtEl>
                                          <p:spTgt spid="45"/>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grpId="0" nodeType="click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wipe(down)">
                                      <p:cBhvr>
                                        <p:cTn id="25" dur="500"/>
                                        <p:tgtEl>
                                          <p:spTgt spid="46"/>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36"/>
                                        </p:tgtEl>
                                        <p:attrNameLst>
                                          <p:attrName>style.visibility</p:attrName>
                                        </p:attrNameLst>
                                      </p:cBhvr>
                                      <p:to>
                                        <p:strVal val="visible"/>
                                      </p:to>
                                    </p:set>
                                    <p:animEffect transition="in" filter="wipe(left)">
                                      <p:cBhvr>
                                        <p:cTn id="30" dur="500"/>
                                        <p:tgtEl>
                                          <p:spTgt spid="36"/>
                                        </p:tgtEl>
                                      </p:cBhvr>
                                    </p:animEffect>
                                  </p:childTnLst>
                                </p:cTn>
                              </p:par>
                            </p:childTnLst>
                          </p:cTn>
                        </p:par>
                        <p:par>
                          <p:cTn id="31" fill="hold">
                            <p:stCondLst>
                              <p:cond delay="500"/>
                            </p:stCondLst>
                            <p:childTnLst>
                              <p:par>
                                <p:cTn id="32" presetID="21" presetClass="entr" presetSubtype="1" fill="hold" grpId="0" nodeType="afterEffect">
                                  <p:stCondLst>
                                    <p:cond delay="0"/>
                                  </p:stCondLst>
                                  <p:childTnLst>
                                    <p:set>
                                      <p:cBhvr>
                                        <p:cTn id="33" dur="1" fill="hold">
                                          <p:stCondLst>
                                            <p:cond delay="0"/>
                                          </p:stCondLst>
                                        </p:cTn>
                                        <p:tgtEl>
                                          <p:spTgt spid="40"/>
                                        </p:tgtEl>
                                        <p:attrNameLst>
                                          <p:attrName>style.visibility</p:attrName>
                                        </p:attrNameLst>
                                      </p:cBhvr>
                                      <p:to>
                                        <p:strVal val="visible"/>
                                      </p:to>
                                    </p:set>
                                    <p:animEffect transition="in" filter="wheel(1)">
                                      <p:cBhvr>
                                        <p:cTn id="34" dur="1000"/>
                                        <p:tgtEl>
                                          <p:spTgt spid="40"/>
                                        </p:tgtEl>
                                      </p:cBhvr>
                                    </p:animEffect>
                                  </p:childTnLst>
                                </p:cTn>
                              </p:par>
                            </p:childTnLst>
                          </p:cTn>
                        </p:par>
                        <p:par>
                          <p:cTn id="35" fill="hold">
                            <p:stCondLst>
                              <p:cond delay="1500"/>
                            </p:stCondLst>
                            <p:childTnLst>
                              <p:par>
                                <p:cTn id="36" presetID="10" presetClass="entr" presetSubtype="0" fill="hold" grpId="0" nodeType="afterEffect">
                                  <p:stCondLst>
                                    <p:cond delay="0"/>
                                  </p:stCondLst>
                                  <p:childTnLst>
                                    <p:set>
                                      <p:cBhvr>
                                        <p:cTn id="37" dur="1" fill="hold">
                                          <p:stCondLst>
                                            <p:cond delay="0"/>
                                          </p:stCondLst>
                                        </p:cTn>
                                        <p:tgtEl>
                                          <p:spTgt spid="47"/>
                                        </p:tgtEl>
                                        <p:attrNameLst>
                                          <p:attrName>style.visibility</p:attrName>
                                        </p:attrNameLst>
                                      </p:cBhvr>
                                      <p:to>
                                        <p:strVal val="visible"/>
                                      </p:to>
                                    </p:set>
                                    <p:animEffect transition="in" filter="fade">
                                      <p:cBhvr>
                                        <p:cTn id="38" dur="500"/>
                                        <p:tgtEl>
                                          <p:spTgt spid="47"/>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4" fill="hold" nodeType="clickEffect">
                                  <p:stCondLst>
                                    <p:cond delay="0"/>
                                  </p:stCondLst>
                                  <p:childTnLst>
                                    <p:set>
                                      <p:cBhvr>
                                        <p:cTn id="42" dur="1" fill="hold">
                                          <p:stCondLst>
                                            <p:cond delay="0"/>
                                          </p:stCondLst>
                                        </p:cTn>
                                        <p:tgtEl>
                                          <p:spTgt spid="43"/>
                                        </p:tgtEl>
                                        <p:attrNameLst>
                                          <p:attrName>style.visibility</p:attrName>
                                        </p:attrNameLst>
                                      </p:cBhvr>
                                      <p:to>
                                        <p:strVal val="visible"/>
                                      </p:to>
                                    </p:set>
                                    <p:animEffect transition="in" filter="wipe(down)">
                                      <p:cBhvr>
                                        <p:cTn id="43" dur="500"/>
                                        <p:tgtEl>
                                          <p:spTgt spid="43"/>
                                        </p:tgtEl>
                                      </p:cBhvr>
                                    </p:animEffect>
                                  </p:childTnLst>
                                </p:cTn>
                              </p:par>
                            </p:childTnLst>
                          </p:cTn>
                        </p:par>
                        <p:par>
                          <p:cTn id="44" fill="hold">
                            <p:stCondLst>
                              <p:cond delay="500"/>
                            </p:stCondLst>
                            <p:childTnLst>
                              <p:par>
                                <p:cTn id="45" presetID="21" presetClass="entr" presetSubtype="1" fill="hold" grpId="0" nodeType="afterEffect">
                                  <p:stCondLst>
                                    <p:cond delay="0"/>
                                  </p:stCondLst>
                                  <p:childTnLst>
                                    <p:set>
                                      <p:cBhvr>
                                        <p:cTn id="46" dur="1" fill="hold">
                                          <p:stCondLst>
                                            <p:cond delay="0"/>
                                          </p:stCondLst>
                                        </p:cTn>
                                        <p:tgtEl>
                                          <p:spTgt spid="35"/>
                                        </p:tgtEl>
                                        <p:attrNameLst>
                                          <p:attrName>style.visibility</p:attrName>
                                        </p:attrNameLst>
                                      </p:cBhvr>
                                      <p:to>
                                        <p:strVal val="visible"/>
                                      </p:to>
                                    </p:set>
                                    <p:animEffect transition="in" filter="wheel(1)">
                                      <p:cBhvr>
                                        <p:cTn id="47" dur="1000"/>
                                        <p:tgtEl>
                                          <p:spTgt spid="35"/>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1" fill="hold" nodeType="clickEffect">
                                  <p:stCondLst>
                                    <p:cond delay="0"/>
                                  </p:stCondLst>
                                  <p:childTnLst>
                                    <p:set>
                                      <p:cBhvr>
                                        <p:cTn id="51" dur="1" fill="hold">
                                          <p:stCondLst>
                                            <p:cond delay="0"/>
                                          </p:stCondLst>
                                        </p:cTn>
                                        <p:tgtEl>
                                          <p:spTgt spid="44"/>
                                        </p:tgtEl>
                                        <p:attrNameLst>
                                          <p:attrName>style.visibility</p:attrName>
                                        </p:attrNameLst>
                                      </p:cBhvr>
                                      <p:to>
                                        <p:strVal val="visible"/>
                                      </p:to>
                                    </p:set>
                                    <p:animEffect transition="in" filter="wipe(up)">
                                      <p:cBhvr>
                                        <p:cTn id="52" dur="500"/>
                                        <p:tgtEl>
                                          <p:spTgt spid="44"/>
                                        </p:tgtEl>
                                      </p:cBhvr>
                                    </p:animEffect>
                                  </p:childTnLst>
                                </p:cTn>
                              </p:par>
                            </p:childTnLst>
                          </p:cTn>
                        </p:par>
                        <p:par>
                          <p:cTn id="53" fill="hold">
                            <p:stCondLst>
                              <p:cond delay="500"/>
                            </p:stCondLst>
                            <p:childTnLst>
                              <p:par>
                                <p:cTn id="54" presetID="21" presetClass="entr" presetSubtype="1" fill="hold" grpId="0" nodeType="after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wheel(1)">
                                      <p:cBhvr>
                                        <p:cTn id="56" dur="1000"/>
                                        <p:tgtEl>
                                          <p:spTgt spid="37"/>
                                        </p:tgtEl>
                                      </p:cBhvr>
                                    </p:animEffect>
                                  </p:childTnLst>
                                </p:cTn>
                              </p:par>
                              <p:par>
                                <p:cTn id="57" presetID="21" presetClass="entr" presetSubtype="1" fill="hold" grpId="0" nodeType="withEffect">
                                  <p:stCondLst>
                                    <p:cond delay="0"/>
                                  </p:stCondLst>
                                  <p:childTnLst>
                                    <p:set>
                                      <p:cBhvr>
                                        <p:cTn id="58" dur="1" fill="hold">
                                          <p:stCondLst>
                                            <p:cond delay="0"/>
                                          </p:stCondLst>
                                        </p:cTn>
                                        <p:tgtEl>
                                          <p:spTgt spid="38"/>
                                        </p:tgtEl>
                                        <p:attrNameLst>
                                          <p:attrName>style.visibility</p:attrName>
                                        </p:attrNameLst>
                                      </p:cBhvr>
                                      <p:to>
                                        <p:strVal val="visible"/>
                                      </p:to>
                                    </p:set>
                                    <p:animEffect transition="in" filter="wheel(1)">
                                      <p:cBhvr>
                                        <p:cTn id="59" dur="1000"/>
                                        <p:tgtEl>
                                          <p:spTgt spid="38"/>
                                        </p:tgtEl>
                                      </p:cBhvr>
                                    </p:animEffect>
                                  </p:childTnLst>
                                </p:cTn>
                              </p:par>
                              <p:par>
                                <p:cTn id="60" presetID="21" presetClass="entr" presetSubtype="1" fill="hold" grpId="0" nodeType="withEffect">
                                  <p:stCondLst>
                                    <p:cond delay="0"/>
                                  </p:stCondLst>
                                  <p:childTnLst>
                                    <p:set>
                                      <p:cBhvr>
                                        <p:cTn id="61" dur="1" fill="hold">
                                          <p:stCondLst>
                                            <p:cond delay="0"/>
                                          </p:stCondLst>
                                        </p:cTn>
                                        <p:tgtEl>
                                          <p:spTgt spid="39"/>
                                        </p:tgtEl>
                                        <p:attrNameLst>
                                          <p:attrName>style.visibility</p:attrName>
                                        </p:attrNameLst>
                                      </p:cBhvr>
                                      <p:to>
                                        <p:strVal val="visible"/>
                                      </p:to>
                                    </p:set>
                                    <p:animEffect transition="in" filter="wheel(1)">
                                      <p:cBhvr>
                                        <p:cTn id="62" dur="1000"/>
                                        <p:tgtEl>
                                          <p:spTgt spid="39"/>
                                        </p:tgtEl>
                                      </p:cBhvr>
                                    </p:animEffect>
                                  </p:childTnLst>
                                </p:cTn>
                              </p:par>
                              <p:par>
                                <p:cTn id="63" presetID="21" presetClass="entr" presetSubtype="1" fill="hold" grpId="0" nodeType="withEffect">
                                  <p:stCondLst>
                                    <p:cond delay="0"/>
                                  </p:stCondLst>
                                  <p:childTnLst>
                                    <p:set>
                                      <p:cBhvr>
                                        <p:cTn id="64" dur="1" fill="hold">
                                          <p:stCondLst>
                                            <p:cond delay="0"/>
                                          </p:stCondLst>
                                        </p:cTn>
                                        <p:tgtEl>
                                          <p:spTgt spid="30"/>
                                        </p:tgtEl>
                                        <p:attrNameLst>
                                          <p:attrName>style.visibility</p:attrName>
                                        </p:attrNameLst>
                                      </p:cBhvr>
                                      <p:to>
                                        <p:strVal val="visible"/>
                                      </p:to>
                                    </p:set>
                                    <p:animEffect transition="in" filter="wheel(1)">
                                      <p:cBhvr>
                                        <p:cTn id="65" dur="1000"/>
                                        <p:tgtEl>
                                          <p:spTgt spid="30"/>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1" fill="hold" nodeType="clickEffect">
                                  <p:stCondLst>
                                    <p:cond delay="0"/>
                                  </p:stCondLst>
                                  <p:childTnLst>
                                    <p:set>
                                      <p:cBhvr>
                                        <p:cTn id="69" dur="1" fill="hold">
                                          <p:stCondLst>
                                            <p:cond delay="0"/>
                                          </p:stCondLst>
                                        </p:cTn>
                                        <p:tgtEl>
                                          <p:spTgt spid="51"/>
                                        </p:tgtEl>
                                        <p:attrNameLst>
                                          <p:attrName>style.visibility</p:attrName>
                                        </p:attrNameLst>
                                      </p:cBhvr>
                                      <p:to>
                                        <p:strVal val="visible"/>
                                      </p:to>
                                    </p:set>
                                    <p:animEffect transition="in" filter="wipe(up)">
                                      <p:cBhvr>
                                        <p:cTn id="70" dur="500"/>
                                        <p:tgtEl>
                                          <p:spTgt spid="51"/>
                                        </p:tgtEl>
                                      </p:cBhvr>
                                    </p:animEffect>
                                  </p:childTnLst>
                                </p:cTn>
                              </p:par>
                              <p:par>
                                <p:cTn id="71" presetID="22" presetClass="entr" presetSubtype="1" fill="hold" nodeType="withEffect">
                                  <p:stCondLst>
                                    <p:cond delay="0"/>
                                  </p:stCondLst>
                                  <p:childTnLst>
                                    <p:set>
                                      <p:cBhvr>
                                        <p:cTn id="72" dur="1" fill="hold">
                                          <p:stCondLst>
                                            <p:cond delay="0"/>
                                          </p:stCondLst>
                                        </p:cTn>
                                        <p:tgtEl>
                                          <p:spTgt spid="52"/>
                                        </p:tgtEl>
                                        <p:attrNameLst>
                                          <p:attrName>style.visibility</p:attrName>
                                        </p:attrNameLst>
                                      </p:cBhvr>
                                      <p:to>
                                        <p:strVal val="visible"/>
                                      </p:to>
                                    </p:set>
                                    <p:animEffect transition="in" filter="wipe(up)">
                                      <p:cBhvr>
                                        <p:cTn id="73" dur="500"/>
                                        <p:tgtEl>
                                          <p:spTgt spid="52"/>
                                        </p:tgtEl>
                                      </p:cBhvr>
                                    </p:animEffect>
                                  </p:childTnLst>
                                </p:cTn>
                              </p:par>
                              <p:par>
                                <p:cTn id="74" presetID="22" presetClass="entr" presetSubtype="1" fill="hold" nodeType="withEffect">
                                  <p:stCondLst>
                                    <p:cond delay="0"/>
                                  </p:stCondLst>
                                  <p:childTnLst>
                                    <p:set>
                                      <p:cBhvr>
                                        <p:cTn id="75" dur="1" fill="hold">
                                          <p:stCondLst>
                                            <p:cond delay="0"/>
                                          </p:stCondLst>
                                        </p:cTn>
                                        <p:tgtEl>
                                          <p:spTgt spid="53"/>
                                        </p:tgtEl>
                                        <p:attrNameLst>
                                          <p:attrName>style.visibility</p:attrName>
                                        </p:attrNameLst>
                                      </p:cBhvr>
                                      <p:to>
                                        <p:strVal val="visible"/>
                                      </p:to>
                                    </p:set>
                                    <p:animEffect transition="in" filter="wipe(up)">
                                      <p:cBhvr>
                                        <p:cTn id="76" dur="500"/>
                                        <p:tgtEl>
                                          <p:spTgt spid="53"/>
                                        </p:tgtEl>
                                      </p:cBhvr>
                                    </p:animEffect>
                                  </p:childTnLst>
                                </p:cTn>
                              </p:par>
                            </p:childTnLst>
                          </p:cTn>
                        </p:par>
                        <p:par>
                          <p:cTn id="77" fill="hold">
                            <p:stCondLst>
                              <p:cond delay="500"/>
                            </p:stCondLst>
                            <p:childTnLst>
                              <p:par>
                                <p:cTn id="78" presetID="21" presetClass="entr" presetSubtype="1"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wheel(1)">
                                      <p:cBhvr>
                                        <p:cTn id="80" dur="1000"/>
                                        <p:tgtEl>
                                          <p:spTgt spid="31"/>
                                        </p:tgtEl>
                                      </p:cBhvr>
                                    </p:animEffect>
                                  </p:childTnLst>
                                </p:cTn>
                              </p:par>
                              <p:par>
                                <p:cTn id="81" presetID="21" presetClass="entr" presetSubtype="1" fill="hold" grpId="0" nodeType="withEffect">
                                  <p:stCondLst>
                                    <p:cond delay="0"/>
                                  </p:stCondLst>
                                  <p:childTnLst>
                                    <p:set>
                                      <p:cBhvr>
                                        <p:cTn id="82" dur="1" fill="hold">
                                          <p:stCondLst>
                                            <p:cond delay="0"/>
                                          </p:stCondLst>
                                        </p:cTn>
                                        <p:tgtEl>
                                          <p:spTgt spid="48"/>
                                        </p:tgtEl>
                                        <p:attrNameLst>
                                          <p:attrName>style.visibility</p:attrName>
                                        </p:attrNameLst>
                                      </p:cBhvr>
                                      <p:to>
                                        <p:strVal val="visible"/>
                                      </p:to>
                                    </p:set>
                                    <p:animEffect transition="in" filter="wheel(1)">
                                      <p:cBhvr>
                                        <p:cTn id="83" dur="1000"/>
                                        <p:tgtEl>
                                          <p:spTgt spid="48"/>
                                        </p:tgtEl>
                                      </p:cBhvr>
                                    </p:animEffect>
                                  </p:childTnLst>
                                </p:cTn>
                              </p:par>
                              <p:par>
                                <p:cTn id="84" presetID="21" presetClass="entr" presetSubtype="1" fill="hold" grpId="0" nodeType="withEffect">
                                  <p:stCondLst>
                                    <p:cond delay="0"/>
                                  </p:stCondLst>
                                  <p:childTnLst>
                                    <p:set>
                                      <p:cBhvr>
                                        <p:cTn id="85" dur="1" fill="hold">
                                          <p:stCondLst>
                                            <p:cond delay="0"/>
                                          </p:stCondLst>
                                        </p:cTn>
                                        <p:tgtEl>
                                          <p:spTgt spid="49"/>
                                        </p:tgtEl>
                                        <p:attrNameLst>
                                          <p:attrName>style.visibility</p:attrName>
                                        </p:attrNameLst>
                                      </p:cBhvr>
                                      <p:to>
                                        <p:strVal val="visible"/>
                                      </p:to>
                                    </p:set>
                                    <p:animEffect transition="in" filter="wheel(1)">
                                      <p:cBhvr>
                                        <p:cTn id="86" dur="1000"/>
                                        <p:tgtEl>
                                          <p:spTgt spid="49"/>
                                        </p:tgtEl>
                                      </p:cBhvr>
                                    </p:animEffect>
                                  </p:childTnLst>
                                </p:cTn>
                              </p:par>
                              <p:par>
                                <p:cTn id="87" presetID="21" presetClass="entr" presetSubtype="1" fill="hold" grpId="0" nodeType="withEffect">
                                  <p:stCondLst>
                                    <p:cond delay="0"/>
                                  </p:stCondLst>
                                  <p:childTnLst>
                                    <p:set>
                                      <p:cBhvr>
                                        <p:cTn id="88" dur="1" fill="hold">
                                          <p:stCondLst>
                                            <p:cond delay="0"/>
                                          </p:stCondLst>
                                        </p:cTn>
                                        <p:tgtEl>
                                          <p:spTgt spid="50"/>
                                        </p:tgtEl>
                                        <p:attrNameLst>
                                          <p:attrName>style.visibility</p:attrName>
                                        </p:attrNameLst>
                                      </p:cBhvr>
                                      <p:to>
                                        <p:strVal val="visible"/>
                                      </p:to>
                                    </p:set>
                                    <p:animEffect transition="in" filter="wheel(1)">
                                      <p:cBhvr>
                                        <p:cTn id="89" dur="1000"/>
                                        <p:tgtEl>
                                          <p:spTgt spid="50"/>
                                        </p:tgtEl>
                                      </p:cBhvr>
                                    </p:animEffect>
                                  </p:childTnLst>
                                </p:cTn>
                              </p:par>
                            </p:childTnLst>
                          </p:cTn>
                        </p:par>
                      </p:childTnLst>
                    </p:cTn>
                  </p:par>
                  <p:par>
                    <p:cTn id="90" fill="hold">
                      <p:stCondLst>
                        <p:cond delay="indefinite"/>
                      </p:stCondLst>
                      <p:childTnLst>
                        <p:par>
                          <p:cTn id="91" fill="hold">
                            <p:stCondLst>
                              <p:cond delay="0"/>
                            </p:stCondLst>
                            <p:childTnLst>
                              <p:par>
                                <p:cTn id="92" presetID="22" presetClass="entr" presetSubtype="2" fill="hold" nodeType="clickEffect">
                                  <p:stCondLst>
                                    <p:cond delay="0"/>
                                  </p:stCondLst>
                                  <p:childTnLst>
                                    <p:set>
                                      <p:cBhvr>
                                        <p:cTn id="93" dur="1" fill="hold">
                                          <p:stCondLst>
                                            <p:cond delay="0"/>
                                          </p:stCondLst>
                                        </p:cTn>
                                        <p:tgtEl>
                                          <p:spTgt spid="42"/>
                                        </p:tgtEl>
                                        <p:attrNameLst>
                                          <p:attrName>style.visibility</p:attrName>
                                        </p:attrNameLst>
                                      </p:cBhvr>
                                      <p:to>
                                        <p:strVal val="visible"/>
                                      </p:to>
                                    </p:set>
                                    <p:animEffect transition="in" filter="wipe(right)">
                                      <p:cBhvr>
                                        <p:cTn id="94" dur="500"/>
                                        <p:tgtEl>
                                          <p:spTgt spid="42"/>
                                        </p:tgtEl>
                                      </p:cBhvr>
                                    </p:animEffect>
                                  </p:childTnLst>
                                </p:cTn>
                              </p:par>
                              <p:par>
                                <p:cTn id="95" presetID="22" presetClass="entr" presetSubtype="2" fill="hold" grpId="0" nodeType="withEffect">
                                  <p:stCondLst>
                                    <p:cond delay="0"/>
                                  </p:stCondLst>
                                  <p:childTnLst>
                                    <p:set>
                                      <p:cBhvr>
                                        <p:cTn id="96" dur="1" fill="hold">
                                          <p:stCondLst>
                                            <p:cond delay="0"/>
                                          </p:stCondLst>
                                        </p:cTn>
                                        <p:tgtEl>
                                          <p:spTgt spid="41"/>
                                        </p:tgtEl>
                                        <p:attrNameLst>
                                          <p:attrName>style.visibility</p:attrName>
                                        </p:attrNameLst>
                                      </p:cBhvr>
                                      <p:to>
                                        <p:strVal val="visible"/>
                                      </p:to>
                                    </p:set>
                                    <p:animEffect transition="in" filter="wipe(right)">
                                      <p:cBhvr>
                                        <p:cTn id="97" dur="500"/>
                                        <p:tgtEl>
                                          <p:spTgt spid="41"/>
                                        </p:tgtEl>
                                      </p:cBhvr>
                                    </p:animEffect>
                                  </p:childTnLst>
                                </p:cTn>
                              </p:par>
                              <p:par>
                                <p:cTn id="98" presetID="10" presetClass="entr" presetSubtype="0" fill="hold" nodeType="withEffect">
                                  <p:stCondLst>
                                    <p:cond delay="0"/>
                                  </p:stCondLst>
                                  <p:childTnLst>
                                    <p:set>
                                      <p:cBhvr>
                                        <p:cTn id="99" dur="1" fill="hold">
                                          <p:stCondLst>
                                            <p:cond delay="0"/>
                                          </p:stCondLst>
                                        </p:cTn>
                                        <p:tgtEl>
                                          <p:spTgt spid="54">
                                            <p:txEl>
                                              <p:pRg st="0" end="0"/>
                                            </p:txEl>
                                          </p:spTgt>
                                        </p:tgtEl>
                                        <p:attrNameLst>
                                          <p:attrName>style.visibility</p:attrName>
                                        </p:attrNameLst>
                                      </p:cBhvr>
                                      <p:to>
                                        <p:strVal val="visible"/>
                                      </p:to>
                                    </p:set>
                                    <p:animEffect transition="in" filter="fade">
                                      <p:cBhvr>
                                        <p:cTn id="100" dur="500"/>
                                        <p:tgtEl>
                                          <p:spTgt spid="54">
                                            <p:txEl>
                                              <p:pRg st="0" end="0"/>
                                            </p:txEl>
                                          </p:spTgt>
                                        </p:tgtEl>
                                      </p:cBhvr>
                                    </p:animEffect>
                                  </p:childTnLst>
                                </p:cTn>
                              </p:par>
                              <p:par>
                                <p:cTn id="101" presetID="10" presetClass="entr" presetSubtype="0" fill="hold" nodeType="withEffect">
                                  <p:stCondLst>
                                    <p:cond delay="0"/>
                                  </p:stCondLst>
                                  <p:childTnLst>
                                    <p:set>
                                      <p:cBhvr>
                                        <p:cTn id="102" dur="1" fill="hold">
                                          <p:stCondLst>
                                            <p:cond delay="0"/>
                                          </p:stCondLst>
                                        </p:cTn>
                                        <p:tgtEl>
                                          <p:spTgt spid="54">
                                            <p:txEl>
                                              <p:pRg st="2" end="2"/>
                                            </p:txEl>
                                          </p:spTgt>
                                        </p:tgtEl>
                                        <p:attrNameLst>
                                          <p:attrName>style.visibility</p:attrName>
                                        </p:attrNameLst>
                                      </p:cBhvr>
                                      <p:to>
                                        <p:strVal val="visible"/>
                                      </p:to>
                                    </p:set>
                                    <p:animEffect transition="in" filter="fade">
                                      <p:cBhvr>
                                        <p:cTn id="103" dur="500"/>
                                        <p:tgtEl>
                                          <p:spTgt spid="54">
                                            <p:txEl>
                                              <p:pRg st="2" end="2"/>
                                            </p:txEl>
                                          </p:spTgt>
                                        </p:tgtEl>
                                      </p:cBhvr>
                                    </p:animEffect>
                                  </p:childTnLst>
                                </p:cTn>
                              </p:par>
                              <p:par>
                                <p:cTn id="104" presetID="10" presetClass="entr" presetSubtype="0" fill="hold" nodeType="withEffect">
                                  <p:stCondLst>
                                    <p:cond delay="0"/>
                                  </p:stCondLst>
                                  <p:childTnLst>
                                    <p:set>
                                      <p:cBhvr>
                                        <p:cTn id="105" dur="1" fill="hold">
                                          <p:stCondLst>
                                            <p:cond delay="0"/>
                                          </p:stCondLst>
                                        </p:cTn>
                                        <p:tgtEl>
                                          <p:spTgt spid="54">
                                            <p:txEl>
                                              <p:pRg st="4" end="4"/>
                                            </p:txEl>
                                          </p:spTgt>
                                        </p:tgtEl>
                                        <p:attrNameLst>
                                          <p:attrName>style.visibility</p:attrName>
                                        </p:attrNameLst>
                                      </p:cBhvr>
                                      <p:to>
                                        <p:strVal val="visible"/>
                                      </p:to>
                                    </p:set>
                                    <p:animEffect transition="in" filter="fade">
                                      <p:cBhvr>
                                        <p:cTn id="106" dur="500"/>
                                        <p:tgtEl>
                                          <p:spTgt spid="54">
                                            <p:txEl>
                                              <p:pRg st="4" end="4"/>
                                            </p:txEl>
                                          </p:spTgt>
                                        </p:tgtEl>
                                      </p:cBhvr>
                                    </p:animEffect>
                                  </p:childTnLst>
                                </p:cTn>
                              </p:par>
                              <p:par>
                                <p:cTn id="107" presetID="10" presetClass="entr" presetSubtype="0" fill="hold" nodeType="withEffect">
                                  <p:stCondLst>
                                    <p:cond delay="0"/>
                                  </p:stCondLst>
                                  <p:childTnLst>
                                    <p:set>
                                      <p:cBhvr>
                                        <p:cTn id="108" dur="1" fill="hold">
                                          <p:stCondLst>
                                            <p:cond delay="0"/>
                                          </p:stCondLst>
                                        </p:cTn>
                                        <p:tgtEl>
                                          <p:spTgt spid="54">
                                            <p:txEl>
                                              <p:pRg st="6" end="6"/>
                                            </p:txEl>
                                          </p:spTgt>
                                        </p:tgtEl>
                                        <p:attrNameLst>
                                          <p:attrName>style.visibility</p:attrName>
                                        </p:attrNameLst>
                                      </p:cBhvr>
                                      <p:to>
                                        <p:strVal val="visible"/>
                                      </p:to>
                                    </p:set>
                                    <p:animEffect transition="in" filter="fade">
                                      <p:cBhvr>
                                        <p:cTn id="109" dur="500"/>
                                        <p:tgtEl>
                                          <p:spTgt spid="54">
                                            <p:txEl>
                                              <p:pRg st="6" end="6"/>
                                            </p:txEl>
                                          </p:spTgt>
                                        </p:tgtEl>
                                      </p:cBhvr>
                                    </p:animEffect>
                                  </p:childTnLst>
                                </p:cTn>
                              </p:par>
                              <p:par>
                                <p:cTn id="110" presetID="10" presetClass="entr" presetSubtype="0" fill="hold" nodeType="withEffect">
                                  <p:stCondLst>
                                    <p:cond delay="0"/>
                                  </p:stCondLst>
                                  <p:childTnLst>
                                    <p:set>
                                      <p:cBhvr>
                                        <p:cTn id="111" dur="1" fill="hold">
                                          <p:stCondLst>
                                            <p:cond delay="0"/>
                                          </p:stCondLst>
                                        </p:cTn>
                                        <p:tgtEl>
                                          <p:spTgt spid="54">
                                            <p:txEl>
                                              <p:pRg st="8" end="8"/>
                                            </p:txEl>
                                          </p:spTgt>
                                        </p:tgtEl>
                                        <p:attrNameLst>
                                          <p:attrName>style.visibility</p:attrName>
                                        </p:attrNameLst>
                                      </p:cBhvr>
                                      <p:to>
                                        <p:strVal val="visible"/>
                                      </p:to>
                                    </p:set>
                                    <p:animEffect transition="in" filter="fade">
                                      <p:cBhvr>
                                        <p:cTn id="112" dur="500"/>
                                        <p:tgtEl>
                                          <p:spTgt spid="5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P spid="33" grpId="0" animBg="1"/>
      <p:bldP spid="35" grpId="0" animBg="1"/>
      <p:bldP spid="37" grpId="0" animBg="1"/>
      <p:bldP spid="38" grpId="0" animBg="1"/>
      <p:bldP spid="39" grpId="0" animBg="1"/>
      <p:bldP spid="40" grpId="0" animBg="1"/>
      <p:bldP spid="41" grpId="0" animBg="1"/>
      <p:bldP spid="45" grpId="0"/>
      <p:bldP spid="46" grpId="0" animBg="1"/>
      <p:bldP spid="47" grpId="0" animBg="1"/>
      <p:bldP spid="48" grpId="0" animBg="1"/>
      <p:bldP spid="49" grpId="0" animBg="1"/>
      <p:bldP spid="50" grpId="0" animBg="1"/>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Read IO</a:t>
            </a:r>
          </a:p>
        </p:txBody>
      </p:sp>
      <p:sp>
        <p:nvSpPr>
          <p:cNvPr id="5" name="Rectangle: Rounded Corners 4">
            <a:extLst>
              <a:ext uri="{FF2B5EF4-FFF2-40B4-BE49-F238E27FC236}">
                <a16:creationId xmlns:a16="http://schemas.microsoft.com/office/drawing/2014/main" id="{648960F2-D710-4705-A24E-4C05C0D0285D}"/>
              </a:ext>
            </a:extLst>
          </p:cNvPr>
          <p:cNvSpPr/>
          <p:nvPr/>
        </p:nvSpPr>
        <p:spPr>
          <a:xfrm>
            <a:off x="677407" y="2771333"/>
            <a:ext cx="2227886" cy="3151854"/>
          </a:xfrm>
          <a:prstGeom prst="roundRect">
            <a:avLst>
              <a:gd name="adj" fmla="val 8527"/>
            </a:avLst>
          </a:prstGeom>
          <a:noFill/>
          <a:ln w="12700" cap="flat" cmpd="sng" algn="ctr">
            <a:solidFill>
              <a:srgbClr val="4472C4">
                <a:shade val="50000"/>
              </a:srgbClr>
            </a:solidFill>
            <a:prstDash val="solid"/>
            <a:miter lim="800000"/>
          </a:ln>
          <a:effectLst/>
        </p:spPr>
        <p:txBody>
          <a:bodyPr rtlCol="0" anchor="t"/>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1" i="0" u="none" strike="noStrike" kern="0" cap="none" spc="0" normalizeH="0" baseline="0" noProof="0">
              <a:ln>
                <a:noFill/>
              </a:ln>
              <a:solidFill>
                <a:srgbClr val="000000"/>
              </a:solidFill>
              <a:effectLst/>
              <a:uLnTx/>
              <a:uFillTx/>
            </a:endParaRPr>
          </a:p>
        </p:txBody>
      </p:sp>
      <p:sp>
        <p:nvSpPr>
          <p:cNvPr id="6" name="Rectangle: Rounded Corners 5">
            <a:extLst>
              <a:ext uri="{FF2B5EF4-FFF2-40B4-BE49-F238E27FC236}">
                <a16:creationId xmlns:a16="http://schemas.microsoft.com/office/drawing/2014/main" id="{EDDF3216-0C76-4C81-81F5-920D7D639465}"/>
              </a:ext>
            </a:extLst>
          </p:cNvPr>
          <p:cNvSpPr/>
          <p:nvPr/>
        </p:nvSpPr>
        <p:spPr>
          <a:xfrm>
            <a:off x="907554" y="2980301"/>
            <a:ext cx="2227886" cy="3151854"/>
          </a:xfrm>
          <a:prstGeom prst="roundRect">
            <a:avLst>
              <a:gd name="adj" fmla="val 9690"/>
            </a:avLst>
          </a:prstGeom>
          <a:solidFill>
            <a:srgbClr val="FFFFFF"/>
          </a:solidFill>
          <a:ln w="12700" cap="flat" cmpd="sng" algn="ctr">
            <a:solidFill>
              <a:srgbClr val="4472C4">
                <a:shade val="50000"/>
              </a:srgbClr>
            </a:solidFill>
            <a:prstDash val="solid"/>
            <a:miter lim="800000"/>
          </a:ln>
          <a:effectLst/>
        </p:spPr>
        <p:txBody>
          <a:bodyPr rtlCol="0" anchor="t"/>
          <a:lstStyle/>
          <a:p>
            <a:pPr algn="ctr" defTabSz="1243431">
              <a:defRPr/>
            </a:pPr>
            <a:r>
              <a:rPr lang="en-US" sz="2040" b="1" kern="0">
                <a:solidFill>
                  <a:srgbClr val="000000"/>
                </a:solidFill>
                <a:latin typeface="Segoe UI Semibold"/>
              </a:rPr>
              <a:t>Page Server</a:t>
            </a:r>
          </a:p>
        </p:txBody>
      </p:sp>
      <p:sp>
        <p:nvSpPr>
          <p:cNvPr id="7" name="Rectangle 6">
            <a:extLst>
              <a:ext uri="{FF2B5EF4-FFF2-40B4-BE49-F238E27FC236}">
                <a16:creationId xmlns:a16="http://schemas.microsoft.com/office/drawing/2014/main" id="{5F9ED4D4-DD2C-45CE-8865-0430E02CB99E}"/>
              </a:ext>
            </a:extLst>
          </p:cNvPr>
          <p:cNvSpPr/>
          <p:nvPr/>
        </p:nvSpPr>
        <p:spPr>
          <a:xfrm>
            <a:off x="1170930" y="3855401"/>
            <a:ext cx="1744314" cy="1847937"/>
          </a:xfrm>
          <a:prstGeom prst="rect">
            <a:avLst/>
          </a:prstGeom>
          <a:solidFill>
            <a:srgbClr val="75757A"/>
          </a:solidFill>
          <a:ln w="12700" cap="flat" cmpd="sng" algn="ctr">
            <a:noFill/>
            <a:prstDash val="solid"/>
            <a:miter lim="800000"/>
          </a:ln>
          <a:effectLst/>
        </p:spPr>
        <p:txBody>
          <a:bodyPr rtlCol="0" anchor="t"/>
          <a:lstStyle/>
          <a:p>
            <a:pPr marL="0" marR="0" lvl="0" indent="0" algn="ctr" defTabSz="1243431"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a:ln>
                  <a:noFill/>
                </a:ln>
                <a:solidFill>
                  <a:prstClr val="white"/>
                </a:solidFill>
                <a:effectLst/>
                <a:uLnTx/>
                <a:uFillTx/>
              </a:rPr>
              <a:t>RBPEX</a:t>
            </a:r>
          </a:p>
        </p:txBody>
      </p:sp>
      <p:sp>
        <p:nvSpPr>
          <p:cNvPr id="8" name="Rectangle 7">
            <a:extLst>
              <a:ext uri="{FF2B5EF4-FFF2-40B4-BE49-F238E27FC236}">
                <a16:creationId xmlns:a16="http://schemas.microsoft.com/office/drawing/2014/main" id="{FB341D55-2AD7-4ED8-935F-9D242F0F8BA8}"/>
              </a:ext>
            </a:extLst>
          </p:cNvPr>
          <p:cNvSpPr/>
          <p:nvPr/>
        </p:nvSpPr>
        <p:spPr>
          <a:xfrm>
            <a:off x="1445098" y="4731251"/>
            <a:ext cx="233151" cy="319503"/>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9" name="Rectangle 8">
            <a:extLst>
              <a:ext uri="{FF2B5EF4-FFF2-40B4-BE49-F238E27FC236}">
                <a16:creationId xmlns:a16="http://schemas.microsoft.com/office/drawing/2014/main" id="{E9B946C4-DAEF-4CFE-8552-4E5319A2FB5A}"/>
              </a:ext>
            </a:extLst>
          </p:cNvPr>
          <p:cNvSpPr/>
          <p:nvPr/>
        </p:nvSpPr>
        <p:spPr>
          <a:xfrm>
            <a:off x="1768919" y="4731251"/>
            <a:ext cx="233151" cy="319503"/>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10" name="Rectangle 9">
            <a:extLst>
              <a:ext uri="{FF2B5EF4-FFF2-40B4-BE49-F238E27FC236}">
                <a16:creationId xmlns:a16="http://schemas.microsoft.com/office/drawing/2014/main" id="{A02B509C-35B9-40CD-829B-F28209A9B084}"/>
              </a:ext>
            </a:extLst>
          </p:cNvPr>
          <p:cNvSpPr/>
          <p:nvPr/>
        </p:nvSpPr>
        <p:spPr>
          <a:xfrm>
            <a:off x="2092739" y="4731251"/>
            <a:ext cx="233151" cy="319503"/>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11" name="Rectangle 10">
            <a:extLst>
              <a:ext uri="{FF2B5EF4-FFF2-40B4-BE49-F238E27FC236}">
                <a16:creationId xmlns:a16="http://schemas.microsoft.com/office/drawing/2014/main" id="{0E97386B-C314-42EB-85EA-ECA14F775054}"/>
              </a:ext>
            </a:extLst>
          </p:cNvPr>
          <p:cNvSpPr/>
          <p:nvPr/>
        </p:nvSpPr>
        <p:spPr>
          <a:xfrm>
            <a:off x="2416560" y="4731251"/>
            <a:ext cx="233151" cy="319503"/>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12" name="Rectangle 11">
            <a:extLst>
              <a:ext uri="{FF2B5EF4-FFF2-40B4-BE49-F238E27FC236}">
                <a16:creationId xmlns:a16="http://schemas.microsoft.com/office/drawing/2014/main" id="{589FC2AE-5687-426E-95E9-DCFF411AFA67}"/>
              </a:ext>
            </a:extLst>
          </p:cNvPr>
          <p:cNvSpPr/>
          <p:nvPr/>
        </p:nvSpPr>
        <p:spPr>
          <a:xfrm>
            <a:off x="1445098" y="5169185"/>
            <a:ext cx="233151" cy="319503"/>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13" name="Rectangle 12">
            <a:extLst>
              <a:ext uri="{FF2B5EF4-FFF2-40B4-BE49-F238E27FC236}">
                <a16:creationId xmlns:a16="http://schemas.microsoft.com/office/drawing/2014/main" id="{14929ED8-8CAC-4A2A-969C-B752C037E9D8}"/>
              </a:ext>
            </a:extLst>
          </p:cNvPr>
          <p:cNvSpPr/>
          <p:nvPr/>
        </p:nvSpPr>
        <p:spPr>
          <a:xfrm>
            <a:off x="1768919" y="5169185"/>
            <a:ext cx="233151" cy="319503"/>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14" name="Rectangle 13">
            <a:extLst>
              <a:ext uri="{FF2B5EF4-FFF2-40B4-BE49-F238E27FC236}">
                <a16:creationId xmlns:a16="http://schemas.microsoft.com/office/drawing/2014/main" id="{E2CECF42-F8F0-476C-BD4F-29FFEC4F4146}"/>
              </a:ext>
            </a:extLst>
          </p:cNvPr>
          <p:cNvSpPr/>
          <p:nvPr/>
        </p:nvSpPr>
        <p:spPr>
          <a:xfrm>
            <a:off x="2092739" y="5169185"/>
            <a:ext cx="233151" cy="319503"/>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15" name="Rectangle 14">
            <a:extLst>
              <a:ext uri="{FF2B5EF4-FFF2-40B4-BE49-F238E27FC236}">
                <a16:creationId xmlns:a16="http://schemas.microsoft.com/office/drawing/2014/main" id="{7F3F0D34-001E-4C21-9FC7-ED6B08377D32}"/>
              </a:ext>
            </a:extLst>
          </p:cNvPr>
          <p:cNvSpPr/>
          <p:nvPr/>
        </p:nvSpPr>
        <p:spPr>
          <a:xfrm>
            <a:off x="2416560" y="5169185"/>
            <a:ext cx="233151" cy="319503"/>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grpSp>
        <p:nvGrpSpPr>
          <p:cNvPr id="16" name="Group 15">
            <a:extLst>
              <a:ext uri="{FF2B5EF4-FFF2-40B4-BE49-F238E27FC236}">
                <a16:creationId xmlns:a16="http://schemas.microsoft.com/office/drawing/2014/main" id="{1575FD2D-A647-49CA-AE6E-76AE3D1DA640}"/>
              </a:ext>
            </a:extLst>
          </p:cNvPr>
          <p:cNvGrpSpPr/>
          <p:nvPr/>
        </p:nvGrpSpPr>
        <p:grpSpPr>
          <a:xfrm>
            <a:off x="3897499" y="3904268"/>
            <a:ext cx="2227886" cy="2227886"/>
            <a:chOff x="2792413" y="3020435"/>
            <a:chExt cx="1638300" cy="1638300"/>
          </a:xfrm>
        </p:grpSpPr>
        <p:sp>
          <p:nvSpPr>
            <p:cNvPr id="17" name="Rectangle 16">
              <a:extLst>
                <a:ext uri="{FF2B5EF4-FFF2-40B4-BE49-F238E27FC236}">
                  <a16:creationId xmlns:a16="http://schemas.microsoft.com/office/drawing/2014/main" id="{4A00589F-E7AA-469F-A10E-54C092A7BBCA}"/>
                </a:ext>
              </a:extLst>
            </p:cNvPr>
            <p:cNvSpPr/>
            <p:nvPr/>
          </p:nvSpPr>
          <p:spPr>
            <a:xfrm>
              <a:off x="2792413" y="3020435"/>
              <a:ext cx="1638300" cy="1638300"/>
            </a:xfrm>
            <a:prstGeom prst="rect">
              <a:avLst/>
            </a:prstGeom>
            <a:noFill/>
            <a:ln w="12700" cap="flat" cmpd="sng" algn="ctr">
              <a:solidFill>
                <a:srgbClr val="4472C4">
                  <a:shade val="50000"/>
                </a:srgbClr>
              </a:solidFill>
              <a:prstDash val="dash"/>
              <a:miter lim="800000"/>
            </a:ln>
            <a:effectLst/>
          </p:spPr>
          <p:txBody>
            <a:bodyPr rtlCol="0" anchor="t"/>
            <a:lstStyle/>
            <a:p>
              <a:pPr marL="0" marR="0" lvl="0" indent="0" algn="ctr" defTabSz="1243431"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prstClr val="black"/>
                  </a:solidFill>
                  <a:effectLst/>
                  <a:uLnTx/>
                  <a:uFillTx/>
                  <a:latin typeface="Segoe UI Semibold"/>
                </a:rPr>
                <a:t>Azure Storage</a:t>
              </a:r>
            </a:p>
          </p:txBody>
        </p:sp>
        <p:sp>
          <p:nvSpPr>
            <p:cNvPr id="18" name="Rectangle: Diagonal Corners Rounded 17">
              <a:extLst>
                <a:ext uri="{FF2B5EF4-FFF2-40B4-BE49-F238E27FC236}">
                  <a16:creationId xmlns:a16="http://schemas.microsoft.com/office/drawing/2014/main" id="{2FFEB388-B491-4A11-9806-AEE88F3C4F20}"/>
                </a:ext>
              </a:extLst>
            </p:cNvPr>
            <p:cNvSpPr/>
            <p:nvPr/>
          </p:nvSpPr>
          <p:spPr>
            <a:xfrm>
              <a:off x="3149599" y="3412665"/>
              <a:ext cx="1162051" cy="1155700"/>
            </a:xfrm>
            <a:prstGeom prst="round2DiagRect">
              <a:avLst>
                <a:gd name="adj1" fmla="val 10074"/>
                <a:gd name="adj2" fmla="val 0"/>
              </a:avLst>
            </a:prstGeom>
            <a:solidFill>
              <a:srgbClr val="0078D3"/>
            </a:solidFill>
            <a:ln w="12700" cap="flat" cmpd="sng" algn="ctr">
              <a:noFill/>
              <a:prstDash val="solid"/>
              <a:miter lim="800000"/>
            </a:ln>
            <a:effectLst/>
          </p:spPr>
          <p:txBody>
            <a:bodyPr rtlCol="0" anchor="t"/>
            <a:lstStyle/>
            <a:p>
              <a:pPr marL="0" marR="0" lvl="0" indent="0" algn="ctr" defTabSz="1243431"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a:ln>
                    <a:noFill/>
                  </a:ln>
                  <a:solidFill>
                    <a:prstClr val="white"/>
                  </a:solidFill>
                  <a:effectLst/>
                  <a:uLnTx/>
                  <a:uFillTx/>
                </a:rPr>
                <a:t>Data File</a:t>
              </a:r>
            </a:p>
          </p:txBody>
        </p:sp>
        <p:sp>
          <p:nvSpPr>
            <p:cNvPr id="19" name="Rectangle 18">
              <a:extLst>
                <a:ext uri="{FF2B5EF4-FFF2-40B4-BE49-F238E27FC236}">
                  <a16:creationId xmlns:a16="http://schemas.microsoft.com/office/drawing/2014/main" id="{E758AAB2-B98E-4433-8F12-AB1E44D0A936}"/>
                </a:ext>
              </a:extLst>
            </p:cNvPr>
            <p:cNvSpPr/>
            <p:nvPr/>
          </p:nvSpPr>
          <p:spPr>
            <a:xfrm>
              <a:off x="3287713" y="3878025"/>
              <a:ext cx="171450" cy="234950"/>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20" name="Rectangle 19">
              <a:extLst>
                <a:ext uri="{FF2B5EF4-FFF2-40B4-BE49-F238E27FC236}">
                  <a16:creationId xmlns:a16="http://schemas.microsoft.com/office/drawing/2014/main" id="{18D3038C-D8BF-46DD-A835-EE677E95EEEA}"/>
                </a:ext>
              </a:extLst>
            </p:cNvPr>
            <p:cNvSpPr/>
            <p:nvPr/>
          </p:nvSpPr>
          <p:spPr>
            <a:xfrm>
              <a:off x="3525838" y="3878025"/>
              <a:ext cx="171450" cy="234950"/>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21" name="Rectangle 20">
              <a:extLst>
                <a:ext uri="{FF2B5EF4-FFF2-40B4-BE49-F238E27FC236}">
                  <a16:creationId xmlns:a16="http://schemas.microsoft.com/office/drawing/2014/main" id="{3B28B185-F9AB-4409-9E1B-D70E3D7ABAF5}"/>
                </a:ext>
              </a:extLst>
            </p:cNvPr>
            <p:cNvSpPr/>
            <p:nvPr/>
          </p:nvSpPr>
          <p:spPr>
            <a:xfrm>
              <a:off x="3763963" y="3878025"/>
              <a:ext cx="171450" cy="234950"/>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22" name="Rectangle 21">
              <a:extLst>
                <a:ext uri="{FF2B5EF4-FFF2-40B4-BE49-F238E27FC236}">
                  <a16:creationId xmlns:a16="http://schemas.microsoft.com/office/drawing/2014/main" id="{7B2A37AB-0363-42A8-A3F2-3BFA21F5127E}"/>
                </a:ext>
              </a:extLst>
            </p:cNvPr>
            <p:cNvSpPr/>
            <p:nvPr/>
          </p:nvSpPr>
          <p:spPr>
            <a:xfrm>
              <a:off x="4002088" y="3878025"/>
              <a:ext cx="171450" cy="234950"/>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23" name="Rectangle 22">
              <a:extLst>
                <a:ext uri="{FF2B5EF4-FFF2-40B4-BE49-F238E27FC236}">
                  <a16:creationId xmlns:a16="http://schemas.microsoft.com/office/drawing/2014/main" id="{2C70EB03-AC53-4DC1-98D4-C0D484D42F03}"/>
                </a:ext>
              </a:extLst>
            </p:cNvPr>
            <p:cNvSpPr/>
            <p:nvPr/>
          </p:nvSpPr>
          <p:spPr>
            <a:xfrm>
              <a:off x="3287713" y="4200065"/>
              <a:ext cx="171450" cy="234950"/>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24" name="Rectangle 23">
              <a:extLst>
                <a:ext uri="{FF2B5EF4-FFF2-40B4-BE49-F238E27FC236}">
                  <a16:creationId xmlns:a16="http://schemas.microsoft.com/office/drawing/2014/main" id="{FD6AF479-6FB2-44CE-AC75-865917AE1A84}"/>
                </a:ext>
              </a:extLst>
            </p:cNvPr>
            <p:cNvSpPr/>
            <p:nvPr/>
          </p:nvSpPr>
          <p:spPr>
            <a:xfrm>
              <a:off x="3525838" y="4200065"/>
              <a:ext cx="171450" cy="234950"/>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25" name="Rectangle 24">
              <a:extLst>
                <a:ext uri="{FF2B5EF4-FFF2-40B4-BE49-F238E27FC236}">
                  <a16:creationId xmlns:a16="http://schemas.microsoft.com/office/drawing/2014/main" id="{F25722BD-E10F-4770-BC50-EEAF316ADBFB}"/>
                </a:ext>
              </a:extLst>
            </p:cNvPr>
            <p:cNvSpPr/>
            <p:nvPr/>
          </p:nvSpPr>
          <p:spPr>
            <a:xfrm>
              <a:off x="3763963" y="4200065"/>
              <a:ext cx="171450" cy="234950"/>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26" name="Rectangle 25">
              <a:extLst>
                <a:ext uri="{FF2B5EF4-FFF2-40B4-BE49-F238E27FC236}">
                  <a16:creationId xmlns:a16="http://schemas.microsoft.com/office/drawing/2014/main" id="{84835492-8126-48C0-AD1C-80C5EF5102A5}"/>
                </a:ext>
              </a:extLst>
            </p:cNvPr>
            <p:cNvSpPr/>
            <p:nvPr/>
          </p:nvSpPr>
          <p:spPr>
            <a:xfrm>
              <a:off x="4002088" y="4200065"/>
              <a:ext cx="171450" cy="234950"/>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grpSp>
      <p:sp>
        <p:nvSpPr>
          <p:cNvPr id="27" name="Rectangle: Rounded Corners 26">
            <a:extLst>
              <a:ext uri="{FF2B5EF4-FFF2-40B4-BE49-F238E27FC236}">
                <a16:creationId xmlns:a16="http://schemas.microsoft.com/office/drawing/2014/main" id="{2C27524F-3E01-4BEF-AFB4-7130EF28FA46}"/>
              </a:ext>
            </a:extLst>
          </p:cNvPr>
          <p:cNvSpPr/>
          <p:nvPr/>
        </p:nvSpPr>
        <p:spPr>
          <a:xfrm>
            <a:off x="4383229" y="1809140"/>
            <a:ext cx="1614787" cy="1910866"/>
          </a:xfrm>
          <a:prstGeom prst="roundRect">
            <a:avLst>
              <a:gd name="adj" fmla="val 8646"/>
            </a:avLst>
          </a:prstGeom>
          <a:noFill/>
          <a:ln w="12700" cap="flat" cmpd="sng" algn="ctr">
            <a:solidFill>
              <a:srgbClr val="4472C4">
                <a:shade val="50000"/>
              </a:srgbClr>
            </a:solidFill>
            <a:prstDash val="solid"/>
            <a:miter lim="800000"/>
          </a:ln>
          <a:effectLst/>
        </p:spPr>
        <p:txBody>
          <a:bodyPr rtlCol="0" anchor="t"/>
          <a:lstStyle/>
          <a:p>
            <a:pPr algn="ctr" defTabSz="1243431">
              <a:defRPr/>
            </a:pPr>
            <a:r>
              <a:rPr lang="en-US" sz="2040" b="1" kern="0">
                <a:solidFill>
                  <a:srgbClr val="000000"/>
                </a:solidFill>
                <a:latin typeface="Segoe UI Semibold"/>
              </a:rPr>
              <a:t>Compute</a:t>
            </a:r>
          </a:p>
        </p:txBody>
      </p:sp>
      <p:sp>
        <p:nvSpPr>
          <p:cNvPr id="28" name="Rectangle 27">
            <a:extLst>
              <a:ext uri="{FF2B5EF4-FFF2-40B4-BE49-F238E27FC236}">
                <a16:creationId xmlns:a16="http://schemas.microsoft.com/office/drawing/2014/main" id="{D40B245B-EE14-4DE2-8282-EAC72C1D33D2}"/>
              </a:ext>
            </a:extLst>
          </p:cNvPr>
          <p:cNvSpPr/>
          <p:nvPr/>
        </p:nvSpPr>
        <p:spPr>
          <a:xfrm>
            <a:off x="2416560" y="4731251"/>
            <a:ext cx="233151" cy="319503"/>
          </a:xfrm>
          <a:prstGeom prst="rect">
            <a:avLst/>
          </a:prstGeom>
          <a:solidFill>
            <a:srgbClr val="0078D3"/>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29" name="Arrow: Left 28">
            <a:extLst>
              <a:ext uri="{FF2B5EF4-FFF2-40B4-BE49-F238E27FC236}">
                <a16:creationId xmlns:a16="http://schemas.microsoft.com/office/drawing/2014/main" id="{2719EC51-A1C0-4710-9249-4671A6C998E7}"/>
              </a:ext>
            </a:extLst>
          </p:cNvPr>
          <p:cNvSpPr/>
          <p:nvPr/>
        </p:nvSpPr>
        <p:spPr>
          <a:xfrm rot="10800000" flipH="1">
            <a:off x="3241223" y="5033493"/>
            <a:ext cx="1053496" cy="590886"/>
          </a:xfrm>
          <a:prstGeom prst="leftArrow">
            <a:avLst/>
          </a:prstGeom>
          <a:solidFill>
            <a:srgbClr val="FFFFFF"/>
          </a:solidFill>
          <a:ln w="12700" cap="flat" cmpd="sng" algn="ctr">
            <a:solidFill>
              <a:srgbClr val="0078D3"/>
            </a:solid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0" name="Arrow: Left 29">
            <a:extLst>
              <a:ext uri="{FF2B5EF4-FFF2-40B4-BE49-F238E27FC236}">
                <a16:creationId xmlns:a16="http://schemas.microsoft.com/office/drawing/2014/main" id="{1B478718-4532-4715-A801-0CF4D19E14B6}"/>
              </a:ext>
            </a:extLst>
          </p:cNvPr>
          <p:cNvSpPr/>
          <p:nvPr/>
        </p:nvSpPr>
        <p:spPr>
          <a:xfrm>
            <a:off x="6058462" y="2763898"/>
            <a:ext cx="1053496" cy="856260"/>
          </a:xfrm>
          <a:prstGeom prst="leftArrow">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solidFill>
                  <a:srgbClr val="3C3C41"/>
                </a:solidFill>
                <a:effectLst/>
                <a:uLnTx/>
                <a:uFillTx/>
              </a:rPr>
              <a:t>Read request</a:t>
            </a:r>
          </a:p>
        </p:txBody>
      </p:sp>
      <p:sp>
        <p:nvSpPr>
          <p:cNvPr id="31" name="TextBox 30">
            <a:extLst>
              <a:ext uri="{FF2B5EF4-FFF2-40B4-BE49-F238E27FC236}">
                <a16:creationId xmlns:a16="http://schemas.microsoft.com/office/drawing/2014/main" id="{A5F5E7FD-9596-4FA5-8EEF-EF42481CD757}"/>
              </a:ext>
            </a:extLst>
          </p:cNvPr>
          <p:cNvSpPr txBox="1"/>
          <p:nvPr/>
        </p:nvSpPr>
        <p:spPr>
          <a:xfrm>
            <a:off x="4493329" y="1348750"/>
            <a:ext cx="1450716" cy="414353"/>
          </a:xfrm>
          <a:prstGeom prst="rect">
            <a:avLst/>
          </a:prstGeom>
          <a:noFill/>
        </p:spPr>
        <p:txBody>
          <a:bodyPr wrap="square" rtlCol="0">
            <a:spAutoFit/>
          </a:bodyPr>
          <a:lstStyle/>
          <a:p>
            <a:pPr marL="0" marR="0" lvl="0" indent="0" defTabSz="1243431" eaLnBrk="1" fontAlgn="auto" latinLnBrk="0" hangingPunct="1">
              <a:lnSpc>
                <a:spcPct val="100000"/>
              </a:lnSpc>
              <a:spcBef>
                <a:spcPts val="0"/>
              </a:spcBef>
              <a:spcAft>
                <a:spcPts val="0"/>
              </a:spcAft>
              <a:buClrTx/>
              <a:buSzTx/>
              <a:buFontTx/>
              <a:buNone/>
              <a:tabLst/>
              <a:defRPr/>
            </a:pPr>
            <a:r>
              <a:rPr kumimoji="0" lang="en-US" sz="2040" b="1" i="0" u="none" strike="noStrike" kern="0" cap="none" spc="0" normalizeH="0" baseline="0" noProof="0">
                <a:ln>
                  <a:noFill/>
                </a:ln>
                <a:solidFill>
                  <a:prstClr val="black"/>
                </a:solidFill>
                <a:effectLst/>
                <a:uLnTx/>
                <a:uFillTx/>
              </a:rPr>
              <a:t>Cache Hit</a:t>
            </a:r>
          </a:p>
        </p:txBody>
      </p:sp>
      <p:sp>
        <p:nvSpPr>
          <p:cNvPr id="32" name="Arrow: Left 31">
            <a:extLst>
              <a:ext uri="{FF2B5EF4-FFF2-40B4-BE49-F238E27FC236}">
                <a16:creationId xmlns:a16="http://schemas.microsoft.com/office/drawing/2014/main" id="{BC2A9929-3CFE-40BE-9535-ED449ACBDE9C}"/>
              </a:ext>
            </a:extLst>
          </p:cNvPr>
          <p:cNvSpPr/>
          <p:nvPr/>
        </p:nvSpPr>
        <p:spPr>
          <a:xfrm>
            <a:off x="6058462" y="2763009"/>
            <a:ext cx="1053496" cy="856260"/>
          </a:xfrm>
          <a:prstGeom prst="leftArrow">
            <a:avLst/>
          </a:prstGeom>
          <a:solidFill>
            <a:srgbClr val="75757A"/>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solidFill>
                  <a:prstClr val="white"/>
                </a:solidFill>
                <a:effectLst/>
                <a:uLnTx/>
                <a:uFillTx/>
              </a:rPr>
              <a:t>Read request</a:t>
            </a:r>
          </a:p>
        </p:txBody>
      </p:sp>
      <p:sp>
        <p:nvSpPr>
          <p:cNvPr id="33" name="TextBox 32">
            <a:extLst>
              <a:ext uri="{FF2B5EF4-FFF2-40B4-BE49-F238E27FC236}">
                <a16:creationId xmlns:a16="http://schemas.microsoft.com/office/drawing/2014/main" id="{2B672D20-F961-47C1-A317-214FA2599D94}"/>
              </a:ext>
            </a:extLst>
          </p:cNvPr>
          <p:cNvSpPr txBox="1"/>
          <p:nvPr/>
        </p:nvSpPr>
        <p:spPr>
          <a:xfrm>
            <a:off x="4488980" y="1340464"/>
            <a:ext cx="1601831" cy="414353"/>
          </a:xfrm>
          <a:prstGeom prst="rect">
            <a:avLst/>
          </a:prstGeom>
          <a:solidFill>
            <a:srgbClr val="FFFFFF"/>
          </a:solidFill>
        </p:spPr>
        <p:txBody>
          <a:bodyPr wrap="square" rtlCol="0">
            <a:spAutoFit/>
          </a:bodyPr>
          <a:lstStyle/>
          <a:p>
            <a:pPr marL="0" marR="0" lvl="0" indent="0" defTabSz="1243431" eaLnBrk="1" fontAlgn="auto" latinLnBrk="0" hangingPunct="1">
              <a:lnSpc>
                <a:spcPct val="100000"/>
              </a:lnSpc>
              <a:spcBef>
                <a:spcPts val="0"/>
              </a:spcBef>
              <a:spcAft>
                <a:spcPts val="0"/>
              </a:spcAft>
              <a:buClrTx/>
              <a:buSzTx/>
              <a:buFontTx/>
              <a:buNone/>
              <a:tabLst/>
              <a:defRPr/>
            </a:pPr>
            <a:r>
              <a:rPr kumimoji="0" lang="en-US" sz="2040" b="1" i="0" u="none" strike="noStrike" kern="0" cap="none" spc="0" normalizeH="0" baseline="0" noProof="0">
                <a:ln>
                  <a:noFill/>
                </a:ln>
                <a:solidFill>
                  <a:prstClr val="black"/>
                </a:solidFill>
                <a:effectLst/>
                <a:uLnTx/>
                <a:uFillTx/>
                <a:latin typeface="Segoe UI Semibold"/>
              </a:rPr>
              <a:t>Cache Miss</a:t>
            </a:r>
          </a:p>
        </p:txBody>
      </p:sp>
      <p:sp>
        <p:nvSpPr>
          <p:cNvPr id="34" name="Arrow: Left 33">
            <a:extLst>
              <a:ext uri="{FF2B5EF4-FFF2-40B4-BE49-F238E27FC236}">
                <a16:creationId xmlns:a16="http://schemas.microsoft.com/office/drawing/2014/main" id="{F84A8B63-9873-4248-938E-E0666430308D}"/>
              </a:ext>
            </a:extLst>
          </p:cNvPr>
          <p:cNvSpPr/>
          <p:nvPr/>
        </p:nvSpPr>
        <p:spPr>
          <a:xfrm>
            <a:off x="3226109" y="2739871"/>
            <a:ext cx="1053496" cy="856260"/>
          </a:xfrm>
          <a:prstGeom prst="leftArrow">
            <a:avLst/>
          </a:prstGeom>
          <a:solidFill>
            <a:srgbClr val="75757A"/>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solidFill>
                  <a:prstClr val="white"/>
                </a:solidFill>
                <a:effectLst/>
                <a:uLnTx/>
                <a:uFillTx/>
              </a:rPr>
              <a:t>Page request</a:t>
            </a:r>
          </a:p>
        </p:txBody>
      </p:sp>
      <p:sp>
        <p:nvSpPr>
          <p:cNvPr id="35" name="Rectangle 34">
            <a:extLst>
              <a:ext uri="{FF2B5EF4-FFF2-40B4-BE49-F238E27FC236}">
                <a16:creationId xmlns:a16="http://schemas.microsoft.com/office/drawing/2014/main" id="{D62F7DA1-8C30-49BF-915C-8E1EED0C7E00}"/>
              </a:ext>
            </a:extLst>
          </p:cNvPr>
          <p:cNvSpPr/>
          <p:nvPr/>
        </p:nvSpPr>
        <p:spPr>
          <a:xfrm>
            <a:off x="4491169" y="2441972"/>
            <a:ext cx="1398905" cy="1076655"/>
          </a:xfrm>
          <a:prstGeom prst="rect">
            <a:avLst/>
          </a:prstGeom>
          <a:solidFill>
            <a:srgbClr val="75757A"/>
          </a:solidFill>
          <a:ln w="12700" cap="flat" cmpd="sng" algn="ctr">
            <a:noFill/>
            <a:prstDash val="solid"/>
            <a:miter lim="800000"/>
          </a:ln>
          <a:effectLst/>
        </p:spPr>
        <p:txBody>
          <a:bodyPr rtlCol="0" anchor="t"/>
          <a:lstStyle/>
          <a:p>
            <a:pPr marL="0" marR="0" lvl="0" indent="0" algn="ctr" defTabSz="1243431"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a:ln>
                  <a:noFill/>
                </a:ln>
                <a:solidFill>
                  <a:prstClr val="white"/>
                </a:solidFill>
                <a:effectLst/>
                <a:uLnTx/>
                <a:uFillTx/>
              </a:rPr>
              <a:t>RBPEX</a:t>
            </a:r>
          </a:p>
        </p:txBody>
      </p:sp>
      <p:sp>
        <p:nvSpPr>
          <p:cNvPr id="36" name="Rectangle 35">
            <a:extLst>
              <a:ext uri="{FF2B5EF4-FFF2-40B4-BE49-F238E27FC236}">
                <a16:creationId xmlns:a16="http://schemas.microsoft.com/office/drawing/2014/main" id="{BFC0E118-879A-45A0-BEE6-C437D4FE73C3}"/>
              </a:ext>
            </a:extLst>
          </p:cNvPr>
          <p:cNvSpPr/>
          <p:nvPr/>
        </p:nvSpPr>
        <p:spPr>
          <a:xfrm>
            <a:off x="4571046" y="3006975"/>
            <a:ext cx="233151" cy="319503"/>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37" name="Rectangle 36">
            <a:extLst>
              <a:ext uri="{FF2B5EF4-FFF2-40B4-BE49-F238E27FC236}">
                <a16:creationId xmlns:a16="http://schemas.microsoft.com/office/drawing/2014/main" id="{97CE7372-E71F-43C2-AC3D-5FD059D08B01}"/>
              </a:ext>
            </a:extLst>
          </p:cNvPr>
          <p:cNvSpPr/>
          <p:nvPr/>
        </p:nvSpPr>
        <p:spPr>
          <a:xfrm>
            <a:off x="4894867" y="3006975"/>
            <a:ext cx="233151" cy="319503"/>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38" name="Rectangle 37">
            <a:extLst>
              <a:ext uri="{FF2B5EF4-FFF2-40B4-BE49-F238E27FC236}">
                <a16:creationId xmlns:a16="http://schemas.microsoft.com/office/drawing/2014/main" id="{44B34F95-425F-4B5A-86CE-0017BD57F01A}"/>
              </a:ext>
            </a:extLst>
          </p:cNvPr>
          <p:cNvSpPr/>
          <p:nvPr/>
        </p:nvSpPr>
        <p:spPr>
          <a:xfrm>
            <a:off x="5218687" y="3006975"/>
            <a:ext cx="233151" cy="319503"/>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39" name="Rectangle 38">
            <a:extLst>
              <a:ext uri="{FF2B5EF4-FFF2-40B4-BE49-F238E27FC236}">
                <a16:creationId xmlns:a16="http://schemas.microsoft.com/office/drawing/2014/main" id="{CDC5DFFA-903E-4360-8036-9AFD71F49303}"/>
              </a:ext>
            </a:extLst>
          </p:cNvPr>
          <p:cNvSpPr/>
          <p:nvPr/>
        </p:nvSpPr>
        <p:spPr>
          <a:xfrm>
            <a:off x="5542508" y="3006975"/>
            <a:ext cx="233151" cy="319503"/>
          </a:xfrm>
          <a:prstGeom prst="rect">
            <a:avLst/>
          </a:prstGeom>
          <a:solidFill>
            <a:srgbClr val="50E6FF"/>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40" name="Rectangle 39">
            <a:extLst>
              <a:ext uri="{FF2B5EF4-FFF2-40B4-BE49-F238E27FC236}">
                <a16:creationId xmlns:a16="http://schemas.microsoft.com/office/drawing/2014/main" id="{3A80CF1D-0731-49AA-8787-0E4F5447659E}"/>
              </a:ext>
            </a:extLst>
          </p:cNvPr>
          <p:cNvSpPr/>
          <p:nvPr/>
        </p:nvSpPr>
        <p:spPr>
          <a:xfrm>
            <a:off x="5538188" y="3006975"/>
            <a:ext cx="237051" cy="319503"/>
          </a:xfrm>
          <a:prstGeom prst="rect">
            <a:avLst/>
          </a:prstGeom>
          <a:solidFill>
            <a:srgbClr val="000041"/>
          </a:solidFill>
          <a:ln w="12700" cap="flat" cmpd="sng" algn="ctr">
            <a:noFill/>
            <a:prstDash val="solid"/>
            <a:miter lim="800000"/>
          </a:ln>
          <a:effectLst/>
        </p:spPr>
        <p:txBody>
          <a:bodyPr rtlCol="0" anchor="ctr"/>
          <a:lstStyle/>
          <a:p>
            <a:pPr marL="0" marR="0" lvl="0" indent="0" algn="ctr" defTabSz="1243431"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prstClr val="white"/>
              </a:solidFill>
              <a:effectLst/>
              <a:uLnTx/>
              <a:uFillTx/>
            </a:endParaRPr>
          </a:p>
        </p:txBody>
      </p:sp>
      <p:sp>
        <p:nvSpPr>
          <p:cNvPr id="41" name="TextBox 40">
            <a:extLst>
              <a:ext uri="{FF2B5EF4-FFF2-40B4-BE49-F238E27FC236}">
                <a16:creationId xmlns:a16="http://schemas.microsoft.com/office/drawing/2014/main" id="{D34F226C-BFB7-429B-B4AE-EA6BAB063D93}"/>
              </a:ext>
            </a:extLst>
          </p:cNvPr>
          <p:cNvSpPr txBox="1"/>
          <p:nvPr/>
        </p:nvSpPr>
        <p:spPr>
          <a:xfrm>
            <a:off x="3157154" y="5640951"/>
            <a:ext cx="1156086" cy="312073"/>
          </a:xfrm>
          <a:prstGeom prst="rect">
            <a:avLst/>
          </a:prstGeom>
          <a:noFill/>
        </p:spPr>
        <p:txBody>
          <a:bodyPr wrap="none" rtlCol="0">
            <a:spAutoFit/>
          </a:bodyPr>
          <a:lstStyle/>
          <a:p>
            <a:pPr marL="0" marR="0" lvl="0" indent="0" defTabSz="1243431"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solidFill>
                  <a:srgbClr val="000000"/>
                </a:solidFill>
                <a:effectLst/>
                <a:uLnTx/>
                <a:uFillTx/>
              </a:rPr>
              <a:t>Build RBPEX</a:t>
            </a:r>
          </a:p>
        </p:txBody>
      </p:sp>
      <p:sp>
        <p:nvSpPr>
          <p:cNvPr id="42" name="TextBox 41">
            <a:extLst>
              <a:ext uri="{FF2B5EF4-FFF2-40B4-BE49-F238E27FC236}">
                <a16:creationId xmlns:a16="http://schemas.microsoft.com/office/drawing/2014/main" id="{7D9828DD-EF7F-470E-999D-FE57EC1FB43B}"/>
              </a:ext>
            </a:extLst>
          </p:cNvPr>
          <p:cNvSpPr txBox="1"/>
          <p:nvPr/>
        </p:nvSpPr>
        <p:spPr>
          <a:xfrm>
            <a:off x="7219557" y="1408114"/>
            <a:ext cx="4295035" cy="4992506"/>
          </a:xfrm>
          <a:prstGeom prst="rect">
            <a:avLst/>
          </a:prstGeom>
          <a:noFill/>
        </p:spPr>
        <p:txBody>
          <a:bodyPr wrap="square" rtlCol="0">
            <a:spAutoFit/>
          </a:bodyPr>
          <a:lstStyle/>
          <a:p>
            <a:pPr marL="0" marR="0" lvl="0" indent="0" defTabSz="932573"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Pre-build RBPEX when page server instance is started.</a:t>
            </a:r>
          </a:p>
          <a:p>
            <a:pPr marL="0" marR="0" lvl="0" indent="0" defTabSz="932573"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a:p>
            <a:pPr marL="0" marR="0" lvl="0" indent="0" defTabSz="932573"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Two page-server replicas guarantee </a:t>
            </a:r>
            <a:br>
              <a:rPr kumimoji="0" lang="en-US" sz="1836" b="0" i="0" u="none" strike="noStrike" kern="0" cap="none" spc="0" normalizeH="0" baseline="0" noProof="0">
                <a:ln>
                  <a:noFill/>
                </a:ln>
                <a:solidFill>
                  <a:srgbClr val="000000"/>
                </a:solidFill>
                <a:effectLst/>
                <a:uLnTx/>
                <a:uFillTx/>
              </a:rPr>
            </a:br>
            <a:r>
              <a:rPr kumimoji="0" lang="en-US" sz="1836" b="0" i="0" u="none" strike="noStrike" kern="0" cap="none" spc="0" normalizeH="0" baseline="0" noProof="0">
                <a:ln>
                  <a:noFill/>
                </a:ln>
                <a:solidFill>
                  <a:srgbClr val="000000"/>
                </a:solidFill>
                <a:effectLst/>
                <a:uLnTx/>
                <a:uFillTx/>
              </a:rPr>
              <a:t>IO latency.</a:t>
            </a:r>
          </a:p>
          <a:p>
            <a:pPr marL="0" marR="0" lvl="0" indent="0" defTabSz="932573"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a:p>
            <a:pPr marL="0" marR="0" lvl="0" indent="0" defTabSz="932573"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RBPEX on compute nodes is proportional to # of vCores.</a:t>
            </a:r>
          </a:p>
          <a:p>
            <a:pPr marL="0" marR="0" lvl="0" indent="0" defTabSz="932573"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a:p>
            <a:pPr marL="0" marR="0" lvl="0" indent="0" defTabSz="932573"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Hit local RBPEX - &lt; 0.5ms.</a:t>
            </a:r>
          </a:p>
          <a:p>
            <a:pPr marL="0" marR="0" lvl="0" indent="0" defTabSz="932573"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Hit page server RBPEX - &lt; 2ms.</a:t>
            </a:r>
          </a:p>
          <a:p>
            <a:pPr marL="0" marR="0" lvl="0" indent="0" defTabSz="932573"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a:p>
            <a:pPr marL="0" marR="0" lvl="0" indent="0" defTabSz="932573"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Optimized for OLTP workload – operating on hot data.</a:t>
            </a:r>
          </a:p>
          <a:p>
            <a:pPr marL="0" marR="0" lvl="0" indent="0" defTabSz="932573"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a:p>
            <a:pPr marL="0" marR="0" lvl="0" indent="0" defTabSz="932573"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Use Column Store index to optimize HTAP/OLAP workload.</a:t>
            </a:r>
          </a:p>
        </p:txBody>
      </p:sp>
    </p:spTree>
    <p:extLst>
      <p:ext uri="{BB962C8B-B14F-4D97-AF65-F5344CB8AC3E}">
        <p14:creationId xmlns:p14="http://schemas.microsoft.com/office/powerpoint/2010/main" val="3350445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heel(1)">
                                      <p:cBhvr>
                                        <p:cTn id="12" dur="1000"/>
                                        <p:tgtEl>
                                          <p:spTgt spid="6"/>
                                        </p:tgtEl>
                                      </p:cBhvr>
                                    </p:animEffect>
                                  </p:childTnLst>
                                </p:cTn>
                              </p:par>
                              <p:par>
                                <p:cTn id="13" presetID="22" presetClass="entr" presetSubtype="2"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wipe(right)">
                                      <p:cBhvr>
                                        <p:cTn id="15" dur="500"/>
                                        <p:tgtEl>
                                          <p:spTgt spid="29"/>
                                        </p:tgtEl>
                                      </p:cBhvr>
                                    </p:animEffect>
                                  </p:childTnLst>
                                </p:cTn>
                              </p:par>
                              <p:par>
                                <p:cTn id="16" presetID="22" presetClass="entr" presetSubtype="2" fill="hold" grpId="0" nodeType="withEffect">
                                  <p:stCondLst>
                                    <p:cond delay="0"/>
                                  </p:stCondLst>
                                  <p:childTnLst>
                                    <p:set>
                                      <p:cBhvr>
                                        <p:cTn id="17" dur="1" fill="hold">
                                          <p:stCondLst>
                                            <p:cond delay="0"/>
                                          </p:stCondLst>
                                        </p:cTn>
                                        <p:tgtEl>
                                          <p:spTgt spid="41"/>
                                        </p:tgtEl>
                                        <p:attrNameLst>
                                          <p:attrName>style.visibility</p:attrName>
                                        </p:attrNameLst>
                                      </p:cBhvr>
                                      <p:to>
                                        <p:strVal val="visible"/>
                                      </p:to>
                                    </p:set>
                                    <p:animEffect transition="in" filter="wipe(right)">
                                      <p:cBhvr>
                                        <p:cTn id="18" dur="500"/>
                                        <p:tgtEl>
                                          <p:spTgt spid="41"/>
                                        </p:tgtEl>
                                      </p:cBhvr>
                                    </p:animEffect>
                                  </p:childTnLst>
                                </p:cTn>
                              </p:par>
                            </p:childTnLst>
                          </p:cTn>
                        </p:par>
                        <p:par>
                          <p:cTn id="19" fill="hold">
                            <p:stCondLst>
                              <p:cond delay="1000"/>
                            </p:stCondLst>
                            <p:childTnLst>
                              <p:par>
                                <p:cTn id="20" presetID="22" presetClass="entr" presetSubtype="4" fill="hold" grpId="0" nodeType="after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down)">
                                      <p:cBhvr>
                                        <p:cTn id="22" dur="500"/>
                                        <p:tgtEl>
                                          <p:spTgt spid="7"/>
                                        </p:tgtEl>
                                      </p:cBhvr>
                                    </p:animEffect>
                                  </p:childTnLst>
                                </p:cTn>
                              </p:par>
                            </p:childTnLst>
                          </p:cTn>
                        </p:par>
                        <p:par>
                          <p:cTn id="23" fill="hold">
                            <p:stCondLst>
                              <p:cond delay="1500"/>
                            </p:stCondLst>
                            <p:childTnLst>
                              <p:par>
                                <p:cTn id="24" presetID="22" presetClass="entr" presetSubtype="8" fill="hold" grpId="0" nodeType="after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wipe(left)">
                                      <p:cBhvr>
                                        <p:cTn id="26" dur="500"/>
                                        <p:tgtEl>
                                          <p:spTgt spid="8"/>
                                        </p:tgtEl>
                                      </p:cBhvr>
                                    </p:animEffect>
                                  </p:childTnLst>
                                </p:cTn>
                              </p:par>
                            </p:childTnLst>
                          </p:cTn>
                        </p:par>
                        <p:par>
                          <p:cTn id="27" fill="hold">
                            <p:stCondLst>
                              <p:cond delay="2000"/>
                            </p:stCondLst>
                            <p:childTnLst>
                              <p:par>
                                <p:cTn id="28" presetID="22" presetClass="entr" presetSubtype="8" fill="hold" grpId="0" nodeType="after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wipe(left)">
                                      <p:cBhvr>
                                        <p:cTn id="30" dur="500"/>
                                        <p:tgtEl>
                                          <p:spTgt spid="9"/>
                                        </p:tgtEl>
                                      </p:cBhvr>
                                    </p:animEffect>
                                  </p:childTnLst>
                                </p:cTn>
                              </p:par>
                            </p:childTnLst>
                          </p:cTn>
                        </p:par>
                        <p:par>
                          <p:cTn id="31" fill="hold">
                            <p:stCondLst>
                              <p:cond delay="2500"/>
                            </p:stCondLst>
                            <p:childTnLst>
                              <p:par>
                                <p:cTn id="32" presetID="22" presetClass="entr" presetSubtype="8" fill="hold" grpId="0" nodeType="after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wipe(left)">
                                      <p:cBhvr>
                                        <p:cTn id="34" dur="500"/>
                                        <p:tgtEl>
                                          <p:spTgt spid="10"/>
                                        </p:tgtEl>
                                      </p:cBhvr>
                                    </p:animEffect>
                                  </p:childTnLst>
                                </p:cTn>
                              </p:par>
                            </p:childTnLst>
                          </p:cTn>
                        </p:par>
                        <p:par>
                          <p:cTn id="35" fill="hold">
                            <p:stCondLst>
                              <p:cond delay="3000"/>
                            </p:stCondLst>
                            <p:childTnLst>
                              <p:par>
                                <p:cTn id="36" presetID="22" presetClass="entr" presetSubtype="8"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left)">
                                      <p:cBhvr>
                                        <p:cTn id="38" dur="500"/>
                                        <p:tgtEl>
                                          <p:spTgt spid="11"/>
                                        </p:tgtEl>
                                      </p:cBhvr>
                                    </p:animEffect>
                                  </p:childTnLst>
                                </p:cTn>
                              </p:par>
                            </p:childTnLst>
                          </p:cTn>
                        </p:par>
                        <p:par>
                          <p:cTn id="39" fill="hold">
                            <p:stCondLst>
                              <p:cond delay="3500"/>
                            </p:stCondLst>
                            <p:childTnLst>
                              <p:par>
                                <p:cTn id="40" presetID="22" presetClass="entr" presetSubtype="8" fill="hold" grpId="0" nodeType="after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wipe(left)">
                                      <p:cBhvr>
                                        <p:cTn id="42" dur="500"/>
                                        <p:tgtEl>
                                          <p:spTgt spid="12"/>
                                        </p:tgtEl>
                                      </p:cBhvr>
                                    </p:animEffect>
                                  </p:childTnLst>
                                </p:cTn>
                              </p:par>
                            </p:childTnLst>
                          </p:cTn>
                        </p:par>
                        <p:par>
                          <p:cTn id="43" fill="hold">
                            <p:stCondLst>
                              <p:cond delay="4000"/>
                            </p:stCondLst>
                            <p:childTnLst>
                              <p:par>
                                <p:cTn id="44" presetID="22" presetClass="entr" presetSubtype="8" fill="hold" grpId="0" nodeType="afterEffect">
                                  <p:stCondLst>
                                    <p:cond delay="0"/>
                                  </p:stCondLst>
                                  <p:childTnLst>
                                    <p:set>
                                      <p:cBhvr>
                                        <p:cTn id="45" dur="1" fill="hold">
                                          <p:stCondLst>
                                            <p:cond delay="0"/>
                                          </p:stCondLst>
                                        </p:cTn>
                                        <p:tgtEl>
                                          <p:spTgt spid="13"/>
                                        </p:tgtEl>
                                        <p:attrNameLst>
                                          <p:attrName>style.visibility</p:attrName>
                                        </p:attrNameLst>
                                      </p:cBhvr>
                                      <p:to>
                                        <p:strVal val="visible"/>
                                      </p:to>
                                    </p:set>
                                    <p:animEffect transition="in" filter="wipe(left)">
                                      <p:cBhvr>
                                        <p:cTn id="46" dur="500"/>
                                        <p:tgtEl>
                                          <p:spTgt spid="13"/>
                                        </p:tgtEl>
                                      </p:cBhvr>
                                    </p:animEffect>
                                  </p:childTnLst>
                                </p:cTn>
                              </p:par>
                            </p:childTnLst>
                          </p:cTn>
                        </p:par>
                        <p:par>
                          <p:cTn id="47" fill="hold">
                            <p:stCondLst>
                              <p:cond delay="4500"/>
                            </p:stCondLst>
                            <p:childTnLst>
                              <p:par>
                                <p:cTn id="48" presetID="22" presetClass="entr" presetSubtype="8" fill="hold" grpId="0" nodeType="after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wipe(left)">
                                      <p:cBhvr>
                                        <p:cTn id="50" dur="500"/>
                                        <p:tgtEl>
                                          <p:spTgt spid="14"/>
                                        </p:tgtEl>
                                      </p:cBhvr>
                                    </p:animEffect>
                                  </p:childTnLst>
                                </p:cTn>
                              </p:par>
                            </p:childTnLst>
                          </p:cTn>
                        </p:par>
                        <p:par>
                          <p:cTn id="51" fill="hold">
                            <p:stCondLst>
                              <p:cond delay="5000"/>
                            </p:stCondLst>
                            <p:childTnLst>
                              <p:par>
                                <p:cTn id="52" presetID="22" presetClass="entr" presetSubtype="8" fill="hold" grpId="0" nodeType="afterEffect">
                                  <p:stCondLst>
                                    <p:cond delay="0"/>
                                  </p:stCondLst>
                                  <p:childTnLst>
                                    <p:set>
                                      <p:cBhvr>
                                        <p:cTn id="53" dur="1" fill="hold">
                                          <p:stCondLst>
                                            <p:cond delay="0"/>
                                          </p:stCondLst>
                                        </p:cTn>
                                        <p:tgtEl>
                                          <p:spTgt spid="15"/>
                                        </p:tgtEl>
                                        <p:attrNameLst>
                                          <p:attrName>style.visibility</p:attrName>
                                        </p:attrNameLst>
                                      </p:cBhvr>
                                      <p:to>
                                        <p:strVal val="visible"/>
                                      </p:to>
                                    </p:set>
                                    <p:animEffect transition="in" filter="wipe(left)">
                                      <p:cBhvr>
                                        <p:cTn id="54" dur="500"/>
                                        <p:tgtEl>
                                          <p:spTgt spid="15"/>
                                        </p:tgtEl>
                                      </p:cBhvr>
                                    </p:animEffect>
                                  </p:childTnLst>
                                </p:cTn>
                              </p:par>
                              <p:par>
                                <p:cTn id="55" presetID="21" presetClass="entr" presetSubtype="1" fill="hold" grpId="0" nodeType="with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wheel(1)">
                                      <p:cBhvr>
                                        <p:cTn id="57" dur="1000"/>
                                        <p:tgtEl>
                                          <p:spTgt spid="5"/>
                                        </p:tgtEl>
                                      </p:cBhvr>
                                    </p:animEffect>
                                  </p:childTnLst>
                                </p:cTn>
                              </p:par>
                            </p:childTnLst>
                          </p:cTn>
                        </p:par>
                      </p:childTnLst>
                    </p:cTn>
                  </p:par>
                  <p:par>
                    <p:cTn id="58" fill="hold">
                      <p:stCondLst>
                        <p:cond delay="indefinite"/>
                      </p:stCondLst>
                      <p:childTnLst>
                        <p:par>
                          <p:cTn id="59" fill="hold">
                            <p:stCondLst>
                              <p:cond delay="0"/>
                            </p:stCondLst>
                            <p:childTnLst>
                              <p:par>
                                <p:cTn id="60" presetID="21" presetClass="entr" presetSubtype="1" fill="hold" grpId="0" nodeType="clickEffect">
                                  <p:stCondLst>
                                    <p:cond delay="0"/>
                                  </p:stCondLst>
                                  <p:childTnLst>
                                    <p:set>
                                      <p:cBhvr>
                                        <p:cTn id="61" dur="1" fill="hold">
                                          <p:stCondLst>
                                            <p:cond delay="0"/>
                                          </p:stCondLst>
                                        </p:cTn>
                                        <p:tgtEl>
                                          <p:spTgt spid="27"/>
                                        </p:tgtEl>
                                        <p:attrNameLst>
                                          <p:attrName>style.visibility</p:attrName>
                                        </p:attrNameLst>
                                      </p:cBhvr>
                                      <p:to>
                                        <p:strVal val="visible"/>
                                      </p:to>
                                    </p:set>
                                    <p:animEffect transition="in" filter="wheel(1)">
                                      <p:cBhvr>
                                        <p:cTn id="62" dur="1000"/>
                                        <p:tgtEl>
                                          <p:spTgt spid="27"/>
                                        </p:tgtEl>
                                      </p:cBhvr>
                                    </p:animEffect>
                                  </p:childTnLst>
                                </p:cTn>
                              </p:par>
                            </p:childTnLst>
                          </p:cTn>
                        </p:par>
                        <p:par>
                          <p:cTn id="63" fill="hold">
                            <p:stCondLst>
                              <p:cond delay="1000"/>
                            </p:stCondLst>
                            <p:childTnLst>
                              <p:par>
                                <p:cTn id="64" presetID="22" presetClass="entr" presetSubtype="4" fill="hold" grpId="0" nodeType="afterEffect">
                                  <p:stCondLst>
                                    <p:cond delay="0"/>
                                  </p:stCondLst>
                                  <p:childTnLst>
                                    <p:set>
                                      <p:cBhvr>
                                        <p:cTn id="65" dur="1" fill="hold">
                                          <p:stCondLst>
                                            <p:cond delay="0"/>
                                          </p:stCondLst>
                                        </p:cTn>
                                        <p:tgtEl>
                                          <p:spTgt spid="35"/>
                                        </p:tgtEl>
                                        <p:attrNameLst>
                                          <p:attrName>style.visibility</p:attrName>
                                        </p:attrNameLst>
                                      </p:cBhvr>
                                      <p:to>
                                        <p:strVal val="visible"/>
                                      </p:to>
                                    </p:set>
                                    <p:animEffect transition="in" filter="wipe(down)">
                                      <p:cBhvr>
                                        <p:cTn id="66" dur="500"/>
                                        <p:tgtEl>
                                          <p:spTgt spid="35"/>
                                        </p:tgtEl>
                                      </p:cBhvr>
                                    </p:animEffect>
                                  </p:childTnLst>
                                </p:cTn>
                              </p:par>
                              <p:par>
                                <p:cTn id="67" presetID="22" presetClass="entr" presetSubtype="4" fill="hold" grpId="0" nodeType="withEffect">
                                  <p:stCondLst>
                                    <p:cond delay="0"/>
                                  </p:stCondLst>
                                  <p:childTnLst>
                                    <p:set>
                                      <p:cBhvr>
                                        <p:cTn id="68" dur="1" fill="hold">
                                          <p:stCondLst>
                                            <p:cond delay="0"/>
                                          </p:stCondLst>
                                        </p:cTn>
                                        <p:tgtEl>
                                          <p:spTgt spid="36"/>
                                        </p:tgtEl>
                                        <p:attrNameLst>
                                          <p:attrName>style.visibility</p:attrName>
                                        </p:attrNameLst>
                                      </p:cBhvr>
                                      <p:to>
                                        <p:strVal val="visible"/>
                                      </p:to>
                                    </p:set>
                                    <p:animEffect transition="in" filter="wipe(down)">
                                      <p:cBhvr>
                                        <p:cTn id="69" dur="500"/>
                                        <p:tgtEl>
                                          <p:spTgt spid="36"/>
                                        </p:tgtEl>
                                      </p:cBhvr>
                                    </p:animEffect>
                                  </p:childTnLst>
                                </p:cTn>
                              </p:par>
                              <p:par>
                                <p:cTn id="70" presetID="22" presetClass="entr" presetSubtype="4" fill="hold" grpId="0" nodeType="withEffect">
                                  <p:stCondLst>
                                    <p:cond delay="0"/>
                                  </p:stCondLst>
                                  <p:childTnLst>
                                    <p:set>
                                      <p:cBhvr>
                                        <p:cTn id="71" dur="1" fill="hold">
                                          <p:stCondLst>
                                            <p:cond delay="0"/>
                                          </p:stCondLst>
                                        </p:cTn>
                                        <p:tgtEl>
                                          <p:spTgt spid="37"/>
                                        </p:tgtEl>
                                        <p:attrNameLst>
                                          <p:attrName>style.visibility</p:attrName>
                                        </p:attrNameLst>
                                      </p:cBhvr>
                                      <p:to>
                                        <p:strVal val="visible"/>
                                      </p:to>
                                    </p:set>
                                    <p:animEffect transition="in" filter="wipe(down)">
                                      <p:cBhvr>
                                        <p:cTn id="72" dur="500"/>
                                        <p:tgtEl>
                                          <p:spTgt spid="37"/>
                                        </p:tgtEl>
                                      </p:cBhvr>
                                    </p:animEffect>
                                  </p:childTnLst>
                                </p:cTn>
                              </p:par>
                              <p:par>
                                <p:cTn id="73" presetID="22" presetClass="entr" presetSubtype="4" fill="hold" grpId="0" nodeType="withEffect">
                                  <p:stCondLst>
                                    <p:cond delay="0"/>
                                  </p:stCondLst>
                                  <p:childTnLst>
                                    <p:set>
                                      <p:cBhvr>
                                        <p:cTn id="74" dur="1" fill="hold">
                                          <p:stCondLst>
                                            <p:cond delay="0"/>
                                          </p:stCondLst>
                                        </p:cTn>
                                        <p:tgtEl>
                                          <p:spTgt spid="38"/>
                                        </p:tgtEl>
                                        <p:attrNameLst>
                                          <p:attrName>style.visibility</p:attrName>
                                        </p:attrNameLst>
                                      </p:cBhvr>
                                      <p:to>
                                        <p:strVal val="visible"/>
                                      </p:to>
                                    </p:set>
                                    <p:animEffect transition="in" filter="wipe(down)">
                                      <p:cBhvr>
                                        <p:cTn id="75" dur="500"/>
                                        <p:tgtEl>
                                          <p:spTgt spid="38"/>
                                        </p:tgtEl>
                                      </p:cBhvr>
                                    </p:animEffect>
                                  </p:childTnLst>
                                </p:cTn>
                              </p:par>
                              <p:par>
                                <p:cTn id="76" presetID="22" presetClass="entr" presetSubtype="4" fill="hold" grpId="0" nodeType="withEffect">
                                  <p:stCondLst>
                                    <p:cond delay="0"/>
                                  </p:stCondLst>
                                  <p:childTnLst>
                                    <p:set>
                                      <p:cBhvr>
                                        <p:cTn id="77" dur="1" fill="hold">
                                          <p:stCondLst>
                                            <p:cond delay="0"/>
                                          </p:stCondLst>
                                        </p:cTn>
                                        <p:tgtEl>
                                          <p:spTgt spid="39"/>
                                        </p:tgtEl>
                                        <p:attrNameLst>
                                          <p:attrName>style.visibility</p:attrName>
                                        </p:attrNameLst>
                                      </p:cBhvr>
                                      <p:to>
                                        <p:strVal val="visible"/>
                                      </p:to>
                                    </p:set>
                                    <p:animEffect transition="in" filter="wipe(down)">
                                      <p:cBhvr>
                                        <p:cTn id="78" dur="500"/>
                                        <p:tgtEl>
                                          <p:spTgt spid="39"/>
                                        </p:tgtEl>
                                      </p:cBhvr>
                                    </p:animEffect>
                                  </p:childTnLst>
                                </p:cTn>
                              </p:par>
                            </p:childTnLst>
                          </p:cTn>
                        </p:par>
                      </p:childTnLst>
                    </p:cTn>
                  </p:par>
                  <p:par>
                    <p:cTn id="79" fill="hold">
                      <p:stCondLst>
                        <p:cond delay="indefinite"/>
                      </p:stCondLst>
                      <p:childTnLst>
                        <p:par>
                          <p:cTn id="80" fill="hold">
                            <p:stCondLst>
                              <p:cond delay="0"/>
                            </p:stCondLst>
                            <p:childTnLst>
                              <p:par>
                                <p:cTn id="81" presetID="22" presetClass="entr" presetSubtype="2" fill="hold" grpId="0" nodeType="clickEffect">
                                  <p:stCondLst>
                                    <p:cond delay="0"/>
                                  </p:stCondLst>
                                  <p:childTnLst>
                                    <p:set>
                                      <p:cBhvr>
                                        <p:cTn id="82" dur="1" fill="hold">
                                          <p:stCondLst>
                                            <p:cond delay="0"/>
                                          </p:stCondLst>
                                        </p:cTn>
                                        <p:tgtEl>
                                          <p:spTgt spid="30"/>
                                        </p:tgtEl>
                                        <p:attrNameLst>
                                          <p:attrName>style.visibility</p:attrName>
                                        </p:attrNameLst>
                                      </p:cBhvr>
                                      <p:to>
                                        <p:strVal val="visible"/>
                                      </p:to>
                                    </p:set>
                                    <p:animEffect transition="in" filter="wipe(right)">
                                      <p:cBhvr>
                                        <p:cTn id="83" dur="500"/>
                                        <p:tgtEl>
                                          <p:spTgt spid="30"/>
                                        </p:tgtEl>
                                      </p:cBhvr>
                                    </p:animEffect>
                                  </p:childTnLst>
                                </p:cTn>
                              </p:par>
                            </p:childTnLst>
                          </p:cTn>
                        </p:par>
                      </p:childTnLst>
                    </p:cTn>
                  </p:par>
                  <p:par>
                    <p:cTn id="84" fill="hold">
                      <p:stCondLst>
                        <p:cond delay="indefinite"/>
                      </p:stCondLst>
                      <p:childTnLst>
                        <p:par>
                          <p:cTn id="85" fill="hold">
                            <p:stCondLst>
                              <p:cond delay="0"/>
                            </p:stCondLst>
                            <p:childTnLst>
                              <p:par>
                                <p:cTn id="86" presetID="14" presetClass="entr" presetSubtype="10" fill="hold" grpId="0" nodeType="clickEffect">
                                  <p:stCondLst>
                                    <p:cond delay="0"/>
                                  </p:stCondLst>
                                  <p:childTnLst>
                                    <p:set>
                                      <p:cBhvr>
                                        <p:cTn id="87" dur="1" fill="hold">
                                          <p:stCondLst>
                                            <p:cond delay="0"/>
                                          </p:stCondLst>
                                        </p:cTn>
                                        <p:tgtEl>
                                          <p:spTgt spid="31"/>
                                        </p:tgtEl>
                                        <p:attrNameLst>
                                          <p:attrName>style.visibility</p:attrName>
                                        </p:attrNameLst>
                                      </p:cBhvr>
                                      <p:to>
                                        <p:strVal val="visible"/>
                                      </p:to>
                                    </p:set>
                                    <p:animEffect transition="in" filter="randombar(horizontal)">
                                      <p:cBhvr>
                                        <p:cTn id="88" dur="500"/>
                                        <p:tgtEl>
                                          <p:spTgt spid="31"/>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40"/>
                                        </p:tgtEl>
                                        <p:attrNameLst>
                                          <p:attrName>style.visibility</p:attrName>
                                        </p:attrNameLst>
                                      </p:cBhvr>
                                      <p:to>
                                        <p:strVal val="visible"/>
                                      </p:to>
                                    </p:set>
                                    <p:animEffect transition="in" filter="fade">
                                      <p:cBhvr>
                                        <p:cTn id="91" dur="500"/>
                                        <p:tgtEl>
                                          <p:spTgt spid="40"/>
                                        </p:tgtEl>
                                      </p:cBhvr>
                                    </p:animEffect>
                                  </p:childTnLst>
                                </p:cTn>
                              </p:par>
                            </p:childTnLst>
                          </p:cTn>
                        </p:par>
                        <p:par>
                          <p:cTn id="92" fill="hold">
                            <p:stCondLst>
                              <p:cond delay="500"/>
                            </p:stCondLst>
                            <p:childTnLst>
                              <p:par>
                                <p:cTn id="93" presetID="27" presetClass="emph" presetSubtype="0" fill="remove" grpId="1" nodeType="afterEffect">
                                  <p:stCondLst>
                                    <p:cond delay="0"/>
                                  </p:stCondLst>
                                  <p:childTnLst>
                                    <p:animClr clrSpc="rgb" dir="cw">
                                      <p:cBhvr override="childStyle">
                                        <p:cTn id="94" dur="250" autoRev="1" fill="remove"/>
                                        <p:tgtEl>
                                          <p:spTgt spid="40"/>
                                        </p:tgtEl>
                                        <p:attrNameLst>
                                          <p:attrName>style.color</p:attrName>
                                        </p:attrNameLst>
                                      </p:cBhvr>
                                      <p:to>
                                        <a:schemeClr val="bg1"/>
                                      </p:to>
                                    </p:animClr>
                                    <p:animClr clrSpc="rgb" dir="cw">
                                      <p:cBhvr>
                                        <p:cTn id="95" dur="250" autoRev="1" fill="remove"/>
                                        <p:tgtEl>
                                          <p:spTgt spid="40"/>
                                        </p:tgtEl>
                                        <p:attrNameLst>
                                          <p:attrName>fillcolor</p:attrName>
                                        </p:attrNameLst>
                                      </p:cBhvr>
                                      <p:to>
                                        <a:schemeClr val="bg1"/>
                                      </p:to>
                                    </p:animClr>
                                    <p:set>
                                      <p:cBhvr>
                                        <p:cTn id="96" dur="250" autoRev="1" fill="remove"/>
                                        <p:tgtEl>
                                          <p:spTgt spid="40"/>
                                        </p:tgtEl>
                                        <p:attrNameLst>
                                          <p:attrName>fill.type</p:attrName>
                                        </p:attrNameLst>
                                      </p:cBhvr>
                                      <p:to>
                                        <p:strVal val="solid"/>
                                      </p:to>
                                    </p:set>
                                    <p:set>
                                      <p:cBhvr>
                                        <p:cTn id="97" dur="250" autoRev="1" fill="remove"/>
                                        <p:tgtEl>
                                          <p:spTgt spid="40"/>
                                        </p:tgtEl>
                                        <p:attrNameLst>
                                          <p:attrName>fill.on</p:attrName>
                                        </p:attrNameLst>
                                      </p:cBhvr>
                                      <p:to>
                                        <p:strVal val="true"/>
                                      </p:to>
                                    </p:set>
                                  </p:childTnLst>
                                </p:cTn>
                              </p:par>
                            </p:childTnLst>
                          </p:cTn>
                        </p:par>
                      </p:childTnLst>
                    </p:cTn>
                  </p:par>
                  <p:par>
                    <p:cTn id="98" fill="hold">
                      <p:stCondLst>
                        <p:cond delay="indefinite"/>
                      </p:stCondLst>
                      <p:childTnLst>
                        <p:par>
                          <p:cTn id="99" fill="hold">
                            <p:stCondLst>
                              <p:cond delay="0"/>
                            </p:stCondLst>
                            <p:childTnLst>
                              <p:par>
                                <p:cTn id="100" presetID="22" presetClass="entr" presetSubtype="2" fill="hold" grpId="0" nodeType="clickEffect">
                                  <p:stCondLst>
                                    <p:cond delay="0"/>
                                  </p:stCondLst>
                                  <p:childTnLst>
                                    <p:set>
                                      <p:cBhvr>
                                        <p:cTn id="101" dur="1" fill="hold">
                                          <p:stCondLst>
                                            <p:cond delay="0"/>
                                          </p:stCondLst>
                                        </p:cTn>
                                        <p:tgtEl>
                                          <p:spTgt spid="32"/>
                                        </p:tgtEl>
                                        <p:attrNameLst>
                                          <p:attrName>style.visibility</p:attrName>
                                        </p:attrNameLst>
                                      </p:cBhvr>
                                      <p:to>
                                        <p:strVal val="visible"/>
                                      </p:to>
                                    </p:set>
                                    <p:animEffect transition="in" filter="wipe(right)">
                                      <p:cBhvr>
                                        <p:cTn id="102" dur="500"/>
                                        <p:tgtEl>
                                          <p:spTgt spid="32"/>
                                        </p:tgtEl>
                                      </p:cBhvr>
                                    </p:animEffect>
                                  </p:childTnLst>
                                </p:cTn>
                              </p:par>
                              <p:par>
                                <p:cTn id="103" presetID="1" presetClass="exit" presetSubtype="0" fill="hold" grpId="1" nodeType="withEffect">
                                  <p:stCondLst>
                                    <p:cond delay="0"/>
                                  </p:stCondLst>
                                  <p:childTnLst>
                                    <p:set>
                                      <p:cBhvr>
                                        <p:cTn id="104" dur="1" fill="hold">
                                          <p:stCondLst>
                                            <p:cond delay="0"/>
                                          </p:stCondLst>
                                        </p:cTn>
                                        <p:tgtEl>
                                          <p:spTgt spid="31"/>
                                        </p:tgtEl>
                                        <p:attrNameLst>
                                          <p:attrName>style.visibility</p:attrName>
                                        </p:attrNameLst>
                                      </p:cBhvr>
                                      <p:to>
                                        <p:strVal val="hidden"/>
                                      </p:to>
                                    </p:set>
                                  </p:childTnLst>
                                </p:cTn>
                              </p:par>
                            </p:childTnLst>
                          </p:cTn>
                        </p:par>
                        <p:par>
                          <p:cTn id="105" fill="hold">
                            <p:stCondLst>
                              <p:cond delay="500"/>
                            </p:stCondLst>
                            <p:childTnLst>
                              <p:par>
                                <p:cTn id="106" presetID="14" presetClass="entr" presetSubtype="10" fill="hold" grpId="0" nodeType="afterEffect">
                                  <p:stCondLst>
                                    <p:cond delay="0"/>
                                  </p:stCondLst>
                                  <p:childTnLst>
                                    <p:set>
                                      <p:cBhvr>
                                        <p:cTn id="107" dur="1" fill="hold">
                                          <p:stCondLst>
                                            <p:cond delay="0"/>
                                          </p:stCondLst>
                                        </p:cTn>
                                        <p:tgtEl>
                                          <p:spTgt spid="33"/>
                                        </p:tgtEl>
                                        <p:attrNameLst>
                                          <p:attrName>style.visibility</p:attrName>
                                        </p:attrNameLst>
                                      </p:cBhvr>
                                      <p:to>
                                        <p:strVal val="visible"/>
                                      </p:to>
                                    </p:set>
                                    <p:animEffect transition="in" filter="randombar(horizontal)">
                                      <p:cBhvr>
                                        <p:cTn id="108" dur="500"/>
                                        <p:tgtEl>
                                          <p:spTgt spid="33"/>
                                        </p:tgtEl>
                                      </p:cBhvr>
                                    </p:animEffect>
                                  </p:childTnLst>
                                </p:cTn>
                              </p:par>
                            </p:childTnLst>
                          </p:cTn>
                        </p:par>
                      </p:childTnLst>
                    </p:cTn>
                  </p:par>
                  <p:par>
                    <p:cTn id="109" fill="hold">
                      <p:stCondLst>
                        <p:cond delay="indefinite"/>
                      </p:stCondLst>
                      <p:childTnLst>
                        <p:par>
                          <p:cTn id="110" fill="hold">
                            <p:stCondLst>
                              <p:cond delay="0"/>
                            </p:stCondLst>
                            <p:childTnLst>
                              <p:par>
                                <p:cTn id="111" presetID="22" presetClass="entr" presetSubtype="2" fill="hold" grpId="0" nodeType="clickEffect">
                                  <p:stCondLst>
                                    <p:cond delay="0"/>
                                  </p:stCondLst>
                                  <p:childTnLst>
                                    <p:set>
                                      <p:cBhvr>
                                        <p:cTn id="112" dur="1" fill="hold">
                                          <p:stCondLst>
                                            <p:cond delay="0"/>
                                          </p:stCondLst>
                                        </p:cTn>
                                        <p:tgtEl>
                                          <p:spTgt spid="34"/>
                                        </p:tgtEl>
                                        <p:attrNameLst>
                                          <p:attrName>style.visibility</p:attrName>
                                        </p:attrNameLst>
                                      </p:cBhvr>
                                      <p:to>
                                        <p:strVal val="visible"/>
                                      </p:to>
                                    </p:set>
                                    <p:animEffect transition="in" filter="wipe(right)">
                                      <p:cBhvr>
                                        <p:cTn id="113" dur="500"/>
                                        <p:tgtEl>
                                          <p:spTgt spid="34"/>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28"/>
                                        </p:tgtEl>
                                        <p:attrNameLst>
                                          <p:attrName>style.visibility</p:attrName>
                                        </p:attrNameLst>
                                      </p:cBhvr>
                                      <p:to>
                                        <p:strVal val="visible"/>
                                      </p:to>
                                    </p:set>
                                    <p:animEffect transition="in" filter="fade">
                                      <p:cBhvr>
                                        <p:cTn id="118" dur="500"/>
                                        <p:tgtEl>
                                          <p:spTgt spid="28"/>
                                        </p:tgtEl>
                                      </p:cBhvr>
                                    </p:animEffect>
                                  </p:childTnLst>
                                </p:cTn>
                              </p:par>
                            </p:childTnLst>
                          </p:cTn>
                        </p:par>
                        <p:par>
                          <p:cTn id="119" fill="hold">
                            <p:stCondLst>
                              <p:cond delay="500"/>
                            </p:stCondLst>
                            <p:childTnLst>
                              <p:par>
                                <p:cTn id="120" presetID="27" presetClass="emph" presetSubtype="0" fill="remove" grpId="1" nodeType="afterEffect">
                                  <p:stCondLst>
                                    <p:cond delay="0"/>
                                  </p:stCondLst>
                                  <p:childTnLst>
                                    <p:animClr clrSpc="rgb" dir="cw">
                                      <p:cBhvr override="childStyle">
                                        <p:cTn id="121" dur="250" autoRev="1" fill="remove"/>
                                        <p:tgtEl>
                                          <p:spTgt spid="28"/>
                                        </p:tgtEl>
                                        <p:attrNameLst>
                                          <p:attrName>style.color</p:attrName>
                                        </p:attrNameLst>
                                      </p:cBhvr>
                                      <p:to>
                                        <a:schemeClr val="bg1"/>
                                      </p:to>
                                    </p:animClr>
                                    <p:animClr clrSpc="rgb" dir="cw">
                                      <p:cBhvr>
                                        <p:cTn id="122" dur="250" autoRev="1" fill="remove"/>
                                        <p:tgtEl>
                                          <p:spTgt spid="28"/>
                                        </p:tgtEl>
                                        <p:attrNameLst>
                                          <p:attrName>fillcolor</p:attrName>
                                        </p:attrNameLst>
                                      </p:cBhvr>
                                      <p:to>
                                        <a:schemeClr val="bg1"/>
                                      </p:to>
                                    </p:animClr>
                                    <p:set>
                                      <p:cBhvr>
                                        <p:cTn id="123" dur="250" autoRev="1" fill="remove"/>
                                        <p:tgtEl>
                                          <p:spTgt spid="28"/>
                                        </p:tgtEl>
                                        <p:attrNameLst>
                                          <p:attrName>fill.type</p:attrName>
                                        </p:attrNameLst>
                                      </p:cBhvr>
                                      <p:to>
                                        <p:strVal val="solid"/>
                                      </p:to>
                                    </p:set>
                                    <p:set>
                                      <p:cBhvr>
                                        <p:cTn id="124" dur="250" autoRev="1" fill="remove"/>
                                        <p:tgtEl>
                                          <p:spTgt spid="28"/>
                                        </p:tgtEl>
                                        <p:attrNameLst>
                                          <p:attrName>fill.on</p:attrName>
                                        </p:attrNameLst>
                                      </p:cBhvr>
                                      <p:to>
                                        <p:strVal val="true"/>
                                      </p:to>
                                    </p:se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nodeType="clickEffect">
                                  <p:stCondLst>
                                    <p:cond delay="0"/>
                                  </p:stCondLst>
                                  <p:childTnLst>
                                    <p:set>
                                      <p:cBhvr>
                                        <p:cTn id="128" dur="1" fill="hold">
                                          <p:stCondLst>
                                            <p:cond delay="0"/>
                                          </p:stCondLst>
                                        </p:cTn>
                                        <p:tgtEl>
                                          <p:spTgt spid="42">
                                            <p:txEl>
                                              <p:pRg st="0" end="0"/>
                                            </p:txEl>
                                          </p:spTgt>
                                        </p:tgtEl>
                                        <p:attrNameLst>
                                          <p:attrName>style.visibility</p:attrName>
                                        </p:attrNameLst>
                                      </p:cBhvr>
                                      <p:to>
                                        <p:strVal val="visible"/>
                                      </p:to>
                                    </p:set>
                                    <p:animEffect transition="in" filter="fade">
                                      <p:cBhvr>
                                        <p:cTn id="129" dur="500"/>
                                        <p:tgtEl>
                                          <p:spTgt spid="42">
                                            <p:txEl>
                                              <p:pRg st="0" end="0"/>
                                            </p:txEl>
                                          </p:spTgt>
                                        </p:tgtEl>
                                      </p:cBhvr>
                                    </p:animEffect>
                                  </p:childTnLst>
                                </p:cTn>
                              </p:par>
                              <p:par>
                                <p:cTn id="130" presetID="10" presetClass="entr" presetSubtype="0" fill="hold" nodeType="withEffect">
                                  <p:stCondLst>
                                    <p:cond delay="0"/>
                                  </p:stCondLst>
                                  <p:childTnLst>
                                    <p:set>
                                      <p:cBhvr>
                                        <p:cTn id="131" dur="1" fill="hold">
                                          <p:stCondLst>
                                            <p:cond delay="0"/>
                                          </p:stCondLst>
                                        </p:cTn>
                                        <p:tgtEl>
                                          <p:spTgt spid="42">
                                            <p:txEl>
                                              <p:pRg st="2" end="2"/>
                                            </p:txEl>
                                          </p:spTgt>
                                        </p:tgtEl>
                                        <p:attrNameLst>
                                          <p:attrName>style.visibility</p:attrName>
                                        </p:attrNameLst>
                                      </p:cBhvr>
                                      <p:to>
                                        <p:strVal val="visible"/>
                                      </p:to>
                                    </p:set>
                                    <p:animEffect transition="in" filter="fade">
                                      <p:cBhvr>
                                        <p:cTn id="132" dur="500"/>
                                        <p:tgtEl>
                                          <p:spTgt spid="42">
                                            <p:txEl>
                                              <p:pRg st="2" end="2"/>
                                            </p:txEl>
                                          </p:spTgt>
                                        </p:tgtEl>
                                      </p:cBhvr>
                                    </p:animEffect>
                                  </p:childTnLst>
                                </p:cTn>
                              </p:par>
                              <p:par>
                                <p:cTn id="133" presetID="10" presetClass="entr" presetSubtype="0" fill="hold" nodeType="withEffect">
                                  <p:stCondLst>
                                    <p:cond delay="0"/>
                                  </p:stCondLst>
                                  <p:childTnLst>
                                    <p:set>
                                      <p:cBhvr>
                                        <p:cTn id="134" dur="1" fill="hold">
                                          <p:stCondLst>
                                            <p:cond delay="0"/>
                                          </p:stCondLst>
                                        </p:cTn>
                                        <p:tgtEl>
                                          <p:spTgt spid="42">
                                            <p:txEl>
                                              <p:pRg st="4" end="4"/>
                                            </p:txEl>
                                          </p:spTgt>
                                        </p:tgtEl>
                                        <p:attrNameLst>
                                          <p:attrName>style.visibility</p:attrName>
                                        </p:attrNameLst>
                                      </p:cBhvr>
                                      <p:to>
                                        <p:strVal val="visible"/>
                                      </p:to>
                                    </p:set>
                                    <p:animEffect transition="in" filter="fade">
                                      <p:cBhvr>
                                        <p:cTn id="135" dur="500"/>
                                        <p:tgtEl>
                                          <p:spTgt spid="42">
                                            <p:txEl>
                                              <p:pRg st="4" end="4"/>
                                            </p:txEl>
                                          </p:spTgt>
                                        </p:tgtEl>
                                      </p:cBhvr>
                                    </p:animEffect>
                                  </p:childTnLst>
                                </p:cTn>
                              </p:par>
                              <p:par>
                                <p:cTn id="136" presetID="10" presetClass="entr" presetSubtype="0" fill="hold" nodeType="withEffect">
                                  <p:stCondLst>
                                    <p:cond delay="0"/>
                                  </p:stCondLst>
                                  <p:childTnLst>
                                    <p:set>
                                      <p:cBhvr>
                                        <p:cTn id="137" dur="1" fill="hold">
                                          <p:stCondLst>
                                            <p:cond delay="0"/>
                                          </p:stCondLst>
                                        </p:cTn>
                                        <p:tgtEl>
                                          <p:spTgt spid="42">
                                            <p:txEl>
                                              <p:pRg st="6" end="6"/>
                                            </p:txEl>
                                          </p:spTgt>
                                        </p:tgtEl>
                                        <p:attrNameLst>
                                          <p:attrName>style.visibility</p:attrName>
                                        </p:attrNameLst>
                                      </p:cBhvr>
                                      <p:to>
                                        <p:strVal val="visible"/>
                                      </p:to>
                                    </p:set>
                                    <p:animEffect transition="in" filter="fade">
                                      <p:cBhvr>
                                        <p:cTn id="138" dur="500"/>
                                        <p:tgtEl>
                                          <p:spTgt spid="42">
                                            <p:txEl>
                                              <p:pRg st="6" end="6"/>
                                            </p:txEl>
                                          </p:spTgt>
                                        </p:tgtEl>
                                      </p:cBhvr>
                                    </p:animEffect>
                                  </p:childTnLst>
                                </p:cTn>
                              </p:par>
                              <p:par>
                                <p:cTn id="139" presetID="10" presetClass="entr" presetSubtype="0" fill="hold" nodeType="withEffect">
                                  <p:stCondLst>
                                    <p:cond delay="0"/>
                                  </p:stCondLst>
                                  <p:childTnLst>
                                    <p:set>
                                      <p:cBhvr>
                                        <p:cTn id="140" dur="1" fill="hold">
                                          <p:stCondLst>
                                            <p:cond delay="0"/>
                                          </p:stCondLst>
                                        </p:cTn>
                                        <p:tgtEl>
                                          <p:spTgt spid="42">
                                            <p:txEl>
                                              <p:pRg st="7" end="7"/>
                                            </p:txEl>
                                          </p:spTgt>
                                        </p:tgtEl>
                                        <p:attrNameLst>
                                          <p:attrName>style.visibility</p:attrName>
                                        </p:attrNameLst>
                                      </p:cBhvr>
                                      <p:to>
                                        <p:strVal val="visible"/>
                                      </p:to>
                                    </p:set>
                                    <p:animEffect transition="in" filter="fade">
                                      <p:cBhvr>
                                        <p:cTn id="141" dur="500"/>
                                        <p:tgtEl>
                                          <p:spTgt spid="42">
                                            <p:txEl>
                                              <p:pRg st="7" end="7"/>
                                            </p:txEl>
                                          </p:spTgt>
                                        </p:tgtEl>
                                      </p:cBhvr>
                                    </p:animEffect>
                                  </p:childTnLst>
                                </p:cTn>
                              </p:par>
                            </p:childTnLst>
                          </p:cTn>
                        </p:par>
                      </p:childTnLst>
                    </p:cTn>
                  </p:par>
                  <p:par>
                    <p:cTn id="142" fill="hold">
                      <p:stCondLst>
                        <p:cond delay="indefinite"/>
                      </p:stCondLst>
                      <p:childTnLst>
                        <p:par>
                          <p:cTn id="143" fill="hold">
                            <p:stCondLst>
                              <p:cond delay="0"/>
                            </p:stCondLst>
                            <p:childTnLst>
                              <p:par>
                                <p:cTn id="144" presetID="10" presetClass="entr" presetSubtype="0" fill="hold" nodeType="clickEffect">
                                  <p:stCondLst>
                                    <p:cond delay="0"/>
                                  </p:stCondLst>
                                  <p:childTnLst>
                                    <p:set>
                                      <p:cBhvr>
                                        <p:cTn id="145" dur="1" fill="hold">
                                          <p:stCondLst>
                                            <p:cond delay="0"/>
                                          </p:stCondLst>
                                        </p:cTn>
                                        <p:tgtEl>
                                          <p:spTgt spid="42">
                                            <p:txEl>
                                              <p:pRg st="9" end="9"/>
                                            </p:txEl>
                                          </p:spTgt>
                                        </p:tgtEl>
                                        <p:attrNameLst>
                                          <p:attrName>style.visibility</p:attrName>
                                        </p:attrNameLst>
                                      </p:cBhvr>
                                      <p:to>
                                        <p:strVal val="visible"/>
                                      </p:to>
                                    </p:set>
                                    <p:animEffect transition="in" filter="fade">
                                      <p:cBhvr>
                                        <p:cTn id="146" dur="500"/>
                                        <p:tgtEl>
                                          <p:spTgt spid="42">
                                            <p:txEl>
                                              <p:pRg st="9" end="9"/>
                                            </p:txEl>
                                          </p:spTgt>
                                        </p:tgtEl>
                                      </p:cBhvr>
                                    </p:animEffect>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nodeType="clickEffect">
                                  <p:stCondLst>
                                    <p:cond delay="0"/>
                                  </p:stCondLst>
                                  <p:childTnLst>
                                    <p:set>
                                      <p:cBhvr>
                                        <p:cTn id="150" dur="1" fill="hold">
                                          <p:stCondLst>
                                            <p:cond delay="0"/>
                                          </p:stCondLst>
                                        </p:cTn>
                                        <p:tgtEl>
                                          <p:spTgt spid="42">
                                            <p:txEl>
                                              <p:pRg st="11" end="11"/>
                                            </p:txEl>
                                          </p:spTgt>
                                        </p:tgtEl>
                                        <p:attrNameLst>
                                          <p:attrName>style.visibility</p:attrName>
                                        </p:attrNameLst>
                                      </p:cBhvr>
                                      <p:to>
                                        <p:strVal val="visible"/>
                                      </p:to>
                                    </p:set>
                                    <p:animEffect transition="in" filter="fade">
                                      <p:cBhvr>
                                        <p:cTn id="151" dur="500"/>
                                        <p:tgtEl>
                                          <p:spTgt spid="42">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27" grpId="0" animBg="1"/>
      <p:bldP spid="28" grpId="0" animBg="1"/>
      <p:bldP spid="28" grpId="1" animBg="1"/>
      <p:bldP spid="29" grpId="0" animBg="1"/>
      <p:bldP spid="30" grpId="0" animBg="1"/>
      <p:bldP spid="31" grpId="0"/>
      <p:bldP spid="31" grpId="1"/>
      <p:bldP spid="32" grpId="0" animBg="1"/>
      <p:bldP spid="33" grpId="0" animBg="1"/>
      <p:bldP spid="34" grpId="0" animBg="1"/>
      <p:bldP spid="35" grpId="0" animBg="1"/>
      <p:bldP spid="36" grpId="0" animBg="1"/>
      <p:bldP spid="37" grpId="0" animBg="1"/>
      <p:bldP spid="38" grpId="0" animBg="1"/>
      <p:bldP spid="39" grpId="0" animBg="1"/>
      <p:bldP spid="40" grpId="0" animBg="1"/>
      <p:bldP spid="40" grpId="1" animBg="1"/>
      <p:bldP spid="4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1231562" cy="604798"/>
          </a:xfrm>
        </p:spPr>
        <p:txBody>
          <a:bodyPr/>
          <a:lstStyle/>
          <a:p>
            <a:r>
              <a:rPr lang="en-US"/>
              <a:t>Lesson 1: Basic concepts of Azure SQL Database</a:t>
            </a:r>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Pay only for what you need</a:t>
            </a:r>
          </a:p>
        </p:txBody>
      </p:sp>
      <p:sp>
        <p:nvSpPr>
          <p:cNvPr id="5" name="Text Placeholder 2">
            <a:extLst>
              <a:ext uri="{FF2B5EF4-FFF2-40B4-BE49-F238E27FC236}">
                <a16:creationId xmlns:a16="http://schemas.microsoft.com/office/drawing/2014/main" id="{EB804A8F-CAFE-4B2B-B34F-27C501ACD35A}"/>
              </a:ext>
            </a:extLst>
          </p:cNvPr>
          <p:cNvSpPr txBox="1">
            <a:spLocks/>
          </p:cNvSpPr>
          <p:nvPr/>
        </p:nvSpPr>
        <p:spPr>
          <a:xfrm>
            <a:off x="1765588" y="4541619"/>
            <a:ext cx="9770776" cy="680784"/>
          </a:xfrm>
          <a:prstGeom prst="rect">
            <a:avLst/>
          </a:prstGeom>
        </p:spPr>
        <p:txBody>
          <a:bodyPr vert="horz" wrap="square" lIns="149217" tIns="93260" rIns="149217" bIns="93260" rtlCol="0" anchor="ctr">
            <a:spAutoFit/>
          </a:bodyPr>
          <a:lst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63">
              <a:lnSpc>
                <a:spcPct val="100000"/>
              </a:lnSpc>
              <a:buFont typeface="Arial" pitchFamily="34" charset="0"/>
              <a:buNone/>
              <a:defRPr/>
            </a:pPr>
            <a:r>
              <a:rPr lang="en-US" sz="1600">
                <a:solidFill>
                  <a:srgbClr val="0078D7"/>
                </a:solidFill>
                <a:latin typeface="Segoe UI"/>
                <a:cs typeface="Segoe UI" panose="020B0502040204020203" pitchFamily="34" charset="0"/>
              </a:rPr>
              <a:t>Business continuity and data protection: </a:t>
            </a:r>
            <a:r>
              <a:rPr lang="en-US" sz="1600" kern="0">
                <a:solidFill>
                  <a:srgbClr val="505050">
                    <a:lumMod val="75000"/>
                  </a:srgbClr>
                </a:solidFill>
                <a:latin typeface="Segoe UI"/>
              </a:rPr>
              <a:t>A spectrum of business-continuity features across tiers lets you dial up control over data recovery and failover.</a:t>
            </a:r>
            <a:endParaRPr lang="en-US" sz="1600">
              <a:solidFill>
                <a:srgbClr val="0078D7"/>
              </a:solidFill>
              <a:latin typeface="Segoe UI"/>
              <a:cs typeface="Segoe UI" panose="020B0502040204020203" pitchFamily="34" charset="0"/>
            </a:endParaRPr>
          </a:p>
        </p:txBody>
      </p:sp>
      <p:sp>
        <p:nvSpPr>
          <p:cNvPr id="6" name="Text Placeholder 2">
            <a:extLst>
              <a:ext uri="{FF2B5EF4-FFF2-40B4-BE49-F238E27FC236}">
                <a16:creationId xmlns:a16="http://schemas.microsoft.com/office/drawing/2014/main" id="{AEB97432-1155-4267-9675-64EB1E428714}"/>
              </a:ext>
            </a:extLst>
          </p:cNvPr>
          <p:cNvSpPr txBox="1">
            <a:spLocks/>
          </p:cNvSpPr>
          <p:nvPr/>
        </p:nvSpPr>
        <p:spPr>
          <a:xfrm>
            <a:off x="1765588" y="5394121"/>
            <a:ext cx="9899946" cy="927005"/>
          </a:xfrm>
          <a:prstGeom prst="rect">
            <a:avLst/>
          </a:prstGeom>
        </p:spPr>
        <p:txBody>
          <a:bodyPr vert="horz" wrap="square" lIns="149217" tIns="93260" rIns="149217" bIns="93260" rtlCol="0" anchor="ctr">
            <a:spAutoFit/>
          </a:bodyPr>
          <a:lst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63">
              <a:lnSpc>
                <a:spcPct val="100000"/>
              </a:lnSpc>
              <a:buFont typeface="Arial" pitchFamily="34" charset="0"/>
              <a:buNone/>
              <a:defRPr/>
            </a:pPr>
            <a:r>
              <a:rPr lang="en-US" sz="1600">
                <a:solidFill>
                  <a:srgbClr val="0078D7"/>
                </a:solidFill>
                <a:latin typeface="Segoe UI"/>
                <a:cs typeface="Segoe UI" panose="020B0502040204020203" pitchFamily="34" charset="0"/>
              </a:rPr>
              <a:t>Familiar and fully-managed: </a:t>
            </a:r>
            <a:r>
              <a:rPr lang="en-US" sz="1600" kern="0">
                <a:solidFill>
                  <a:srgbClr val="505050">
                    <a:lumMod val="75000"/>
                  </a:srgbClr>
                </a:solidFill>
                <a:latin typeface="Segoe UI"/>
              </a:rPr>
              <a:t>Near-complete SQL Server compatibility and unprecedented efficiencies as your applications scale with a near-zero maintenance service and a variety of familiar management tools and programmatic APIs.</a:t>
            </a:r>
            <a:endParaRPr lang="en-US" sz="1600">
              <a:solidFill>
                <a:srgbClr val="0078D7"/>
              </a:solidFill>
              <a:latin typeface="Segoe UI"/>
              <a:cs typeface="Segoe UI" panose="020B0502040204020203" pitchFamily="34" charset="0"/>
            </a:endParaRPr>
          </a:p>
        </p:txBody>
      </p:sp>
      <p:sp>
        <p:nvSpPr>
          <p:cNvPr id="7" name="Text Placeholder 2">
            <a:extLst>
              <a:ext uri="{FF2B5EF4-FFF2-40B4-BE49-F238E27FC236}">
                <a16:creationId xmlns:a16="http://schemas.microsoft.com/office/drawing/2014/main" id="{E8E90D33-0450-43EF-9771-6EB04916852A}"/>
              </a:ext>
            </a:extLst>
          </p:cNvPr>
          <p:cNvSpPr txBox="1">
            <a:spLocks/>
          </p:cNvSpPr>
          <p:nvPr/>
        </p:nvSpPr>
        <p:spPr>
          <a:xfrm>
            <a:off x="1787978" y="3429000"/>
            <a:ext cx="9713804" cy="927005"/>
          </a:xfrm>
          <a:prstGeom prst="rect">
            <a:avLst/>
          </a:prstGeom>
        </p:spPr>
        <p:txBody>
          <a:bodyPr vert="horz" wrap="square" lIns="149217" tIns="93260" rIns="149217" bIns="93260" rtlCol="0" anchor="ctr">
            <a:spAutoFit/>
          </a:bodyPr>
          <a:lst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63">
              <a:lnSpc>
                <a:spcPct val="100000"/>
              </a:lnSpc>
              <a:buFont typeface="Arial" pitchFamily="34" charset="0"/>
              <a:buNone/>
              <a:defRPr/>
            </a:pPr>
            <a:r>
              <a:rPr lang="en-US" sz="1600">
                <a:solidFill>
                  <a:srgbClr val="0078D7"/>
                </a:solidFill>
                <a:latin typeface="Segoe UI"/>
                <a:cs typeface="Segoe UI" panose="020B0502040204020203" pitchFamily="34" charset="0"/>
              </a:rPr>
              <a:t>Elastic scale and performance: </a:t>
            </a:r>
            <a:r>
              <a:rPr lang="en-US" sz="1600" kern="0">
                <a:solidFill>
                  <a:srgbClr val="505050">
                    <a:lumMod val="75000"/>
                  </a:srgbClr>
                </a:solidFill>
                <a:latin typeface="Segoe UI"/>
              </a:rPr>
              <a:t>Three service tiers within DTU-based model, and two tiers within vCore-based model let you scale up and down based on throughput needs and offer better resource isolation and an improved billing experience.</a:t>
            </a:r>
            <a:endParaRPr lang="en-US" sz="1600">
              <a:solidFill>
                <a:srgbClr val="0078D7"/>
              </a:solidFill>
              <a:latin typeface="Segoe UI"/>
              <a:cs typeface="Segoe UI" panose="020B0502040204020203" pitchFamily="34" charset="0"/>
            </a:endParaRPr>
          </a:p>
        </p:txBody>
      </p:sp>
      <p:grpSp>
        <p:nvGrpSpPr>
          <p:cNvPr id="8" name="Group 7">
            <a:extLst>
              <a:ext uri="{FF2B5EF4-FFF2-40B4-BE49-F238E27FC236}">
                <a16:creationId xmlns:a16="http://schemas.microsoft.com/office/drawing/2014/main" id="{C095A3E0-15E5-46E5-9EBC-CCD30D28737C}"/>
              </a:ext>
            </a:extLst>
          </p:cNvPr>
          <p:cNvGrpSpPr/>
          <p:nvPr/>
        </p:nvGrpSpPr>
        <p:grpSpPr>
          <a:xfrm>
            <a:off x="839833" y="4528931"/>
            <a:ext cx="706160" cy="706160"/>
            <a:chOff x="269345" y="4904768"/>
            <a:chExt cx="692377" cy="692377"/>
          </a:xfrm>
        </p:grpSpPr>
        <p:grpSp>
          <p:nvGrpSpPr>
            <p:cNvPr id="9" name="Group 8">
              <a:extLst>
                <a:ext uri="{FF2B5EF4-FFF2-40B4-BE49-F238E27FC236}">
                  <a16:creationId xmlns:a16="http://schemas.microsoft.com/office/drawing/2014/main" id="{CD5E3E01-1C87-4771-816F-122099EBB8A2}"/>
                </a:ext>
              </a:extLst>
            </p:cNvPr>
            <p:cNvGrpSpPr/>
            <p:nvPr/>
          </p:nvGrpSpPr>
          <p:grpSpPr>
            <a:xfrm>
              <a:off x="484758" y="5011600"/>
              <a:ext cx="267558" cy="462569"/>
              <a:chOff x="9483369" y="4036570"/>
              <a:chExt cx="385258" cy="666058"/>
            </a:xfrm>
          </p:grpSpPr>
          <p:sp>
            <p:nvSpPr>
              <p:cNvPr id="11" name="Freeform: Shape 1397">
                <a:extLst>
                  <a:ext uri="{FF2B5EF4-FFF2-40B4-BE49-F238E27FC236}">
                    <a16:creationId xmlns:a16="http://schemas.microsoft.com/office/drawing/2014/main" id="{ADD51F36-4EE6-4D03-8D33-F0B67E671EA0}"/>
                  </a:ext>
                </a:extLst>
              </p:cNvPr>
              <p:cNvSpPr/>
              <p:nvPr/>
            </p:nvSpPr>
            <p:spPr bwMode="auto">
              <a:xfrm>
                <a:off x="9545328" y="4036570"/>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rgbClr val="0177D7"/>
                </a:solidFill>
                <a:miter lim="800000"/>
                <a:headEnd/>
                <a:tailEnd/>
              </a:ln>
            </p:spPr>
            <p:txBody>
              <a:bodyPr vert="horz" wrap="square" lIns="93260" tIns="46630" rIns="93260" bIns="46630" numCol="1" anchor="t" anchorCtr="0" compatLnSpc="1">
                <a:prstTxWarp prst="textNoShape">
                  <a:avLst/>
                </a:prstTxWarp>
                <a:noAutofit/>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Calibri Light" panose="020F0302020204030204"/>
                </a:endParaRPr>
              </a:p>
            </p:txBody>
          </p:sp>
          <p:sp>
            <p:nvSpPr>
              <p:cNvPr id="12" name="Freeform: Shape 1398">
                <a:extLst>
                  <a:ext uri="{FF2B5EF4-FFF2-40B4-BE49-F238E27FC236}">
                    <a16:creationId xmlns:a16="http://schemas.microsoft.com/office/drawing/2014/main" id="{311C3BD9-1974-4A8C-9D2C-C58E347F2655}"/>
                  </a:ext>
                </a:extLst>
              </p:cNvPr>
              <p:cNvSpPr/>
              <p:nvPr/>
            </p:nvSpPr>
            <p:spPr bwMode="auto">
              <a:xfrm>
                <a:off x="9483369" y="4341050"/>
                <a:ext cx="385258" cy="361578"/>
              </a:xfrm>
              <a:custGeom>
                <a:avLst/>
                <a:gdLst>
                  <a:gd name="connsiteX0" fmla="*/ 0 w 467028"/>
                  <a:gd name="connsiteY0" fmla="*/ 0 h 438322"/>
                  <a:gd name="connsiteX1" fmla="*/ 40334 w 467028"/>
                  <a:gd name="connsiteY1" fmla="*/ 0 h 438322"/>
                  <a:gd name="connsiteX2" fmla="*/ 40334 w 467028"/>
                  <a:gd name="connsiteY2" fmla="*/ 55025 h 438322"/>
                  <a:gd name="connsiteX3" fmla="*/ 398202 w 467028"/>
                  <a:gd name="connsiteY3" fmla="*/ 55025 h 438322"/>
                  <a:gd name="connsiteX4" fmla="*/ 398202 w 467028"/>
                  <a:gd name="connsiteY4" fmla="*/ 0 h 438322"/>
                  <a:gd name="connsiteX5" fmla="*/ 467028 w 467028"/>
                  <a:gd name="connsiteY5" fmla="*/ 0 h 438322"/>
                  <a:gd name="connsiteX6" fmla="*/ 467028 w 467028"/>
                  <a:gd name="connsiteY6" fmla="*/ 438322 h 438322"/>
                  <a:gd name="connsiteX7" fmla="*/ 0 w 467028"/>
                  <a:gd name="connsiteY7" fmla="*/ 438322 h 438322"/>
                  <a:gd name="connsiteX8" fmla="*/ 0 w 467028"/>
                  <a:gd name="connsiteY8" fmla="*/ 0 h 438322"/>
                  <a:gd name="connsiteX9" fmla="*/ 232862 w 467028"/>
                  <a:gd name="connsiteY9" fmla="*/ 141324 h 438322"/>
                  <a:gd name="connsiteX10" fmla="*/ 185680 w 467028"/>
                  <a:gd name="connsiteY10" fmla="*/ 189665 h 438322"/>
                  <a:gd name="connsiteX11" fmla="*/ 216685 w 467028"/>
                  <a:gd name="connsiteY11" fmla="*/ 233977 h 438322"/>
                  <a:gd name="connsiteX12" fmla="*/ 216685 w 467028"/>
                  <a:gd name="connsiteY12" fmla="*/ 309174 h 438322"/>
                  <a:gd name="connsiteX13" fmla="*/ 249038 w 467028"/>
                  <a:gd name="connsiteY13" fmla="*/ 309174 h 438322"/>
                  <a:gd name="connsiteX14" fmla="*/ 249038 w 467028"/>
                  <a:gd name="connsiteY14" fmla="*/ 233977 h 438322"/>
                  <a:gd name="connsiteX15" fmla="*/ 280043 w 467028"/>
                  <a:gd name="connsiteY15" fmla="*/ 189665 h 438322"/>
                  <a:gd name="connsiteX16" fmla="*/ 232862 w 467028"/>
                  <a:gd name="connsiteY16" fmla="*/ 141324 h 438322"/>
                  <a:gd name="connsiteX0" fmla="*/ 0 w 467028"/>
                  <a:gd name="connsiteY0" fmla="*/ 0 h 438322"/>
                  <a:gd name="connsiteX1" fmla="*/ 40334 w 467028"/>
                  <a:gd name="connsiteY1" fmla="*/ 0 h 438322"/>
                  <a:gd name="connsiteX2" fmla="*/ 398202 w 467028"/>
                  <a:gd name="connsiteY2" fmla="*/ 55025 h 438322"/>
                  <a:gd name="connsiteX3" fmla="*/ 398202 w 467028"/>
                  <a:gd name="connsiteY3" fmla="*/ 0 h 438322"/>
                  <a:gd name="connsiteX4" fmla="*/ 467028 w 467028"/>
                  <a:gd name="connsiteY4" fmla="*/ 0 h 438322"/>
                  <a:gd name="connsiteX5" fmla="*/ 467028 w 467028"/>
                  <a:gd name="connsiteY5" fmla="*/ 438322 h 438322"/>
                  <a:gd name="connsiteX6" fmla="*/ 0 w 467028"/>
                  <a:gd name="connsiteY6" fmla="*/ 438322 h 438322"/>
                  <a:gd name="connsiteX7" fmla="*/ 0 w 467028"/>
                  <a:gd name="connsiteY7" fmla="*/ 0 h 438322"/>
                  <a:gd name="connsiteX8" fmla="*/ 232862 w 467028"/>
                  <a:gd name="connsiteY8" fmla="*/ 141324 h 438322"/>
                  <a:gd name="connsiteX9" fmla="*/ 185680 w 467028"/>
                  <a:gd name="connsiteY9" fmla="*/ 189665 h 438322"/>
                  <a:gd name="connsiteX10" fmla="*/ 216685 w 467028"/>
                  <a:gd name="connsiteY10" fmla="*/ 233977 h 438322"/>
                  <a:gd name="connsiteX11" fmla="*/ 216685 w 467028"/>
                  <a:gd name="connsiteY11" fmla="*/ 309174 h 438322"/>
                  <a:gd name="connsiteX12" fmla="*/ 249038 w 467028"/>
                  <a:gd name="connsiteY12" fmla="*/ 309174 h 438322"/>
                  <a:gd name="connsiteX13" fmla="*/ 249038 w 467028"/>
                  <a:gd name="connsiteY13" fmla="*/ 233977 h 438322"/>
                  <a:gd name="connsiteX14" fmla="*/ 280043 w 467028"/>
                  <a:gd name="connsiteY14" fmla="*/ 189665 h 438322"/>
                  <a:gd name="connsiteX15" fmla="*/ 232862 w 467028"/>
                  <a:gd name="connsiteY15" fmla="*/ 141324 h 438322"/>
                  <a:gd name="connsiteX0" fmla="*/ 0 w 467028"/>
                  <a:gd name="connsiteY0" fmla="*/ 0 h 438322"/>
                  <a:gd name="connsiteX1" fmla="*/ 40334 w 467028"/>
                  <a:gd name="connsiteY1" fmla="*/ 0 h 438322"/>
                  <a:gd name="connsiteX2" fmla="*/ 398202 w 467028"/>
                  <a:gd name="connsiteY2" fmla="*/ 0 h 438322"/>
                  <a:gd name="connsiteX3" fmla="*/ 467028 w 467028"/>
                  <a:gd name="connsiteY3" fmla="*/ 0 h 438322"/>
                  <a:gd name="connsiteX4" fmla="*/ 467028 w 467028"/>
                  <a:gd name="connsiteY4" fmla="*/ 438322 h 438322"/>
                  <a:gd name="connsiteX5" fmla="*/ 0 w 467028"/>
                  <a:gd name="connsiteY5" fmla="*/ 438322 h 438322"/>
                  <a:gd name="connsiteX6" fmla="*/ 0 w 467028"/>
                  <a:gd name="connsiteY6" fmla="*/ 0 h 438322"/>
                  <a:gd name="connsiteX7" fmla="*/ 232862 w 467028"/>
                  <a:gd name="connsiteY7" fmla="*/ 141324 h 438322"/>
                  <a:gd name="connsiteX8" fmla="*/ 185680 w 467028"/>
                  <a:gd name="connsiteY8" fmla="*/ 189665 h 438322"/>
                  <a:gd name="connsiteX9" fmla="*/ 216685 w 467028"/>
                  <a:gd name="connsiteY9" fmla="*/ 233977 h 438322"/>
                  <a:gd name="connsiteX10" fmla="*/ 216685 w 467028"/>
                  <a:gd name="connsiteY10" fmla="*/ 309174 h 438322"/>
                  <a:gd name="connsiteX11" fmla="*/ 249038 w 467028"/>
                  <a:gd name="connsiteY11" fmla="*/ 309174 h 438322"/>
                  <a:gd name="connsiteX12" fmla="*/ 249038 w 467028"/>
                  <a:gd name="connsiteY12" fmla="*/ 233977 h 438322"/>
                  <a:gd name="connsiteX13" fmla="*/ 280043 w 467028"/>
                  <a:gd name="connsiteY13" fmla="*/ 189665 h 438322"/>
                  <a:gd name="connsiteX14" fmla="*/ 232862 w 467028"/>
                  <a:gd name="connsiteY14" fmla="*/ 141324 h 438322"/>
                  <a:gd name="connsiteX0" fmla="*/ 0 w 467028"/>
                  <a:gd name="connsiteY0" fmla="*/ 0 h 438322"/>
                  <a:gd name="connsiteX1" fmla="*/ 40334 w 467028"/>
                  <a:gd name="connsiteY1" fmla="*/ 0 h 438322"/>
                  <a:gd name="connsiteX2" fmla="*/ 467028 w 467028"/>
                  <a:gd name="connsiteY2" fmla="*/ 0 h 438322"/>
                  <a:gd name="connsiteX3" fmla="*/ 467028 w 467028"/>
                  <a:gd name="connsiteY3" fmla="*/ 438322 h 438322"/>
                  <a:gd name="connsiteX4" fmla="*/ 0 w 467028"/>
                  <a:gd name="connsiteY4" fmla="*/ 438322 h 438322"/>
                  <a:gd name="connsiteX5" fmla="*/ 0 w 467028"/>
                  <a:gd name="connsiteY5" fmla="*/ 0 h 438322"/>
                  <a:gd name="connsiteX6" fmla="*/ 232862 w 467028"/>
                  <a:gd name="connsiteY6" fmla="*/ 141324 h 438322"/>
                  <a:gd name="connsiteX7" fmla="*/ 185680 w 467028"/>
                  <a:gd name="connsiteY7" fmla="*/ 189665 h 438322"/>
                  <a:gd name="connsiteX8" fmla="*/ 216685 w 467028"/>
                  <a:gd name="connsiteY8" fmla="*/ 233977 h 438322"/>
                  <a:gd name="connsiteX9" fmla="*/ 216685 w 467028"/>
                  <a:gd name="connsiteY9" fmla="*/ 309174 h 438322"/>
                  <a:gd name="connsiteX10" fmla="*/ 249038 w 467028"/>
                  <a:gd name="connsiteY10" fmla="*/ 309174 h 438322"/>
                  <a:gd name="connsiteX11" fmla="*/ 249038 w 467028"/>
                  <a:gd name="connsiteY11" fmla="*/ 233977 h 438322"/>
                  <a:gd name="connsiteX12" fmla="*/ 280043 w 467028"/>
                  <a:gd name="connsiteY12" fmla="*/ 189665 h 438322"/>
                  <a:gd name="connsiteX13" fmla="*/ 232862 w 467028"/>
                  <a:gd name="connsiteY13" fmla="*/ 141324 h 438322"/>
                  <a:gd name="connsiteX0" fmla="*/ 0 w 467028"/>
                  <a:gd name="connsiteY0" fmla="*/ 0 h 438322"/>
                  <a:gd name="connsiteX1" fmla="*/ 467028 w 467028"/>
                  <a:gd name="connsiteY1" fmla="*/ 0 h 438322"/>
                  <a:gd name="connsiteX2" fmla="*/ 467028 w 467028"/>
                  <a:gd name="connsiteY2" fmla="*/ 438322 h 438322"/>
                  <a:gd name="connsiteX3" fmla="*/ 0 w 467028"/>
                  <a:gd name="connsiteY3" fmla="*/ 438322 h 438322"/>
                  <a:gd name="connsiteX4" fmla="*/ 0 w 467028"/>
                  <a:gd name="connsiteY4" fmla="*/ 0 h 438322"/>
                  <a:gd name="connsiteX5" fmla="*/ 232862 w 467028"/>
                  <a:gd name="connsiteY5" fmla="*/ 141324 h 438322"/>
                  <a:gd name="connsiteX6" fmla="*/ 185680 w 467028"/>
                  <a:gd name="connsiteY6" fmla="*/ 189665 h 438322"/>
                  <a:gd name="connsiteX7" fmla="*/ 216685 w 467028"/>
                  <a:gd name="connsiteY7" fmla="*/ 233977 h 438322"/>
                  <a:gd name="connsiteX8" fmla="*/ 216685 w 467028"/>
                  <a:gd name="connsiteY8" fmla="*/ 309174 h 438322"/>
                  <a:gd name="connsiteX9" fmla="*/ 249038 w 467028"/>
                  <a:gd name="connsiteY9" fmla="*/ 309174 h 438322"/>
                  <a:gd name="connsiteX10" fmla="*/ 249038 w 467028"/>
                  <a:gd name="connsiteY10" fmla="*/ 233977 h 438322"/>
                  <a:gd name="connsiteX11" fmla="*/ 280043 w 467028"/>
                  <a:gd name="connsiteY11" fmla="*/ 189665 h 438322"/>
                  <a:gd name="connsiteX12" fmla="*/ 232862 w 467028"/>
                  <a:gd name="connsiteY12" fmla="*/ 141324 h 4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028" h="438322">
                    <a:moveTo>
                      <a:pt x="0" y="0"/>
                    </a:moveTo>
                    <a:lnTo>
                      <a:pt x="467028" y="0"/>
                    </a:lnTo>
                    <a:lnTo>
                      <a:pt x="467028" y="438322"/>
                    </a:lnTo>
                    <a:lnTo>
                      <a:pt x="0" y="438322"/>
                    </a:lnTo>
                    <a:lnTo>
                      <a:pt x="0" y="0"/>
                    </a:lnTo>
                    <a:close/>
                    <a:moveTo>
                      <a:pt x="232862" y="141324"/>
                    </a:moveTo>
                    <a:cubicBezTo>
                      <a:pt x="207249" y="141324"/>
                      <a:pt x="185680" y="162809"/>
                      <a:pt x="185680" y="189665"/>
                    </a:cubicBezTo>
                    <a:cubicBezTo>
                      <a:pt x="185680" y="209807"/>
                      <a:pt x="199161" y="227263"/>
                      <a:pt x="216685" y="233977"/>
                    </a:cubicBezTo>
                    <a:lnTo>
                      <a:pt x="216685" y="309174"/>
                    </a:lnTo>
                    <a:lnTo>
                      <a:pt x="249038" y="309174"/>
                    </a:lnTo>
                    <a:lnTo>
                      <a:pt x="249038" y="233977"/>
                    </a:lnTo>
                    <a:cubicBezTo>
                      <a:pt x="267911" y="227263"/>
                      <a:pt x="280043" y="209807"/>
                      <a:pt x="280043" y="189665"/>
                    </a:cubicBezTo>
                    <a:cubicBezTo>
                      <a:pt x="280043" y="162809"/>
                      <a:pt x="259822" y="141324"/>
                      <a:pt x="232862" y="141324"/>
                    </a:cubicBezTo>
                    <a:close/>
                  </a:path>
                </a:pathLst>
              </a:custGeom>
              <a:solidFill>
                <a:srgbClr val="FFFFFF"/>
              </a:solidFill>
              <a:ln w="12700">
                <a:solidFill>
                  <a:srgbClr val="0177D7"/>
                </a:solidFill>
                <a:miter lim="800000"/>
                <a:headEnd/>
                <a:tailEnd/>
              </a:ln>
            </p:spPr>
            <p:txBody>
              <a:bodyPr vert="horz" wrap="square" lIns="93260" tIns="46630" rIns="93260" bIns="46630" numCol="1" anchor="t" anchorCtr="0" compatLnSpc="1">
                <a:prstTxWarp prst="textNoShape">
                  <a:avLst/>
                </a:prstTxWarp>
                <a:noAutofit/>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Calibri Light" panose="020F0302020204030204"/>
                </a:endParaRPr>
              </a:p>
            </p:txBody>
          </p:sp>
        </p:grpSp>
        <p:sp>
          <p:nvSpPr>
            <p:cNvPr id="10" name="Oval 9">
              <a:extLst>
                <a:ext uri="{FF2B5EF4-FFF2-40B4-BE49-F238E27FC236}">
                  <a16:creationId xmlns:a16="http://schemas.microsoft.com/office/drawing/2014/main" id="{005EE189-7C71-44A8-9B1E-312F43314E04}"/>
                </a:ext>
              </a:extLst>
            </p:cNvPr>
            <p:cNvSpPr/>
            <p:nvPr/>
          </p:nvSpPr>
          <p:spPr bwMode="auto">
            <a:xfrm>
              <a:off x="269345" y="4904768"/>
              <a:ext cx="692377" cy="692377"/>
            </a:xfrm>
            <a:prstGeom prst="ellipse">
              <a:avLst/>
            </a:prstGeom>
            <a:noFill/>
            <a:ln w="12700" cap="flat" cmpd="sng" algn="ctr">
              <a:solidFill>
                <a:srgbClr val="0177D7"/>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7FCF5734-7361-47B4-9CED-8705B2DB03A8}"/>
              </a:ext>
            </a:extLst>
          </p:cNvPr>
          <p:cNvGrpSpPr/>
          <p:nvPr/>
        </p:nvGrpSpPr>
        <p:grpSpPr>
          <a:xfrm>
            <a:off x="839833" y="5517544"/>
            <a:ext cx="706160" cy="706160"/>
            <a:chOff x="269345" y="5831475"/>
            <a:chExt cx="692377" cy="692377"/>
          </a:xfrm>
        </p:grpSpPr>
        <p:grpSp>
          <p:nvGrpSpPr>
            <p:cNvPr id="14" name="Group 13">
              <a:extLst>
                <a:ext uri="{FF2B5EF4-FFF2-40B4-BE49-F238E27FC236}">
                  <a16:creationId xmlns:a16="http://schemas.microsoft.com/office/drawing/2014/main" id="{06F5FA2E-E651-4B15-BC06-C24CDF8F1BA5}"/>
                </a:ext>
              </a:extLst>
            </p:cNvPr>
            <p:cNvGrpSpPr/>
            <p:nvPr/>
          </p:nvGrpSpPr>
          <p:grpSpPr>
            <a:xfrm>
              <a:off x="421101" y="6033326"/>
              <a:ext cx="385166" cy="297095"/>
              <a:chOff x="919596" y="1154235"/>
              <a:chExt cx="3006714" cy="2319201"/>
            </a:xfrm>
          </p:grpSpPr>
          <p:sp>
            <p:nvSpPr>
              <p:cNvPr id="16" name="Freeform 18">
                <a:extLst>
                  <a:ext uri="{FF2B5EF4-FFF2-40B4-BE49-F238E27FC236}">
                    <a16:creationId xmlns:a16="http://schemas.microsoft.com/office/drawing/2014/main" id="{9B378171-C489-454E-BA74-B074AF253652}"/>
                  </a:ext>
                </a:extLst>
              </p:cNvPr>
              <p:cNvSpPr>
                <a:spLocks noChangeArrowheads="1"/>
              </p:cNvSpPr>
              <p:nvPr/>
            </p:nvSpPr>
            <p:spPr bwMode="auto">
              <a:xfrm>
                <a:off x="919596" y="1154235"/>
                <a:ext cx="3006714" cy="2054473"/>
              </a:xfrm>
              <a:prstGeom prst="roundRect">
                <a:avLst>
                  <a:gd name="adj" fmla="val 7988"/>
                </a:avLst>
              </a:prstGeom>
              <a:noFill/>
              <a:ln w="12700" cap="sq">
                <a:solidFill>
                  <a:srgbClr val="0177D7"/>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7" name="Line 19">
                <a:extLst>
                  <a:ext uri="{FF2B5EF4-FFF2-40B4-BE49-F238E27FC236}">
                    <a16:creationId xmlns:a16="http://schemas.microsoft.com/office/drawing/2014/main" id="{44F5B606-70CF-40DF-B450-A8D62287BB7E}"/>
                  </a:ext>
                </a:extLst>
              </p:cNvPr>
              <p:cNvSpPr>
                <a:spLocks noChangeShapeType="1"/>
              </p:cNvSpPr>
              <p:nvPr/>
            </p:nvSpPr>
            <p:spPr bwMode="auto">
              <a:xfrm>
                <a:off x="1728891" y="3473436"/>
                <a:ext cx="1388124" cy="0"/>
              </a:xfrm>
              <a:prstGeom prst="line">
                <a:avLst/>
              </a:prstGeom>
              <a:noFill/>
              <a:ln w="12700" cap="sq">
                <a:solidFill>
                  <a:srgbClr val="0177D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8" name="Line 20">
                <a:extLst>
                  <a:ext uri="{FF2B5EF4-FFF2-40B4-BE49-F238E27FC236}">
                    <a16:creationId xmlns:a16="http://schemas.microsoft.com/office/drawing/2014/main" id="{E37178EB-64A4-412B-88F1-B7DE3B44882D}"/>
                  </a:ext>
                </a:extLst>
              </p:cNvPr>
              <p:cNvSpPr>
                <a:spLocks noChangeShapeType="1"/>
              </p:cNvSpPr>
              <p:nvPr/>
            </p:nvSpPr>
            <p:spPr bwMode="auto">
              <a:xfrm>
                <a:off x="2422953" y="3211500"/>
                <a:ext cx="0" cy="261936"/>
              </a:xfrm>
              <a:prstGeom prst="line">
                <a:avLst/>
              </a:prstGeom>
              <a:noFill/>
              <a:ln w="12700" cap="sq">
                <a:solidFill>
                  <a:srgbClr val="0177D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9" name="Freeform 21">
                <a:extLst>
                  <a:ext uri="{FF2B5EF4-FFF2-40B4-BE49-F238E27FC236}">
                    <a16:creationId xmlns:a16="http://schemas.microsoft.com/office/drawing/2014/main" id="{95CBB7FE-8B03-4A01-A668-745399101C1A}"/>
                  </a:ext>
                </a:extLst>
              </p:cNvPr>
              <p:cNvSpPr>
                <a:spLocks noChangeArrowheads="1"/>
              </p:cNvSpPr>
              <p:nvPr/>
            </p:nvSpPr>
            <p:spPr bwMode="auto">
              <a:xfrm>
                <a:off x="2373210" y="2973268"/>
                <a:ext cx="99486" cy="99486"/>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rgbClr val="0177D7"/>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0" name="Line 22">
                <a:extLst>
                  <a:ext uri="{FF2B5EF4-FFF2-40B4-BE49-F238E27FC236}">
                    <a16:creationId xmlns:a16="http://schemas.microsoft.com/office/drawing/2014/main" id="{0140A2FA-B680-4740-B154-5D0277563779}"/>
                  </a:ext>
                </a:extLst>
              </p:cNvPr>
              <p:cNvSpPr>
                <a:spLocks noChangeShapeType="1"/>
              </p:cNvSpPr>
              <p:nvPr/>
            </p:nvSpPr>
            <p:spPr bwMode="auto">
              <a:xfrm>
                <a:off x="919596" y="2843415"/>
                <a:ext cx="3006714" cy="0"/>
              </a:xfrm>
              <a:prstGeom prst="line">
                <a:avLst/>
              </a:prstGeom>
              <a:noFill/>
              <a:ln w="12700" cap="sq">
                <a:solidFill>
                  <a:srgbClr val="0177D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nvGrpSpPr>
              <p:cNvPr id="21" name="Group 20">
                <a:extLst>
                  <a:ext uri="{FF2B5EF4-FFF2-40B4-BE49-F238E27FC236}">
                    <a16:creationId xmlns:a16="http://schemas.microsoft.com/office/drawing/2014/main" id="{805CD25F-9E88-4D4F-8A12-C9313E121B86}"/>
                  </a:ext>
                </a:extLst>
              </p:cNvPr>
              <p:cNvGrpSpPr/>
              <p:nvPr/>
            </p:nvGrpSpPr>
            <p:grpSpPr>
              <a:xfrm>
                <a:off x="2672424" y="1614376"/>
                <a:ext cx="926769" cy="783035"/>
                <a:chOff x="2814465" y="1249743"/>
                <a:chExt cx="784728" cy="783035"/>
              </a:xfrm>
            </p:grpSpPr>
            <p:sp>
              <p:nvSpPr>
                <p:cNvPr id="26" name="Line 26">
                  <a:extLst>
                    <a:ext uri="{FF2B5EF4-FFF2-40B4-BE49-F238E27FC236}">
                      <a16:creationId xmlns:a16="http://schemas.microsoft.com/office/drawing/2014/main" id="{E0F7E176-3A36-402C-AC00-6B38385E4D0C}"/>
                    </a:ext>
                  </a:extLst>
                </p:cNvPr>
                <p:cNvSpPr>
                  <a:spLocks noChangeShapeType="1"/>
                </p:cNvSpPr>
                <p:nvPr/>
              </p:nvSpPr>
              <p:spPr bwMode="auto">
                <a:xfrm>
                  <a:off x="2814465" y="1249743"/>
                  <a:ext cx="784728" cy="0"/>
                </a:xfrm>
                <a:prstGeom prst="line">
                  <a:avLst/>
                </a:prstGeom>
                <a:noFill/>
                <a:ln w="12700" cap="sq">
                  <a:solidFill>
                    <a:srgbClr val="0177D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7" name="Line 27">
                  <a:extLst>
                    <a:ext uri="{FF2B5EF4-FFF2-40B4-BE49-F238E27FC236}">
                      <a16:creationId xmlns:a16="http://schemas.microsoft.com/office/drawing/2014/main" id="{A56DDF75-1661-4F55-915D-48E246368DE7}"/>
                    </a:ext>
                  </a:extLst>
                </p:cNvPr>
                <p:cNvSpPr>
                  <a:spLocks noChangeShapeType="1"/>
                </p:cNvSpPr>
                <p:nvPr/>
              </p:nvSpPr>
              <p:spPr bwMode="auto">
                <a:xfrm flipV="1">
                  <a:off x="2814465" y="1641261"/>
                  <a:ext cx="784728" cy="0"/>
                </a:xfrm>
                <a:prstGeom prst="line">
                  <a:avLst/>
                </a:prstGeom>
                <a:noFill/>
                <a:ln w="12700" cap="sq">
                  <a:solidFill>
                    <a:srgbClr val="0177D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8" name="Line 28">
                  <a:extLst>
                    <a:ext uri="{FF2B5EF4-FFF2-40B4-BE49-F238E27FC236}">
                      <a16:creationId xmlns:a16="http://schemas.microsoft.com/office/drawing/2014/main" id="{959F1B8F-41EE-4920-B8D3-E848BABE52EA}"/>
                    </a:ext>
                  </a:extLst>
                </p:cNvPr>
                <p:cNvSpPr>
                  <a:spLocks noChangeShapeType="1"/>
                </p:cNvSpPr>
                <p:nvPr/>
              </p:nvSpPr>
              <p:spPr bwMode="auto">
                <a:xfrm>
                  <a:off x="2814465" y="2032778"/>
                  <a:ext cx="784728" cy="0"/>
                </a:xfrm>
                <a:prstGeom prst="line">
                  <a:avLst/>
                </a:prstGeom>
                <a:noFill/>
                <a:ln w="12700" cap="sq">
                  <a:solidFill>
                    <a:srgbClr val="0177D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22" name="Group 21">
                <a:extLst>
                  <a:ext uri="{FF2B5EF4-FFF2-40B4-BE49-F238E27FC236}">
                    <a16:creationId xmlns:a16="http://schemas.microsoft.com/office/drawing/2014/main" id="{782D93C1-42E9-4D25-B800-1FE52B4F1409}"/>
                  </a:ext>
                </a:extLst>
              </p:cNvPr>
              <p:cNvGrpSpPr/>
              <p:nvPr/>
            </p:nvGrpSpPr>
            <p:grpSpPr>
              <a:xfrm>
                <a:off x="1224028" y="1407936"/>
                <a:ext cx="1177484" cy="1177484"/>
                <a:chOff x="222829" y="1122100"/>
                <a:chExt cx="1306361" cy="1306361"/>
              </a:xfrm>
            </p:grpSpPr>
            <p:sp>
              <p:nvSpPr>
                <p:cNvPr id="23" name="Oval 22">
                  <a:extLst>
                    <a:ext uri="{FF2B5EF4-FFF2-40B4-BE49-F238E27FC236}">
                      <a16:creationId xmlns:a16="http://schemas.microsoft.com/office/drawing/2014/main" id="{0437C227-0A1D-4B21-98F5-89BEE637B4AB}"/>
                    </a:ext>
                  </a:extLst>
                </p:cNvPr>
                <p:cNvSpPr/>
                <p:nvPr/>
              </p:nvSpPr>
              <p:spPr bwMode="auto">
                <a:xfrm>
                  <a:off x="222829" y="1122100"/>
                  <a:ext cx="1306361" cy="1306361"/>
                </a:xfrm>
                <a:prstGeom prst="ellipse">
                  <a:avLst/>
                </a:prstGeom>
                <a:noFill/>
                <a:ln w="12700" cap="rnd">
                  <a:solidFill>
                    <a:srgbClr val="0177D7"/>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cxnSp>
              <p:nvCxnSpPr>
                <p:cNvPr id="24" name="Straight Connector 23">
                  <a:extLst>
                    <a:ext uri="{FF2B5EF4-FFF2-40B4-BE49-F238E27FC236}">
                      <a16:creationId xmlns:a16="http://schemas.microsoft.com/office/drawing/2014/main" id="{4F89756B-CC4E-47BF-BFA7-E9530E80265F}"/>
                    </a:ext>
                  </a:extLst>
                </p:cNvPr>
                <p:cNvCxnSpPr>
                  <a:cxnSpLocks/>
                  <a:stCxn id="23" idx="2"/>
                  <a:endCxn id="25" idx="1"/>
                </p:cNvCxnSpPr>
                <p:nvPr/>
              </p:nvCxnSpPr>
              <p:spPr>
                <a:xfrm>
                  <a:off x="222829" y="1775281"/>
                  <a:ext cx="627812" cy="0"/>
                </a:xfrm>
                <a:prstGeom prst="line">
                  <a:avLst/>
                </a:prstGeom>
                <a:noFill/>
                <a:ln w="12700" cap="flat" cmpd="sng" algn="ctr">
                  <a:solidFill>
                    <a:srgbClr val="0177D7"/>
                  </a:solidFill>
                  <a:prstDash val="solid"/>
                  <a:headEnd type="none"/>
                  <a:tailEnd type="none"/>
                </a:ln>
                <a:effectLst/>
              </p:spPr>
            </p:cxnSp>
            <p:sp>
              <p:nvSpPr>
                <p:cNvPr id="25" name="Diamond 306">
                  <a:extLst>
                    <a:ext uri="{FF2B5EF4-FFF2-40B4-BE49-F238E27FC236}">
                      <a16:creationId xmlns:a16="http://schemas.microsoft.com/office/drawing/2014/main" id="{C2931C71-036B-4965-B2C5-0CC11703FD2A}"/>
                    </a:ext>
                  </a:extLst>
                </p:cNvPr>
                <p:cNvSpPr/>
                <p:nvPr/>
              </p:nvSpPr>
              <p:spPr bwMode="auto">
                <a:xfrm>
                  <a:off x="850641" y="1241106"/>
                  <a:ext cx="389434" cy="1068350"/>
                </a:xfrm>
                <a:custGeom>
                  <a:avLst/>
                  <a:gdLst>
                    <a:gd name="connsiteX0" fmla="*/ 0 w 778868"/>
                    <a:gd name="connsiteY0" fmla="*/ 534175 h 1068350"/>
                    <a:gd name="connsiteX1" fmla="*/ 389434 w 778868"/>
                    <a:gd name="connsiteY1" fmla="*/ 0 h 1068350"/>
                    <a:gd name="connsiteX2" fmla="*/ 778868 w 778868"/>
                    <a:gd name="connsiteY2" fmla="*/ 534175 h 1068350"/>
                    <a:gd name="connsiteX3" fmla="*/ 389434 w 778868"/>
                    <a:gd name="connsiteY3" fmla="*/ 1068350 h 1068350"/>
                    <a:gd name="connsiteX4" fmla="*/ 0 w 778868"/>
                    <a:gd name="connsiteY4" fmla="*/ 534175 h 1068350"/>
                    <a:gd name="connsiteX0" fmla="*/ 778868 w 870308"/>
                    <a:gd name="connsiteY0" fmla="*/ 534175 h 1068350"/>
                    <a:gd name="connsiteX1" fmla="*/ 389434 w 870308"/>
                    <a:gd name="connsiteY1" fmla="*/ 1068350 h 1068350"/>
                    <a:gd name="connsiteX2" fmla="*/ 0 w 870308"/>
                    <a:gd name="connsiteY2" fmla="*/ 534175 h 1068350"/>
                    <a:gd name="connsiteX3" fmla="*/ 389434 w 870308"/>
                    <a:gd name="connsiteY3" fmla="*/ 0 h 1068350"/>
                    <a:gd name="connsiteX4" fmla="*/ 870308 w 870308"/>
                    <a:gd name="connsiteY4" fmla="*/ 625615 h 1068350"/>
                    <a:gd name="connsiteX0" fmla="*/ 389434 w 870308"/>
                    <a:gd name="connsiteY0" fmla="*/ 1068350 h 1068350"/>
                    <a:gd name="connsiteX1" fmla="*/ 0 w 870308"/>
                    <a:gd name="connsiteY1" fmla="*/ 534175 h 1068350"/>
                    <a:gd name="connsiteX2" fmla="*/ 389434 w 870308"/>
                    <a:gd name="connsiteY2" fmla="*/ 0 h 1068350"/>
                    <a:gd name="connsiteX3" fmla="*/ 870308 w 870308"/>
                    <a:gd name="connsiteY3" fmla="*/ 625615 h 1068350"/>
                    <a:gd name="connsiteX0" fmla="*/ 389434 w 389434"/>
                    <a:gd name="connsiteY0" fmla="*/ 1068350 h 1068350"/>
                    <a:gd name="connsiteX1" fmla="*/ 0 w 389434"/>
                    <a:gd name="connsiteY1" fmla="*/ 534175 h 1068350"/>
                    <a:gd name="connsiteX2" fmla="*/ 389434 w 389434"/>
                    <a:gd name="connsiteY2" fmla="*/ 0 h 1068350"/>
                  </a:gdLst>
                  <a:ahLst/>
                  <a:cxnLst>
                    <a:cxn ang="0">
                      <a:pos x="connsiteX0" y="connsiteY0"/>
                    </a:cxn>
                    <a:cxn ang="0">
                      <a:pos x="connsiteX1" y="connsiteY1"/>
                    </a:cxn>
                    <a:cxn ang="0">
                      <a:pos x="connsiteX2" y="connsiteY2"/>
                    </a:cxn>
                  </a:cxnLst>
                  <a:rect l="l" t="t" r="r" b="b"/>
                  <a:pathLst>
                    <a:path w="389434" h="1068350">
                      <a:moveTo>
                        <a:pt x="389434" y="1068350"/>
                      </a:moveTo>
                      <a:lnTo>
                        <a:pt x="0" y="534175"/>
                      </a:lnTo>
                      <a:lnTo>
                        <a:pt x="389434" y="0"/>
                      </a:lnTo>
                    </a:path>
                  </a:pathLst>
                </a:custGeom>
                <a:noFill/>
                <a:ln w="12700" cap="rnd">
                  <a:solidFill>
                    <a:srgbClr val="0177D7"/>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sp>
          <p:nvSpPr>
            <p:cNvPr id="15" name="Oval 14">
              <a:extLst>
                <a:ext uri="{FF2B5EF4-FFF2-40B4-BE49-F238E27FC236}">
                  <a16:creationId xmlns:a16="http://schemas.microsoft.com/office/drawing/2014/main" id="{D669C404-A065-4B57-8CB8-0E242EF99032}"/>
                </a:ext>
              </a:extLst>
            </p:cNvPr>
            <p:cNvSpPr/>
            <p:nvPr/>
          </p:nvSpPr>
          <p:spPr bwMode="auto">
            <a:xfrm>
              <a:off x="269345" y="5831475"/>
              <a:ext cx="692377" cy="692377"/>
            </a:xfrm>
            <a:prstGeom prst="ellipse">
              <a:avLst/>
            </a:prstGeom>
            <a:noFill/>
            <a:ln w="12700" cap="flat" cmpd="sng" algn="ctr">
              <a:solidFill>
                <a:srgbClr val="0177D7"/>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29" name="Group 28">
            <a:extLst>
              <a:ext uri="{FF2B5EF4-FFF2-40B4-BE49-F238E27FC236}">
                <a16:creationId xmlns:a16="http://schemas.microsoft.com/office/drawing/2014/main" id="{CCB3FD96-1F91-4416-8465-321B28A1000F}"/>
              </a:ext>
            </a:extLst>
          </p:cNvPr>
          <p:cNvGrpSpPr/>
          <p:nvPr/>
        </p:nvGrpSpPr>
        <p:grpSpPr>
          <a:xfrm>
            <a:off x="862116" y="3539978"/>
            <a:ext cx="706160" cy="706160"/>
            <a:chOff x="269240" y="3991428"/>
            <a:chExt cx="692377" cy="692377"/>
          </a:xfrm>
        </p:grpSpPr>
        <p:sp>
          <p:nvSpPr>
            <p:cNvPr id="30" name="Oval 29">
              <a:extLst>
                <a:ext uri="{FF2B5EF4-FFF2-40B4-BE49-F238E27FC236}">
                  <a16:creationId xmlns:a16="http://schemas.microsoft.com/office/drawing/2014/main" id="{E4E85F0A-B448-483F-950F-3969329E0F89}"/>
                </a:ext>
              </a:extLst>
            </p:cNvPr>
            <p:cNvSpPr/>
            <p:nvPr/>
          </p:nvSpPr>
          <p:spPr bwMode="auto">
            <a:xfrm>
              <a:off x="269240" y="3991428"/>
              <a:ext cx="692377" cy="692377"/>
            </a:xfrm>
            <a:prstGeom prst="ellipse">
              <a:avLst/>
            </a:prstGeom>
            <a:noFill/>
            <a:ln w="12700" cap="flat" cmpd="sng" algn="ctr">
              <a:solidFill>
                <a:srgbClr val="0177D7"/>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 name="speedometer_2">
              <a:extLst>
                <a:ext uri="{FF2B5EF4-FFF2-40B4-BE49-F238E27FC236}">
                  <a16:creationId xmlns:a16="http://schemas.microsoft.com/office/drawing/2014/main" id="{F24CBCD0-5A5B-4ADD-A402-A7CB84056B88}"/>
                </a:ext>
              </a:extLst>
            </p:cNvPr>
            <p:cNvSpPr>
              <a:spLocks noChangeAspect="1" noEditPoints="1"/>
            </p:cNvSpPr>
            <p:nvPr/>
          </p:nvSpPr>
          <p:spPr bwMode="auto">
            <a:xfrm>
              <a:off x="442062" y="4163706"/>
              <a:ext cx="346733" cy="346733"/>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2700" cap="rnd">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aphicFrame>
        <p:nvGraphicFramePr>
          <p:cNvPr id="32" name="Table 31">
            <a:extLst>
              <a:ext uri="{FF2B5EF4-FFF2-40B4-BE49-F238E27FC236}">
                <a16:creationId xmlns:a16="http://schemas.microsoft.com/office/drawing/2014/main" id="{097FFDBD-561F-44BA-92DC-70CD33F4E8E6}"/>
              </a:ext>
            </a:extLst>
          </p:cNvPr>
          <p:cNvGraphicFramePr>
            <a:graphicFrameLocks noGrp="1"/>
          </p:cNvGraphicFramePr>
          <p:nvPr>
            <p:extLst>
              <p:ext uri="{D42A27DB-BD31-4B8C-83A1-F6EECF244321}">
                <p14:modId xmlns:p14="http://schemas.microsoft.com/office/powerpoint/2010/main" val="1407480619"/>
              </p:ext>
            </p:extLst>
          </p:nvPr>
        </p:nvGraphicFramePr>
        <p:xfrm>
          <a:off x="690219" y="1439989"/>
          <a:ext cx="10975314" cy="2080181"/>
        </p:xfrm>
        <a:graphic>
          <a:graphicData uri="http://schemas.openxmlformats.org/drawingml/2006/table">
            <a:tbl>
              <a:tblPr firstRow="1" bandRow="1"/>
              <a:tblGrid>
                <a:gridCol w="1829219">
                  <a:extLst>
                    <a:ext uri="{9D8B030D-6E8A-4147-A177-3AD203B41FA5}">
                      <a16:colId xmlns:a16="http://schemas.microsoft.com/office/drawing/2014/main" val="497588216"/>
                    </a:ext>
                  </a:extLst>
                </a:gridCol>
                <a:gridCol w="1829219">
                  <a:extLst>
                    <a:ext uri="{9D8B030D-6E8A-4147-A177-3AD203B41FA5}">
                      <a16:colId xmlns:a16="http://schemas.microsoft.com/office/drawing/2014/main" val="4084121684"/>
                    </a:ext>
                  </a:extLst>
                </a:gridCol>
                <a:gridCol w="1829219">
                  <a:extLst>
                    <a:ext uri="{9D8B030D-6E8A-4147-A177-3AD203B41FA5}">
                      <a16:colId xmlns:a16="http://schemas.microsoft.com/office/drawing/2014/main" val="416806316"/>
                    </a:ext>
                  </a:extLst>
                </a:gridCol>
                <a:gridCol w="1829219">
                  <a:extLst>
                    <a:ext uri="{9D8B030D-6E8A-4147-A177-3AD203B41FA5}">
                      <a16:colId xmlns:a16="http://schemas.microsoft.com/office/drawing/2014/main" val="3203220016"/>
                    </a:ext>
                  </a:extLst>
                </a:gridCol>
                <a:gridCol w="1829219">
                  <a:extLst>
                    <a:ext uri="{9D8B030D-6E8A-4147-A177-3AD203B41FA5}">
                      <a16:colId xmlns:a16="http://schemas.microsoft.com/office/drawing/2014/main" val="3680839346"/>
                    </a:ext>
                  </a:extLst>
                </a:gridCol>
                <a:gridCol w="1829219">
                  <a:extLst>
                    <a:ext uri="{9D8B030D-6E8A-4147-A177-3AD203B41FA5}">
                      <a16:colId xmlns:a16="http://schemas.microsoft.com/office/drawing/2014/main" val="2216436843"/>
                    </a:ext>
                  </a:extLst>
                </a:gridCol>
              </a:tblGrid>
              <a:tr h="369661">
                <a:tc gridSpan="3">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a:r>
                        <a:rPr lang="en-ZA" sz="1600" b="1" kern="1200">
                          <a:solidFill>
                            <a:schemeClr val="bg1"/>
                          </a:solidFill>
                          <a:latin typeface="Segoe UI Semibold" panose="020B0702040204020203" pitchFamily="34" charset="0"/>
                          <a:ea typeface="+mn-ea"/>
                          <a:cs typeface="Segoe UI Semibold" panose="020B0702040204020203" pitchFamily="34" charset="0"/>
                        </a:rPr>
                        <a:t>DTUs</a:t>
                      </a:r>
                      <a:endParaRPr lang="en-US" sz="1600" b="1" kern="1200">
                        <a:solidFill>
                          <a:schemeClr val="bg1"/>
                        </a:solidFill>
                        <a:latin typeface="Segoe UI Semibold" panose="020B0702040204020203" pitchFamily="34" charset="0"/>
                        <a:ea typeface="+mn-ea"/>
                        <a:cs typeface="Segoe UI Semibold" panose="020B0702040204020203" pitchFamily="34" charset="0"/>
                      </a:endParaRPr>
                    </a:p>
                  </a:txBody>
                  <a:tcPr marL="93260" marR="93260" marT="46630" marB="46630" anchor="ctr">
                    <a:lnL w="12700" cap="flat" cmpd="sng" algn="ctr">
                      <a:solidFill>
                        <a:srgbClr val="0078D3"/>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78D3"/>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3"/>
                    </a:solidFill>
                  </a:tcP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600" b="1" kern="1200" noProof="0">
                        <a:solidFill>
                          <a:schemeClr val="bg1"/>
                        </a:solidFill>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600" b="1" kern="1200" noProof="0">
                        <a:solidFill>
                          <a:schemeClr val="bg1"/>
                        </a:solidFill>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gridSpan="3">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a:r>
                        <a:rPr lang="en-US" sz="1600" b="1" kern="1200">
                          <a:solidFill>
                            <a:schemeClr val="bg1"/>
                          </a:solidFill>
                          <a:latin typeface="Segoe UI Semibold" panose="020B0702040204020203" pitchFamily="34" charset="0"/>
                          <a:ea typeface="+mn-ea"/>
                          <a:cs typeface="Segoe UI Semibold" panose="020B0702040204020203" pitchFamily="34" charset="0"/>
                        </a:rPr>
                        <a:t>vCores</a:t>
                      </a:r>
                    </a:p>
                  </a:txBody>
                  <a:tcPr marL="93260" marR="93260" marT="46630" marB="46630" anchor="ctr">
                    <a:lnL w="12700" cap="flat" cmpd="sng" algn="ctr">
                      <a:solidFill>
                        <a:srgbClr val="FFFFFF"/>
                      </a:solidFill>
                      <a:prstDash val="solid"/>
                      <a:round/>
                      <a:headEnd type="none" w="med" len="med"/>
                      <a:tailEnd type="none" w="med" len="med"/>
                    </a:lnL>
                    <a:lnR w="12700" cap="flat" cmpd="sng" algn="ctr">
                      <a:solidFill>
                        <a:srgbClr val="0078D3"/>
                      </a:solidFill>
                      <a:prstDash val="solid"/>
                      <a:round/>
                      <a:headEnd type="none" w="med" len="med"/>
                      <a:tailEnd type="none" w="med" len="med"/>
                    </a:lnR>
                    <a:lnT w="12700" cap="flat" cmpd="sng" algn="ctr">
                      <a:solidFill>
                        <a:srgbClr val="0078D3"/>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3"/>
                    </a:solidFill>
                  </a:tcPr>
                </a:tc>
                <a:tc hMerge="1">
                  <a:txBody>
                    <a:bodyPr/>
                    <a:lstStyle/>
                    <a:p>
                      <a:pPr algn="ctr"/>
                      <a:endParaRPr lang="en-US" sz="1600" b="1" kern="1200">
                        <a:solidFill>
                          <a:schemeClr val="bg1"/>
                        </a:solidFill>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hMerge="1">
                  <a:txBody>
                    <a:bodyPr/>
                    <a:lstStyle/>
                    <a:p>
                      <a:pPr algn="ctr"/>
                      <a:endParaRPr lang="en-US" sz="1600" b="1" kern="1200">
                        <a:solidFill>
                          <a:schemeClr val="bg1"/>
                        </a:solidFill>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3350240315"/>
                  </a:ext>
                </a:extLst>
              </a:tr>
              <a:tr h="3360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a:r>
                        <a:rPr lang="en-US" sz="1600" b="0" kern="1200">
                          <a:solidFill>
                            <a:schemeClr val="bg1"/>
                          </a:solidFill>
                          <a:latin typeface="Segoe UI Semibold" panose="020B0702040204020203" pitchFamily="34" charset="0"/>
                          <a:ea typeface="+mn-ea"/>
                          <a:cs typeface="Segoe UI Semibold" panose="020B0702040204020203" pitchFamily="34" charset="0"/>
                        </a:rPr>
                        <a:t>Basic</a:t>
                      </a:r>
                    </a:p>
                  </a:txBody>
                  <a:tcPr marL="93260" marR="93260" marT="46630" marB="46630" anchor="ctr">
                    <a:lnL w="12700" cap="flat" cmpd="sng" algn="ctr">
                      <a:solidFill>
                        <a:srgbClr val="0078D3"/>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3"/>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0" kern="1200" noProof="0">
                          <a:solidFill>
                            <a:schemeClr val="bg1"/>
                          </a:solidFill>
                          <a:latin typeface="Segoe UI Semibold" panose="020B0702040204020203" pitchFamily="34" charset="0"/>
                          <a:ea typeface="+mn-ea"/>
                          <a:cs typeface="Segoe UI Semibold" panose="020B0702040204020203" pitchFamily="34" charset="0"/>
                        </a:rPr>
                        <a:t>Standard</a:t>
                      </a:r>
                    </a:p>
                  </a:txBody>
                  <a:tcPr marL="93260" marR="93260" marT="46630" marB="4663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3"/>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0" kern="1200" noProof="0">
                          <a:solidFill>
                            <a:schemeClr val="bg1"/>
                          </a:solidFill>
                          <a:latin typeface="Segoe UI Semibold" panose="020B0702040204020203" pitchFamily="34" charset="0"/>
                          <a:ea typeface="+mn-ea"/>
                          <a:cs typeface="Segoe UI Semibold" panose="020B0702040204020203" pitchFamily="34" charset="0"/>
                        </a:rPr>
                        <a:t>Premium</a:t>
                      </a:r>
                    </a:p>
                  </a:txBody>
                  <a:tcPr marL="93260" marR="93260" marT="46630" marB="4663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3"/>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a:r>
                        <a:rPr lang="en-US" sz="1600" b="0" kern="1200">
                          <a:solidFill>
                            <a:schemeClr val="bg1"/>
                          </a:solidFill>
                          <a:latin typeface="Segoe UI Semibold" panose="020B0702040204020203" pitchFamily="34" charset="0"/>
                          <a:ea typeface="+mn-ea"/>
                          <a:cs typeface="Segoe UI Semibold" panose="020B0702040204020203" pitchFamily="34" charset="0"/>
                        </a:rPr>
                        <a:t>General Purpose</a:t>
                      </a:r>
                    </a:p>
                  </a:txBody>
                  <a:tcPr marL="93260" marR="93260" marT="46630" marB="4663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3"/>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0" kern="1200" noProof="0">
                          <a:solidFill>
                            <a:schemeClr val="bg1"/>
                          </a:solidFill>
                          <a:latin typeface="Segoe UI Semibold" panose="020B0702040204020203" pitchFamily="34" charset="0"/>
                          <a:ea typeface="+mn-ea"/>
                          <a:cs typeface="Segoe UI Semibold" panose="020B0702040204020203" pitchFamily="34" charset="0"/>
                        </a:rPr>
                        <a:t>Business Critical</a:t>
                      </a:r>
                    </a:p>
                  </a:txBody>
                  <a:tcPr marL="93260" marR="93260" marT="46630" marB="4663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3"/>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0" kern="1200" noProof="0">
                          <a:solidFill>
                            <a:schemeClr val="bg1"/>
                          </a:solidFill>
                          <a:latin typeface="Segoe UI Semibold" panose="020B0702040204020203" pitchFamily="34" charset="0"/>
                          <a:ea typeface="+mn-ea"/>
                          <a:cs typeface="Segoe UI Semibold" panose="020B0702040204020203" pitchFamily="34" charset="0"/>
                        </a:rPr>
                        <a:t>Hyperscale</a:t>
                      </a:r>
                    </a:p>
                  </a:txBody>
                  <a:tcPr marL="93260" marR="93260" marT="46630" marB="46630" anchor="ctr">
                    <a:lnL w="12700" cap="flat" cmpd="sng" algn="ctr">
                      <a:solidFill>
                        <a:srgbClr val="FFFFFF"/>
                      </a:solidFill>
                      <a:prstDash val="solid"/>
                      <a:round/>
                      <a:headEnd type="none" w="med" len="med"/>
                      <a:tailEnd type="none" w="med" len="med"/>
                    </a:lnL>
                    <a:lnR w="12700" cap="flat" cmpd="sng" algn="ctr">
                      <a:solidFill>
                        <a:srgbClr val="0078D3"/>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3"/>
                    </a:solidFill>
                  </a:tcPr>
                </a:tc>
                <a:extLst>
                  <a:ext uri="{0D108BD9-81ED-4DB2-BD59-A6C34878D82A}">
                    <a16:rowId xmlns:a16="http://schemas.microsoft.com/office/drawing/2014/main" val="158123630"/>
                  </a:ext>
                </a:extLst>
              </a:tr>
              <a:tr h="131061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1200" noProof="0">
                          <a:solidFill>
                            <a:schemeClr val="tx1"/>
                          </a:solidFill>
                          <a:latin typeface="+mn-lt"/>
                          <a:ea typeface="+mn-ea"/>
                          <a:cs typeface="+mn-cs"/>
                        </a:rPr>
                        <a:t>Small databases particularly those in development phases.</a:t>
                      </a:r>
                    </a:p>
                  </a:txBody>
                  <a:tcPr marL="93260" marR="93260" marT="46630" marB="4663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1200" noProof="0">
                          <a:solidFill>
                            <a:schemeClr val="tx1"/>
                          </a:solidFill>
                          <a:latin typeface="+mn-lt"/>
                          <a:ea typeface="+mn-ea"/>
                          <a:cs typeface="+mn-cs"/>
                        </a:rPr>
                        <a:t>General purpose databases with moderate performance requirements.</a:t>
                      </a:r>
                    </a:p>
                  </a:txBody>
                  <a:tcPr marL="93260" marR="93260" marT="46630" marB="4663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1200" noProof="0">
                          <a:solidFill>
                            <a:schemeClr val="tx1"/>
                          </a:solidFill>
                          <a:latin typeface="+mn-lt"/>
                          <a:ea typeface="+mn-ea"/>
                          <a:cs typeface="+mn-cs"/>
                        </a:rPr>
                        <a:t>Mission-critical databases with high performance and high-availability requirements.</a:t>
                      </a:r>
                    </a:p>
                  </a:txBody>
                  <a:tcPr marL="93260" marR="93260" marT="46630" marB="4663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0000"/>
                        </a:lnSpc>
                        <a:spcBef>
                          <a:spcPts val="0"/>
                        </a:spcBef>
                        <a:spcAft>
                          <a:spcPts val="0"/>
                        </a:spcAft>
                      </a:pPr>
                      <a:r>
                        <a:rPr lang="en-US" sz="1400" kern="1200">
                          <a:solidFill>
                            <a:schemeClr val="tx1"/>
                          </a:solidFill>
                          <a:latin typeface="+mn-lt"/>
                          <a:ea typeface="+mn-ea"/>
                          <a:cs typeface="Segoe UI" panose="020B0502040204020203" pitchFamily="34" charset="0"/>
                        </a:rPr>
                        <a:t>Data applications with basic IO and basic availability requirements. </a:t>
                      </a:r>
                    </a:p>
                  </a:txBody>
                  <a:tcPr marL="93260" marR="93260" marT="46630" marB="4663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0000"/>
                        </a:lnSpc>
                        <a:spcBef>
                          <a:spcPts val="0"/>
                        </a:spcBef>
                        <a:spcAft>
                          <a:spcPts val="0"/>
                        </a:spcAft>
                      </a:pPr>
                      <a:r>
                        <a:rPr lang="en-US" sz="1400" kern="1200">
                          <a:solidFill>
                            <a:schemeClr val="tx1"/>
                          </a:solidFill>
                          <a:latin typeface="+mn-lt"/>
                          <a:ea typeface="+mn-ea"/>
                          <a:cs typeface="Segoe UI" panose="020B0502040204020203" pitchFamily="34" charset="0"/>
                        </a:rPr>
                        <a:t>Business critical data applications with fast IO and high availability requirements.</a:t>
                      </a:r>
                    </a:p>
                  </a:txBody>
                  <a:tcPr marL="93260" marR="93260" marT="46630" marB="4663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1200">
                          <a:solidFill>
                            <a:schemeClr val="tx1"/>
                          </a:solidFill>
                          <a:latin typeface="+mn-lt"/>
                          <a:ea typeface="+mn-ea"/>
                          <a:cs typeface="Segoe UI" panose="020B0502040204020203" pitchFamily="34" charset="0"/>
                        </a:rPr>
                        <a:t>VLDB OLTP and HTAP workloads with highly scalable storage and read-scale requirements.</a:t>
                      </a:r>
                    </a:p>
                    <a:p>
                      <a:pPr marL="0" marR="0">
                        <a:lnSpc>
                          <a:spcPct val="100000"/>
                        </a:lnSpc>
                        <a:spcBef>
                          <a:spcPts val="0"/>
                        </a:spcBef>
                        <a:spcAft>
                          <a:spcPts val="0"/>
                        </a:spcAft>
                      </a:pPr>
                      <a:endParaRPr lang="en-US" sz="1400" kern="1200">
                        <a:solidFill>
                          <a:schemeClr val="tx1"/>
                        </a:solidFill>
                        <a:latin typeface="+mn-lt"/>
                        <a:ea typeface="+mn-ea"/>
                        <a:cs typeface="Segoe UI" panose="020B0502040204020203" pitchFamily="34" charset="0"/>
                      </a:endParaRPr>
                    </a:p>
                  </a:txBody>
                  <a:tcPr marL="93260" marR="93260" marT="46630" marB="4663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8288660"/>
                  </a:ext>
                </a:extLst>
              </a:tr>
            </a:tbl>
          </a:graphicData>
        </a:graphic>
      </p:graphicFrame>
    </p:spTree>
    <p:extLst>
      <p:ext uri="{BB962C8B-B14F-4D97-AF65-F5344CB8AC3E}">
        <p14:creationId xmlns:p14="http://schemas.microsoft.com/office/powerpoint/2010/main" val="36035360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sz="2800"/>
              <a:t>Identify the right Azure SQL Database/MI SKU for your on-premises database (I/II)</a:t>
            </a:r>
          </a:p>
        </p:txBody>
      </p:sp>
      <p:graphicFrame>
        <p:nvGraphicFramePr>
          <p:cNvPr id="5" name="Content Placeholder 4">
            <a:extLst>
              <a:ext uri="{FF2B5EF4-FFF2-40B4-BE49-F238E27FC236}">
                <a16:creationId xmlns:a16="http://schemas.microsoft.com/office/drawing/2014/main" id="{ACFBD576-BC35-470F-AD93-9943AE29C551}"/>
              </a:ext>
            </a:extLst>
          </p:cNvPr>
          <p:cNvGraphicFramePr>
            <a:graphicFrameLocks noGrp="1"/>
          </p:cNvGraphicFramePr>
          <p:nvPr>
            <p:ph sz="quarter" idx="13"/>
            <p:extLst>
              <p:ext uri="{D42A27DB-BD31-4B8C-83A1-F6EECF244321}">
                <p14:modId xmlns:p14="http://schemas.microsoft.com/office/powerpoint/2010/main" val="689629909"/>
              </p:ext>
            </p:extLst>
          </p:nvPr>
        </p:nvGraphicFramePr>
        <p:xfrm>
          <a:off x="655639" y="1408113"/>
          <a:ext cx="47545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981E1BA5-16D9-426B-9B9E-1E78119B58F9}"/>
              </a:ext>
            </a:extLst>
          </p:cNvPr>
          <p:cNvPicPr>
            <a:picLocks noChangeAspect="1"/>
          </p:cNvPicPr>
          <p:nvPr/>
        </p:nvPicPr>
        <p:blipFill>
          <a:blip r:embed="rId8"/>
          <a:stretch>
            <a:fillRect/>
          </a:stretch>
        </p:blipFill>
        <p:spPr>
          <a:xfrm>
            <a:off x="5562600" y="1165948"/>
            <a:ext cx="6316043" cy="5303980"/>
          </a:xfrm>
          <a:prstGeom prst="rect">
            <a:avLst/>
          </a:prstGeom>
        </p:spPr>
      </p:pic>
    </p:spTree>
    <p:extLst>
      <p:ext uri="{BB962C8B-B14F-4D97-AF65-F5344CB8AC3E}">
        <p14:creationId xmlns:p14="http://schemas.microsoft.com/office/powerpoint/2010/main" val="39925909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923330"/>
          </a:xfrm>
        </p:spPr>
        <p:txBody>
          <a:bodyPr/>
          <a:lstStyle/>
          <a:p>
            <a:r>
              <a:rPr lang="en-US"/>
              <a:t>Identify the right Azure SQL Database/MI SKU for your on-premises database (II/II)</a:t>
            </a:r>
          </a:p>
        </p:txBody>
      </p:sp>
      <p:graphicFrame>
        <p:nvGraphicFramePr>
          <p:cNvPr id="5" name="Content Placeholder 4">
            <a:extLst>
              <a:ext uri="{FF2B5EF4-FFF2-40B4-BE49-F238E27FC236}">
                <a16:creationId xmlns:a16="http://schemas.microsoft.com/office/drawing/2014/main" id="{99F96923-6F93-4314-845E-DE2C51DDCED2}"/>
              </a:ext>
            </a:extLst>
          </p:cNvPr>
          <p:cNvGraphicFramePr>
            <a:graphicFrameLocks noGrp="1"/>
          </p:cNvGraphicFramePr>
          <p:nvPr>
            <p:ph sz="quarter" idx="13"/>
            <p:extLst>
              <p:ext uri="{D42A27DB-BD31-4B8C-83A1-F6EECF244321}">
                <p14:modId xmlns:p14="http://schemas.microsoft.com/office/powerpoint/2010/main" val="3218634798"/>
              </p:ext>
            </p:extLst>
          </p:nvPr>
        </p:nvGraphicFramePr>
        <p:xfrm>
          <a:off x="655638" y="1408114"/>
          <a:ext cx="52117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D78615AF-EC7D-4D2C-AE5B-FBD591AB97D5}"/>
              </a:ext>
            </a:extLst>
          </p:cNvPr>
          <p:cNvPicPr>
            <a:picLocks noChangeAspect="1"/>
          </p:cNvPicPr>
          <p:nvPr/>
        </p:nvPicPr>
        <p:blipFill>
          <a:blip r:embed="rId8"/>
          <a:stretch>
            <a:fillRect/>
          </a:stretch>
        </p:blipFill>
        <p:spPr>
          <a:xfrm>
            <a:off x="5867400" y="1408114"/>
            <a:ext cx="6172200" cy="4984394"/>
          </a:xfrm>
          <a:prstGeom prst="rect">
            <a:avLst/>
          </a:prstGeom>
        </p:spPr>
      </p:pic>
    </p:spTree>
    <p:extLst>
      <p:ext uri="{BB962C8B-B14F-4D97-AF65-F5344CB8AC3E}">
        <p14:creationId xmlns:p14="http://schemas.microsoft.com/office/powerpoint/2010/main" val="42363577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173103117"/>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22412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94B26D45-85D6-45AE-8D97-F12609B80896}"/>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25AE72C8-9DFF-4C10-8FA5-A578B7FE33C7}"/>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graphicEl>
                                              <a:dgm id="{7B0B3BC0-92E1-4BB5-AA30-BC2973F04D6F}"/>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graphicEl>
                                              <a:dgm id="{C0ECF561-1570-426D-9ED1-AD7F8DDCE81F}"/>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a:t>Lesson 2: How to create Azure SQL Database</a:t>
            </a:r>
          </a:p>
        </p:txBody>
      </p:sp>
    </p:spTree>
    <p:extLst>
      <p:ext uri="{BB962C8B-B14F-4D97-AF65-F5344CB8AC3E}">
        <p14:creationId xmlns:p14="http://schemas.microsoft.com/office/powerpoint/2010/main" val="2894004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Know which prerequisites are needed before you can create an Azure SQL Database.</a:t>
            </a:r>
          </a:p>
          <a:p>
            <a:r>
              <a:rPr lang="en-US"/>
              <a:t>Create your first Azure SQL Database.</a:t>
            </a:r>
          </a:p>
          <a:p>
            <a:endParaRPr lang="en-US"/>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923330"/>
          </a:xfrm>
        </p:spPr>
        <p:txBody>
          <a:bodyPr/>
          <a:lstStyle/>
          <a:p>
            <a:r>
              <a:rPr lang="en-US" dirty="0"/>
              <a:t>Azure SQL Database Server is not a machine...</a:t>
            </a:r>
            <a:br>
              <a:rPr lang="en-US" dirty="0"/>
            </a:br>
            <a:endParaRPr lang="en-US" dirty="0"/>
          </a:p>
        </p:txBody>
      </p:sp>
      <p:sp>
        <p:nvSpPr>
          <p:cNvPr id="13" name="Chevron 5">
            <a:extLst>
              <a:ext uri="{FF2B5EF4-FFF2-40B4-BE49-F238E27FC236}">
                <a16:creationId xmlns:a16="http://schemas.microsoft.com/office/drawing/2014/main" id="{7E1F657D-671F-46B0-954E-21F31BE1E988}"/>
              </a:ext>
            </a:extLst>
          </p:cNvPr>
          <p:cNvSpPr/>
          <p:nvPr/>
        </p:nvSpPr>
        <p:spPr bwMode="auto">
          <a:xfrm>
            <a:off x="5320419" y="1652952"/>
            <a:ext cx="1470243" cy="1454063"/>
          </a:xfrm>
          <a:prstGeom prst="chevron">
            <a:avLst/>
          </a:prstGeom>
          <a:solidFill>
            <a:srgbClr val="0078D7"/>
          </a:solidFill>
          <a:ln w="1714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0" marR="0" lvl="0" indent="0" algn="ctr" defTabSz="913649"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Chevron 6">
            <a:extLst>
              <a:ext uri="{FF2B5EF4-FFF2-40B4-BE49-F238E27FC236}">
                <a16:creationId xmlns:a16="http://schemas.microsoft.com/office/drawing/2014/main" id="{2624B2E8-8694-4C65-AD93-3BC649C3965F}"/>
              </a:ext>
            </a:extLst>
          </p:cNvPr>
          <p:cNvSpPr/>
          <p:nvPr/>
        </p:nvSpPr>
        <p:spPr bwMode="auto">
          <a:xfrm>
            <a:off x="5340638" y="3549593"/>
            <a:ext cx="1470243" cy="1454063"/>
          </a:xfrm>
          <a:prstGeom prst="chevron">
            <a:avLst/>
          </a:prstGeom>
          <a:solidFill>
            <a:srgbClr val="002050"/>
          </a:solidFill>
          <a:ln w="1714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0" marR="0" lvl="0" indent="0" algn="ctr" defTabSz="913649"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Rectangle 14">
            <a:extLst>
              <a:ext uri="{FF2B5EF4-FFF2-40B4-BE49-F238E27FC236}">
                <a16:creationId xmlns:a16="http://schemas.microsoft.com/office/drawing/2014/main" id="{61C92396-E779-4B67-928B-BF6248F77FE0}"/>
              </a:ext>
            </a:extLst>
          </p:cNvPr>
          <p:cNvSpPr/>
          <p:nvPr/>
        </p:nvSpPr>
        <p:spPr bwMode="auto">
          <a:xfrm>
            <a:off x="3124200" y="1424443"/>
            <a:ext cx="1837805" cy="1817580"/>
          </a:xfrm>
          <a:prstGeom prst="rect">
            <a:avLst/>
          </a:prstGeom>
          <a:solidFill>
            <a:srgbClr val="0078D7"/>
          </a:solidFill>
          <a:ln w="1714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0" marR="0" lvl="0" indent="0" algn="ctr" defTabSz="913649" eaLnBrk="1" fontAlgn="auto" latinLnBrk="0" hangingPunct="1">
              <a:lnSpc>
                <a:spcPct val="100000"/>
              </a:lnSpc>
              <a:spcBef>
                <a:spcPts val="0"/>
              </a:spcBef>
              <a:spcAft>
                <a:spcPts val="0"/>
              </a:spcAft>
              <a:buClrTx/>
              <a:buSzTx/>
              <a:buFontTx/>
              <a:buNone/>
              <a:tabLst/>
              <a:defRPr/>
            </a:pPr>
            <a:r>
              <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SQL Server</a:t>
            </a:r>
          </a:p>
        </p:txBody>
      </p:sp>
      <p:sp>
        <p:nvSpPr>
          <p:cNvPr id="16" name="Rectangle 15">
            <a:extLst>
              <a:ext uri="{FF2B5EF4-FFF2-40B4-BE49-F238E27FC236}">
                <a16:creationId xmlns:a16="http://schemas.microsoft.com/office/drawing/2014/main" id="{18B63CD2-A1E5-46CB-B25D-927C2632553B}"/>
              </a:ext>
            </a:extLst>
          </p:cNvPr>
          <p:cNvSpPr/>
          <p:nvPr/>
        </p:nvSpPr>
        <p:spPr bwMode="auto">
          <a:xfrm>
            <a:off x="7224651" y="1424443"/>
            <a:ext cx="1837805" cy="1817580"/>
          </a:xfrm>
          <a:prstGeom prst="rect">
            <a:avLst/>
          </a:prstGeom>
          <a:solidFill>
            <a:srgbClr val="0078D7"/>
          </a:solidFill>
          <a:ln w="1714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0" marR="0" lvl="0" indent="0" algn="ctr" defTabSz="913649" eaLnBrk="1" fontAlgn="auto" latinLnBrk="0" hangingPunct="1">
              <a:lnSpc>
                <a:spcPct val="100000"/>
              </a:lnSpc>
              <a:spcBef>
                <a:spcPts val="0"/>
              </a:spcBef>
              <a:spcAft>
                <a:spcPts val="0"/>
              </a:spcAft>
              <a:buClrTx/>
              <a:buSzTx/>
              <a:buFontTx/>
              <a:buNone/>
              <a:tabLst/>
              <a:defRPr/>
            </a:pPr>
            <a:r>
              <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 Machine</a:t>
            </a:r>
          </a:p>
        </p:txBody>
      </p:sp>
      <p:sp>
        <p:nvSpPr>
          <p:cNvPr id="17" name="Rectangle 16">
            <a:extLst>
              <a:ext uri="{FF2B5EF4-FFF2-40B4-BE49-F238E27FC236}">
                <a16:creationId xmlns:a16="http://schemas.microsoft.com/office/drawing/2014/main" id="{C6CDD43F-350B-47AC-AF36-B761B62925E1}"/>
              </a:ext>
            </a:extLst>
          </p:cNvPr>
          <p:cNvSpPr/>
          <p:nvPr/>
        </p:nvSpPr>
        <p:spPr bwMode="auto">
          <a:xfrm>
            <a:off x="3111506" y="3435338"/>
            <a:ext cx="1837805" cy="1817580"/>
          </a:xfrm>
          <a:prstGeom prst="rect">
            <a:avLst/>
          </a:prstGeom>
          <a:solidFill>
            <a:srgbClr val="002050"/>
          </a:solidFill>
          <a:ln w="1714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0" marR="0" lvl="0" indent="0" algn="ctr" defTabSz="913649" eaLnBrk="1" fontAlgn="auto" latinLnBrk="0" hangingPunct="1">
              <a:lnSpc>
                <a:spcPct val="100000"/>
              </a:lnSpc>
              <a:spcBef>
                <a:spcPts val="0"/>
              </a:spcBef>
              <a:spcAft>
                <a:spcPts val="0"/>
              </a:spcAft>
              <a:buClrTx/>
              <a:buSzTx/>
              <a:buFontTx/>
              <a:buNone/>
              <a:tabLst/>
              <a:defRPr/>
            </a:pPr>
            <a:r>
              <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zure SQL Database Server</a:t>
            </a:r>
          </a:p>
        </p:txBody>
      </p:sp>
      <p:sp>
        <p:nvSpPr>
          <p:cNvPr id="18" name="Rectangle 17">
            <a:extLst>
              <a:ext uri="{FF2B5EF4-FFF2-40B4-BE49-F238E27FC236}">
                <a16:creationId xmlns:a16="http://schemas.microsoft.com/office/drawing/2014/main" id="{41EF61EC-6A4E-449B-B0A8-09C1749FDA3F}"/>
              </a:ext>
            </a:extLst>
          </p:cNvPr>
          <p:cNvSpPr/>
          <p:nvPr/>
        </p:nvSpPr>
        <p:spPr bwMode="auto">
          <a:xfrm>
            <a:off x="7237346" y="3460729"/>
            <a:ext cx="1837805" cy="1817580"/>
          </a:xfrm>
          <a:prstGeom prst="rect">
            <a:avLst/>
          </a:prstGeom>
          <a:solidFill>
            <a:srgbClr val="002050"/>
          </a:solidFill>
          <a:ln w="1714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0" marR="0" lvl="0" indent="0" algn="ctr" defTabSz="913649" eaLnBrk="1" fontAlgn="auto" latinLnBrk="0" hangingPunct="1">
              <a:lnSpc>
                <a:spcPct val="100000"/>
              </a:lnSpc>
              <a:spcBef>
                <a:spcPts val="0"/>
              </a:spcBef>
              <a:spcAft>
                <a:spcPts val="0"/>
              </a:spcAft>
              <a:buClrTx/>
              <a:buSzTx/>
              <a:buFontTx/>
              <a:buNone/>
              <a:tabLst/>
              <a:defRPr/>
            </a:pPr>
            <a:r>
              <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TDS* Endpoint</a:t>
            </a:r>
          </a:p>
        </p:txBody>
      </p:sp>
      <p:sp>
        <p:nvSpPr>
          <p:cNvPr id="19" name="TextBox 18">
            <a:extLst>
              <a:ext uri="{FF2B5EF4-FFF2-40B4-BE49-F238E27FC236}">
                <a16:creationId xmlns:a16="http://schemas.microsoft.com/office/drawing/2014/main" id="{7F7818A5-BA8A-4AAC-B80A-4A04351C1C7D}"/>
              </a:ext>
            </a:extLst>
          </p:cNvPr>
          <p:cNvSpPr txBox="1"/>
          <p:nvPr/>
        </p:nvSpPr>
        <p:spPr>
          <a:xfrm>
            <a:off x="7722904" y="5662073"/>
            <a:ext cx="4592641" cy="511256"/>
          </a:xfrm>
          <a:prstGeom prst="rect">
            <a:avLst/>
          </a:prstGeom>
          <a:noFill/>
        </p:spPr>
        <p:txBody>
          <a:bodyPr wrap="square" lIns="179285" tIns="143428" rIns="179285" bIns="143428" rtlCol="0" anchor="t">
            <a:spAutoFit/>
          </a:bodyPr>
          <a:lstStyle/>
          <a:p>
            <a:pPr marL="0" marR="0" lvl="0" indent="0" defTabSz="932742"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srgbClr val="002050">
                    <a:lumMod val="75000"/>
                    <a:lumOff val="25000"/>
                  </a:srgbClr>
                </a:solidFill>
                <a:effectLst/>
                <a:uLnTx/>
                <a:uFillTx/>
              </a:rPr>
              <a:t>*TDS = Tabular Data Stream</a:t>
            </a:r>
            <a:endParaRPr kumimoji="0" lang="en-US" sz="1600" b="0" i="0" u="none" strike="noStrike" kern="0" cap="none" spc="0" normalizeH="0" baseline="0" noProof="0" dirty="0">
              <a:ln>
                <a:noFill/>
              </a:ln>
              <a:solidFill>
                <a:srgbClr val="002050">
                  <a:lumMod val="75000"/>
                  <a:lumOff val="25000"/>
                </a:srgbClr>
              </a:solidFill>
              <a:effectLst/>
              <a:uLnTx/>
              <a:uFillTx/>
              <a:cs typeface="Segoe UI"/>
            </a:endParaRPr>
          </a:p>
        </p:txBody>
      </p:sp>
    </p:spTree>
    <p:extLst>
      <p:ext uri="{BB962C8B-B14F-4D97-AF65-F5344CB8AC3E}">
        <p14:creationId xmlns:p14="http://schemas.microsoft.com/office/powerpoint/2010/main" val="42217838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erver Provisioning</a:t>
            </a:r>
          </a:p>
        </p:txBody>
      </p:sp>
      <p:graphicFrame>
        <p:nvGraphicFramePr>
          <p:cNvPr id="6" name="Content Placeholder 5">
            <a:extLst>
              <a:ext uri="{FF2B5EF4-FFF2-40B4-BE49-F238E27FC236}">
                <a16:creationId xmlns:a16="http://schemas.microsoft.com/office/drawing/2014/main" id="{B0CC26BA-DFB8-43D6-B002-070DD5FC78D2}"/>
              </a:ext>
            </a:extLst>
          </p:cNvPr>
          <p:cNvGraphicFramePr>
            <a:graphicFrameLocks noGrp="1"/>
          </p:cNvGraphicFramePr>
          <p:nvPr>
            <p:ph sz="quarter" idx="13"/>
            <p:extLst>
              <p:ext uri="{D42A27DB-BD31-4B8C-83A1-F6EECF244321}">
                <p14:modId xmlns:p14="http://schemas.microsoft.com/office/powerpoint/2010/main" val="1717447407"/>
              </p:ext>
            </p:extLst>
          </p:nvPr>
        </p:nvGraphicFramePr>
        <p:xfrm>
          <a:off x="445770" y="1019175"/>
          <a:ext cx="6012180"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2B73BF74-E397-4001-8709-3EF04EE5AAF5}"/>
              </a:ext>
            </a:extLst>
          </p:cNvPr>
          <p:cNvPicPr>
            <a:picLocks noChangeAspect="1"/>
          </p:cNvPicPr>
          <p:nvPr/>
        </p:nvPicPr>
        <p:blipFill>
          <a:blip r:embed="rId8"/>
          <a:stretch>
            <a:fillRect/>
          </a:stretch>
        </p:blipFill>
        <p:spPr>
          <a:xfrm>
            <a:off x="6738155" y="754491"/>
            <a:ext cx="3371850" cy="2752725"/>
          </a:xfrm>
          <a:prstGeom prst="rect">
            <a:avLst/>
          </a:prstGeom>
        </p:spPr>
      </p:pic>
      <p:pic>
        <p:nvPicPr>
          <p:cNvPr id="9" name="Picture 8">
            <a:extLst>
              <a:ext uri="{FF2B5EF4-FFF2-40B4-BE49-F238E27FC236}">
                <a16:creationId xmlns:a16="http://schemas.microsoft.com/office/drawing/2014/main" id="{ACB00820-7537-4EA3-9ADD-D3AFC498FFFB}"/>
              </a:ext>
            </a:extLst>
          </p:cNvPr>
          <p:cNvPicPr>
            <a:picLocks noChangeAspect="1"/>
          </p:cNvPicPr>
          <p:nvPr/>
        </p:nvPicPr>
        <p:blipFill>
          <a:blip r:embed="rId9"/>
          <a:stretch>
            <a:fillRect/>
          </a:stretch>
        </p:blipFill>
        <p:spPr>
          <a:xfrm>
            <a:off x="6738155" y="4086539"/>
            <a:ext cx="4205679" cy="1950531"/>
          </a:xfrm>
          <a:prstGeom prst="rect">
            <a:avLst/>
          </a:prstGeom>
        </p:spPr>
      </p:pic>
      <p:pic>
        <p:nvPicPr>
          <p:cNvPr id="10" name="Picture 9">
            <a:extLst>
              <a:ext uri="{FF2B5EF4-FFF2-40B4-BE49-F238E27FC236}">
                <a16:creationId xmlns:a16="http://schemas.microsoft.com/office/drawing/2014/main" id="{40AE1FF2-9AE9-4DA6-9147-EF71D0D8249F}"/>
              </a:ext>
            </a:extLst>
          </p:cNvPr>
          <p:cNvPicPr>
            <a:picLocks noChangeAspect="1"/>
          </p:cNvPicPr>
          <p:nvPr/>
        </p:nvPicPr>
        <p:blipFill>
          <a:blip r:embed="rId10"/>
          <a:stretch>
            <a:fillRect/>
          </a:stretch>
        </p:blipFill>
        <p:spPr>
          <a:xfrm>
            <a:off x="6657768" y="588658"/>
            <a:ext cx="5238437" cy="5837116"/>
          </a:xfrm>
          <a:prstGeom prst="rect">
            <a:avLst/>
          </a:prstGeom>
        </p:spPr>
      </p:pic>
    </p:spTree>
    <p:extLst>
      <p:ext uri="{BB962C8B-B14F-4D97-AF65-F5344CB8AC3E}">
        <p14:creationId xmlns:p14="http://schemas.microsoft.com/office/powerpoint/2010/main" val="57615135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Azure SQL Database Firewall</a:t>
            </a:r>
          </a:p>
        </p:txBody>
      </p:sp>
      <p:pic>
        <p:nvPicPr>
          <p:cNvPr id="5" name="Picture 4">
            <a:extLst>
              <a:ext uri="{FF2B5EF4-FFF2-40B4-BE49-F238E27FC236}">
                <a16:creationId xmlns:a16="http://schemas.microsoft.com/office/drawing/2014/main" id="{95C89BAA-9700-4A56-BF3F-1F54807687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6962" y="1040322"/>
            <a:ext cx="4440514" cy="5227636"/>
          </a:xfrm>
          <a:prstGeom prst="rect">
            <a:avLst/>
          </a:prstGeom>
        </p:spPr>
      </p:pic>
      <p:grpSp>
        <p:nvGrpSpPr>
          <p:cNvPr id="6" name="Group 5">
            <a:extLst>
              <a:ext uri="{FF2B5EF4-FFF2-40B4-BE49-F238E27FC236}">
                <a16:creationId xmlns:a16="http://schemas.microsoft.com/office/drawing/2014/main" id="{FEB1A156-ED79-4838-A564-8DC6D6BE9B89}"/>
              </a:ext>
            </a:extLst>
          </p:cNvPr>
          <p:cNvGrpSpPr/>
          <p:nvPr/>
        </p:nvGrpSpPr>
        <p:grpSpPr>
          <a:xfrm>
            <a:off x="6296882" y="1621279"/>
            <a:ext cx="5239481" cy="4318215"/>
            <a:chOff x="6007957" y="1212850"/>
            <a:chExt cx="5239481" cy="4493936"/>
          </a:xfrm>
        </p:grpSpPr>
        <p:sp>
          <p:nvSpPr>
            <p:cNvPr id="7" name="Isosceles Triangle 6">
              <a:extLst>
                <a:ext uri="{FF2B5EF4-FFF2-40B4-BE49-F238E27FC236}">
                  <a16:creationId xmlns:a16="http://schemas.microsoft.com/office/drawing/2014/main" id="{697BB698-8A02-4A95-8359-2F89451BD2E0}"/>
                </a:ext>
              </a:extLst>
            </p:cNvPr>
            <p:cNvSpPr/>
            <p:nvPr/>
          </p:nvSpPr>
          <p:spPr>
            <a:xfrm>
              <a:off x="6007957" y="1212850"/>
              <a:ext cx="4493936" cy="4493936"/>
            </a:xfrm>
            <a:prstGeom prst="triangle">
              <a:avLst/>
            </a:prstGeom>
            <a:solidFill>
              <a:srgbClr val="243A5E"/>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latin typeface="Segoe UI" panose="020B0502040204020203" pitchFamily="34" charset="0"/>
              </a:endParaRPr>
            </a:p>
          </p:txBody>
        </p:sp>
        <p:sp>
          <p:nvSpPr>
            <p:cNvPr id="8" name="Rectangle 7">
              <a:extLst>
                <a:ext uri="{FF2B5EF4-FFF2-40B4-BE49-F238E27FC236}">
                  <a16:creationId xmlns:a16="http://schemas.microsoft.com/office/drawing/2014/main" id="{6480B1C8-EB2A-497D-9DE9-1C444812EDFA}"/>
                </a:ext>
              </a:extLst>
            </p:cNvPr>
            <p:cNvSpPr/>
            <p:nvPr/>
          </p:nvSpPr>
          <p:spPr bwMode="auto">
            <a:xfrm>
              <a:off x="8040215" y="1930928"/>
              <a:ext cx="3207223" cy="917575"/>
            </a:xfrm>
            <a:prstGeom prst="rect">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800100">
                <a:lnSpc>
                  <a:spcPct val="90000"/>
                </a:lnSpc>
                <a:spcBef>
                  <a:spcPct val="0"/>
                </a:spcBef>
                <a:spcAft>
                  <a:spcPct val="35000"/>
                </a:spcAft>
              </a:pPr>
              <a:r>
                <a:rPr lang="en-US" sz="2000">
                  <a:solidFill>
                    <a:schemeClr val="tx1">
                      <a:lumMod val="50000"/>
                    </a:schemeClr>
                  </a:solidFill>
                  <a:latin typeface="Segoe UI" panose="020B0502040204020203" pitchFamily="34" charset="0"/>
                </a:rPr>
                <a:t>IP Address-based access control for SQL Database</a:t>
              </a:r>
              <a:endParaRPr lang="nl-BE" sz="2000">
                <a:solidFill>
                  <a:schemeClr val="tx1">
                    <a:lumMod val="50000"/>
                  </a:schemeClr>
                </a:solidFill>
                <a:latin typeface="Segoe UI" panose="020B0502040204020203" pitchFamily="34" charset="0"/>
              </a:endParaRPr>
            </a:p>
          </p:txBody>
        </p:sp>
        <p:sp>
          <p:nvSpPr>
            <p:cNvPr id="9" name="Rectangle 8">
              <a:extLst>
                <a:ext uri="{FF2B5EF4-FFF2-40B4-BE49-F238E27FC236}">
                  <a16:creationId xmlns:a16="http://schemas.microsoft.com/office/drawing/2014/main" id="{E1D581F7-650B-4A10-B2BE-2A7CF4E8B434}"/>
                </a:ext>
              </a:extLst>
            </p:cNvPr>
            <p:cNvSpPr/>
            <p:nvPr/>
          </p:nvSpPr>
          <p:spPr bwMode="auto">
            <a:xfrm>
              <a:off x="8040215" y="3097975"/>
              <a:ext cx="3207223" cy="917575"/>
            </a:xfrm>
            <a:prstGeom prst="rect">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00100">
                <a:lnSpc>
                  <a:spcPct val="90000"/>
                </a:lnSpc>
                <a:spcBef>
                  <a:spcPct val="0"/>
                </a:spcBef>
                <a:spcAft>
                  <a:spcPct val="35000"/>
                </a:spcAft>
              </a:pPr>
              <a:r>
                <a:rPr lang="en-US" sz="2000">
                  <a:solidFill>
                    <a:schemeClr val="tx1">
                      <a:lumMod val="50000"/>
                    </a:schemeClr>
                  </a:solidFill>
                  <a:latin typeface="Segoe UI" panose="020B0502040204020203" pitchFamily="34" charset="0"/>
                </a:rPr>
                <a:t>Rules at the server and/or database level</a:t>
              </a:r>
              <a:endParaRPr lang="nl-BE" sz="2000">
                <a:solidFill>
                  <a:schemeClr val="tx1">
                    <a:lumMod val="50000"/>
                  </a:schemeClr>
                </a:solidFill>
                <a:latin typeface="Segoe UI" panose="020B0502040204020203" pitchFamily="34" charset="0"/>
              </a:endParaRPr>
            </a:p>
          </p:txBody>
        </p:sp>
        <p:sp>
          <p:nvSpPr>
            <p:cNvPr id="10" name="Rectangle 9">
              <a:extLst>
                <a:ext uri="{FF2B5EF4-FFF2-40B4-BE49-F238E27FC236}">
                  <a16:creationId xmlns:a16="http://schemas.microsoft.com/office/drawing/2014/main" id="{59474DAC-E394-408D-A3B2-78E15D318A30}"/>
                </a:ext>
              </a:extLst>
            </p:cNvPr>
            <p:cNvSpPr/>
            <p:nvPr/>
          </p:nvSpPr>
          <p:spPr bwMode="auto">
            <a:xfrm>
              <a:off x="8033332" y="4265022"/>
              <a:ext cx="3207223" cy="917575"/>
            </a:xfrm>
            <a:prstGeom prst="rect">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00100">
                <a:lnSpc>
                  <a:spcPct val="90000"/>
                </a:lnSpc>
                <a:spcBef>
                  <a:spcPct val="0"/>
                </a:spcBef>
                <a:spcAft>
                  <a:spcPct val="35000"/>
                </a:spcAft>
              </a:pPr>
              <a:r>
                <a:rPr lang="en-US" sz="2000">
                  <a:solidFill>
                    <a:schemeClr val="tx1">
                      <a:lumMod val="50000"/>
                    </a:schemeClr>
                  </a:solidFill>
                  <a:latin typeface="Segoe UI" panose="020B0502040204020203" pitchFamily="34" charset="0"/>
                </a:rPr>
                <a:t>No IP authorized by default, not even Azure itself</a:t>
              </a:r>
              <a:endParaRPr lang="nl-BE" sz="2000">
                <a:solidFill>
                  <a:schemeClr val="tx1">
                    <a:lumMod val="50000"/>
                  </a:schemeClr>
                </a:solidFill>
                <a:latin typeface="Segoe UI" panose="020B0502040204020203" pitchFamily="34" charset="0"/>
              </a:endParaRPr>
            </a:p>
          </p:txBody>
        </p:sp>
      </p:grpSp>
    </p:spTree>
    <p:extLst>
      <p:ext uri="{BB962C8B-B14F-4D97-AF65-F5344CB8AC3E}">
        <p14:creationId xmlns:p14="http://schemas.microsoft.com/office/powerpoint/2010/main" val="30498632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the basic concept and architecture</a:t>
            </a:r>
          </a:p>
          <a:p>
            <a:r>
              <a:rPr lang="en-US" dirty="0"/>
              <a:t>Describe the difference between the purchase models.</a:t>
            </a:r>
          </a:p>
          <a:p>
            <a:r>
              <a:rPr lang="en-US" dirty="0"/>
              <a:t>Describe the service tiers compute and hardware generation of the Azure SQL Database.</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Create the database</a:t>
            </a:r>
          </a:p>
        </p:txBody>
      </p:sp>
      <p:graphicFrame>
        <p:nvGraphicFramePr>
          <p:cNvPr id="7" name="Diagram 2">
            <a:extLst>
              <a:ext uri="{FF2B5EF4-FFF2-40B4-BE49-F238E27FC236}">
                <a16:creationId xmlns:a16="http://schemas.microsoft.com/office/drawing/2014/main" id="{64378160-055A-44F2-8448-BDD4510F54B6}"/>
              </a:ext>
            </a:extLst>
          </p:cNvPr>
          <p:cNvGraphicFramePr/>
          <p:nvPr>
            <p:extLst>
              <p:ext uri="{D42A27DB-BD31-4B8C-83A1-F6EECF244321}">
                <p14:modId xmlns:p14="http://schemas.microsoft.com/office/powerpoint/2010/main" val="854563449"/>
              </p:ext>
            </p:extLst>
          </p:nvPr>
        </p:nvGraphicFramePr>
        <p:xfrm>
          <a:off x="1688778" y="1870583"/>
          <a:ext cx="2059533" cy="9640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DB20293E-6905-4CEF-B912-B88E0BF99EC3}"/>
              </a:ext>
            </a:extLst>
          </p:cNvPr>
          <p:cNvPicPr>
            <a:picLocks noChangeAspect="1"/>
          </p:cNvPicPr>
          <p:nvPr/>
        </p:nvPicPr>
        <p:blipFill>
          <a:blip r:embed="rId8"/>
          <a:stretch>
            <a:fillRect/>
          </a:stretch>
        </p:blipFill>
        <p:spPr>
          <a:xfrm>
            <a:off x="4385748" y="1268036"/>
            <a:ext cx="5543592" cy="2453241"/>
          </a:xfrm>
          <a:prstGeom prst="rect">
            <a:avLst/>
          </a:prstGeom>
        </p:spPr>
      </p:pic>
      <p:sp>
        <p:nvSpPr>
          <p:cNvPr id="3" name="Rectangle 2">
            <a:extLst>
              <a:ext uri="{FF2B5EF4-FFF2-40B4-BE49-F238E27FC236}">
                <a16:creationId xmlns:a16="http://schemas.microsoft.com/office/drawing/2014/main" id="{F7F9C079-1EB3-4F42-8AF7-4181F65F9937}"/>
              </a:ext>
            </a:extLst>
          </p:cNvPr>
          <p:cNvSpPr/>
          <p:nvPr/>
        </p:nvSpPr>
        <p:spPr>
          <a:xfrm>
            <a:off x="655637" y="4023361"/>
            <a:ext cx="10880725" cy="1200329"/>
          </a:xfrm>
          <a:prstGeom prst="rect">
            <a:avLst/>
          </a:prstGeom>
          <a:ln>
            <a:solidFill>
              <a:schemeClr val="accent1"/>
            </a:solidFill>
          </a:ln>
          <a:effectLst/>
        </p:spPr>
        <p:txBody>
          <a:bodyPr wrap="square">
            <a:noAutofit/>
          </a:bodyPr>
          <a:lstStyle/>
          <a:p>
            <a:pPr marL="0" indent="0">
              <a:buNone/>
            </a:pPr>
            <a:r>
              <a:rPr lang="en-US" sz="1800" b="1">
                <a:solidFill>
                  <a:schemeClr val="accent1">
                    <a:lumMod val="50000"/>
                    <a:lumOff val="50000"/>
                  </a:schemeClr>
                </a:solidFill>
                <a:latin typeface="Segoe UI Semilight"/>
                <a:cs typeface="Arial"/>
              </a:rPr>
              <a:t>PowerShell</a:t>
            </a:r>
            <a:r>
              <a:rPr lang="en-US" sz="1800" b="1">
                <a:solidFill>
                  <a:schemeClr val="accent1">
                    <a:lumMod val="50000"/>
                    <a:lumOff val="50000"/>
                  </a:schemeClr>
                </a:solidFill>
                <a:latin typeface="Arial"/>
                <a:cs typeface="Arial"/>
              </a:rPr>
              <a:t>: </a:t>
            </a:r>
            <a:endParaRPr lang="en-US" sz="1800" b="1">
              <a:solidFill>
                <a:schemeClr val="accent1">
                  <a:lumMod val="50000"/>
                  <a:lumOff val="50000"/>
                </a:schemeClr>
              </a:solidFill>
              <a:latin typeface="Arial" panose="020B0604020202020204" pitchFamily="34" charset="0"/>
              <a:cs typeface="Arial" panose="020B0604020202020204" pitchFamily="34" charset="0"/>
            </a:endParaRPr>
          </a:p>
          <a:p>
            <a:pPr marL="0" indent="0">
              <a:buNone/>
            </a:pPr>
            <a:r>
              <a:rPr lang="en-US" sz="1800">
                <a:latin typeface="Consolas"/>
              </a:rPr>
              <a:t>New-AzSqlDatabase -</a:t>
            </a:r>
            <a:r>
              <a:rPr lang="en-US" sz="1800" err="1">
                <a:latin typeface="Consolas"/>
              </a:rPr>
              <a:t>ResourceGroupName</a:t>
            </a:r>
            <a:r>
              <a:rPr lang="en-US" sz="1800">
                <a:latin typeface="Consolas"/>
              </a:rPr>
              <a:t> "</a:t>
            </a:r>
            <a:r>
              <a:rPr lang="en-US" sz="1800" err="1">
                <a:latin typeface="Consolas"/>
              </a:rPr>
              <a:t>reurcegroupsqlgsps</a:t>
            </a:r>
            <a:r>
              <a:rPr lang="en-US" sz="1800">
                <a:latin typeface="Consolas"/>
              </a:rPr>
              <a:t>" </a:t>
            </a:r>
            <a:endParaRPr lang="en-US" sz="1800"/>
          </a:p>
          <a:p>
            <a:pPr marL="0" indent="0">
              <a:buNone/>
            </a:pPr>
            <a:r>
              <a:rPr lang="en-US" sz="1800">
                <a:latin typeface="Consolas"/>
              </a:rPr>
              <a:t>-</a:t>
            </a:r>
            <a:r>
              <a:rPr lang="en-US" sz="1800" err="1">
                <a:latin typeface="Consolas"/>
              </a:rPr>
              <a:t>ServerName</a:t>
            </a:r>
            <a:r>
              <a:rPr lang="en-US" sz="1800">
                <a:latin typeface="Consolas"/>
              </a:rPr>
              <a:t> "server1" -</a:t>
            </a:r>
            <a:r>
              <a:rPr lang="en-US" sz="1800" err="1">
                <a:latin typeface="Consolas"/>
              </a:rPr>
              <a:t>DatabaseName</a:t>
            </a:r>
            <a:r>
              <a:rPr lang="en-US" sz="1800">
                <a:latin typeface="Consolas"/>
              </a:rPr>
              <a:t> "database1" </a:t>
            </a:r>
            <a:endParaRPr lang="en-US" sz="1800"/>
          </a:p>
          <a:p>
            <a:pPr marL="0" indent="0">
              <a:buNone/>
            </a:pPr>
            <a:r>
              <a:rPr lang="en-US" sz="1800">
                <a:latin typeface="Consolas"/>
              </a:rPr>
              <a:t>-Edition "Standard" -</a:t>
            </a:r>
            <a:r>
              <a:rPr lang="en-US" sz="1800" err="1">
                <a:latin typeface="Consolas"/>
              </a:rPr>
              <a:t>RequestedServiceObjectiveName</a:t>
            </a:r>
            <a:r>
              <a:rPr lang="en-US" sz="1800">
                <a:latin typeface="Consolas"/>
              </a:rPr>
              <a:t> "S1" </a:t>
            </a:r>
            <a:endParaRPr lang="en-US" sz="1800"/>
          </a:p>
        </p:txBody>
      </p:sp>
      <p:sp>
        <p:nvSpPr>
          <p:cNvPr id="4" name="Rectangle 3">
            <a:extLst>
              <a:ext uri="{FF2B5EF4-FFF2-40B4-BE49-F238E27FC236}">
                <a16:creationId xmlns:a16="http://schemas.microsoft.com/office/drawing/2014/main" id="{95A3EC4F-A583-4842-AE2C-9DED671F17E7}"/>
              </a:ext>
            </a:extLst>
          </p:cNvPr>
          <p:cNvSpPr/>
          <p:nvPr/>
        </p:nvSpPr>
        <p:spPr>
          <a:xfrm>
            <a:off x="655636" y="5337632"/>
            <a:ext cx="10880725" cy="1200329"/>
          </a:xfrm>
          <a:prstGeom prst="rect">
            <a:avLst/>
          </a:prstGeom>
          <a:ln>
            <a:solidFill>
              <a:schemeClr val="accent1"/>
            </a:solidFill>
          </a:ln>
          <a:effectLst/>
        </p:spPr>
        <p:txBody>
          <a:bodyPr wrap="square">
            <a:noAutofit/>
          </a:body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800" b="1" i="0" u="none" strike="noStrike" kern="1200" cap="none" spc="0" normalizeH="0" baseline="0" noProof="0">
                <a:ln>
                  <a:noFill/>
                </a:ln>
                <a:solidFill>
                  <a:schemeClr val="accent1">
                    <a:lumMod val="50000"/>
                    <a:lumOff val="50000"/>
                  </a:schemeClr>
                </a:solidFill>
                <a:effectLst/>
                <a:uLnTx/>
                <a:uFillTx/>
                <a:latin typeface="Segoe UI Semilight"/>
                <a:cs typeface="Arial"/>
              </a:rPr>
              <a:t>Transact-SQL:</a:t>
            </a:r>
          </a:p>
          <a:p>
            <a:r>
              <a:rPr lang="en-US" sz="1800">
                <a:solidFill>
                  <a:srgbClr val="0000FF"/>
                </a:solidFill>
              </a:rPr>
              <a:t>CREATE</a:t>
            </a:r>
            <a:r>
              <a:rPr lang="en-US" sz="1800">
                <a:solidFill>
                  <a:srgbClr val="000000"/>
                </a:solidFill>
              </a:rPr>
              <a:t> </a:t>
            </a:r>
            <a:r>
              <a:rPr lang="en-US" sz="1800">
                <a:solidFill>
                  <a:srgbClr val="0000FF"/>
                </a:solidFill>
              </a:rPr>
              <a:t>DATABASE</a:t>
            </a:r>
            <a:r>
              <a:rPr lang="en-US" sz="1800">
                <a:solidFill>
                  <a:srgbClr val="000000"/>
                </a:solidFill>
              </a:rPr>
              <a:t> </a:t>
            </a:r>
            <a:r>
              <a:rPr lang="en-US" sz="1800" err="1">
                <a:solidFill>
                  <a:srgbClr val="000000"/>
                </a:solidFill>
              </a:rPr>
              <a:t>MyFirstAzureSQLDatabase</a:t>
            </a:r>
            <a:r>
              <a:rPr lang="en-US" sz="1800">
                <a:solidFill>
                  <a:srgbClr val="000000"/>
                </a:solidFill>
              </a:rPr>
              <a:t> </a:t>
            </a:r>
          </a:p>
          <a:p>
            <a:r>
              <a:rPr lang="en-US" sz="1800">
                <a:solidFill>
                  <a:srgbClr val="808080"/>
                </a:solidFill>
              </a:rPr>
              <a:t>(</a:t>
            </a:r>
            <a:r>
              <a:rPr lang="en-US" sz="1800">
                <a:solidFill>
                  <a:srgbClr val="000000"/>
                </a:solidFill>
              </a:rPr>
              <a:t>MAXSIZE </a:t>
            </a:r>
            <a:r>
              <a:rPr lang="en-US" sz="1800">
                <a:solidFill>
                  <a:srgbClr val="808080"/>
                </a:solidFill>
              </a:rPr>
              <a:t>=</a:t>
            </a:r>
            <a:r>
              <a:rPr lang="en-US" sz="1800">
                <a:solidFill>
                  <a:srgbClr val="000000"/>
                </a:solidFill>
              </a:rPr>
              <a:t> 500 MB</a:t>
            </a:r>
            <a:r>
              <a:rPr lang="en-US" sz="1800">
                <a:solidFill>
                  <a:srgbClr val="808080"/>
                </a:solidFill>
              </a:rPr>
              <a:t>,</a:t>
            </a:r>
            <a:r>
              <a:rPr lang="en-US" sz="1800">
                <a:solidFill>
                  <a:srgbClr val="000000"/>
                </a:solidFill>
              </a:rPr>
              <a:t> EDITION </a:t>
            </a:r>
            <a:r>
              <a:rPr lang="en-US" sz="1800">
                <a:solidFill>
                  <a:srgbClr val="808080"/>
                </a:solidFill>
              </a:rPr>
              <a:t>=</a:t>
            </a:r>
            <a:r>
              <a:rPr lang="en-US" sz="1800">
                <a:solidFill>
                  <a:srgbClr val="000000"/>
                </a:solidFill>
              </a:rPr>
              <a:t> </a:t>
            </a:r>
            <a:r>
              <a:rPr lang="en-US" sz="1800">
                <a:solidFill>
                  <a:srgbClr val="FF0000"/>
                </a:solidFill>
              </a:rPr>
              <a:t>'standard'</a:t>
            </a:r>
            <a:r>
              <a:rPr lang="en-US" sz="1800">
                <a:solidFill>
                  <a:srgbClr val="808080"/>
                </a:solidFill>
              </a:rPr>
              <a:t>,</a:t>
            </a:r>
            <a:r>
              <a:rPr lang="en-US" sz="1800">
                <a:solidFill>
                  <a:srgbClr val="000000"/>
                </a:solidFill>
              </a:rPr>
              <a:t> </a:t>
            </a:r>
            <a:r>
              <a:rPr lang="en-US" sz="1800">
                <a:solidFill>
                  <a:srgbClr val="0000FF"/>
                </a:solidFill>
              </a:rPr>
              <a:t>SERVICE_OBJECTIVE</a:t>
            </a:r>
            <a:r>
              <a:rPr lang="en-US" sz="1800">
                <a:solidFill>
                  <a:srgbClr val="000000"/>
                </a:solidFill>
              </a:rPr>
              <a:t> </a:t>
            </a:r>
            <a:r>
              <a:rPr lang="en-US" sz="1800">
                <a:solidFill>
                  <a:srgbClr val="808080"/>
                </a:solidFill>
              </a:rPr>
              <a:t>=</a:t>
            </a:r>
            <a:r>
              <a:rPr lang="en-US" sz="1800">
                <a:solidFill>
                  <a:srgbClr val="000000"/>
                </a:solidFill>
              </a:rPr>
              <a:t> </a:t>
            </a:r>
            <a:r>
              <a:rPr lang="en-US" sz="1800">
                <a:solidFill>
                  <a:srgbClr val="FF0000"/>
                </a:solidFill>
              </a:rPr>
              <a:t>'S1'</a:t>
            </a:r>
            <a:r>
              <a:rPr lang="en-US" sz="1800">
                <a:solidFill>
                  <a:srgbClr val="808080"/>
                </a:solidFill>
              </a:rPr>
              <a:t>);</a:t>
            </a:r>
            <a:r>
              <a:rPr lang="en-US" sz="1800">
                <a:solidFill>
                  <a:srgbClr val="000000"/>
                </a:solidFill>
              </a:rPr>
              <a:t> </a:t>
            </a:r>
          </a:p>
        </p:txBody>
      </p:sp>
    </p:spTree>
    <p:extLst>
      <p:ext uri="{BB962C8B-B14F-4D97-AF65-F5344CB8AC3E}">
        <p14:creationId xmlns:p14="http://schemas.microsoft.com/office/powerpoint/2010/main" val="17714476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Create your first Azure SQL Database</a:t>
            </a:r>
          </a:p>
          <a:p>
            <a:pPr marL="571500" lvl="1" indent="-342900">
              <a:buFont typeface="Arial" panose="020B0604020202020204" pitchFamily="34" charset="0"/>
              <a:buChar char="•"/>
            </a:pPr>
            <a:r>
              <a:rPr lang="en-US"/>
              <a:t>Create a new server, configure the firewall rules and create an Azure SQL Database (DTU based).</a:t>
            </a:r>
          </a:p>
          <a:p>
            <a:endParaRPr lang="en-US"/>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2839060334"/>
      </p:ext>
    </p:extLst>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Create an Azure SQL Databas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a:t>Exercise 1: Create a new SQL Server (logical server).</a:t>
            </a:r>
          </a:p>
          <a:p>
            <a:pPr marL="342900" indent="-342900">
              <a:buFont typeface="Arial" panose="020B0604020202020204" pitchFamily="34" charset="0"/>
              <a:buChar char="•"/>
            </a:pPr>
            <a:r>
              <a:rPr lang="en-US"/>
              <a:t>Exercise 2: Create firewall rules.</a:t>
            </a:r>
          </a:p>
          <a:p>
            <a:pPr marL="342900" indent="-342900">
              <a:buFont typeface="Arial" panose="020B0604020202020204" pitchFamily="34" charset="0"/>
              <a:buChar char="•"/>
            </a:pPr>
            <a:r>
              <a:rPr lang="en-US"/>
              <a:t>Exercise 3: Create an Azure SQL. Database (DTU Based).</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024735957"/>
      </p:ext>
    </p:extLst>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914156018"/>
      </p:ext>
    </p:extLst>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81913630"/>
              </p:ext>
            </p:extLst>
          </p:nvPr>
        </p:nvGraphicFramePr>
        <p:xfrm>
          <a:off x="655638" y="1408113"/>
          <a:ext cx="10880725" cy="3163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6840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E26549F3-2774-47AF-8B16-C2F8D86F7ED8}"/>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4D7EAB57-E79C-46D0-82FD-CA383850D152}"/>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9859962" cy="604798"/>
          </a:xfrm>
        </p:spPr>
        <p:txBody>
          <a:bodyPr/>
          <a:lstStyle/>
          <a:p>
            <a:r>
              <a:rPr lang="en-US"/>
              <a:t>Lesson 3: Introduction to Elastic Database Pools in Azure SQL Database</a:t>
            </a:r>
          </a:p>
        </p:txBody>
      </p:sp>
    </p:spTree>
    <p:extLst>
      <p:ext uri="{BB962C8B-B14F-4D97-AF65-F5344CB8AC3E}">
        <p14:creationId xmlns:p14="http://schemas.microsoft.com/office/powerpoint/2010/main" val="5749584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Describe the Azure Elastic Database Pool</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What is an Azure SQL elastic pool?</a:t>
            </a:r>
          </a:p>
        </p:txBody>
      </p:sp>
      <p:pic>
        <p:nvPicPr>
          <p:cNvPr id="5" name="ElasticDatabasePools_mid">
            <a:hlinkClick r:id="" action="ppaction://media"/>
            <a:extLst>
              <a:ext uri="{FF2B5EF4-FFF2-40B4-BE49-F238E27FC236}">
                <a16:creationId xmlns:a16="http://schemas.microsoft.com/office/drawing/2014/main" id="{4A0DED44-1461-4AA1-A2EB-7DF5D554336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777296" y="1118806"/>
            <a:ext cx="9119727" cy="5129846"/>
          </a:xfrm>
          <a:prstGeom prst="rect">
            <a:avLst/>
          </a:prstGeom>
        </p:spPr>
      </p:pic>
    </p:spTree>
    <p:extLst>
      <p:ext uri="{BB962C8B-B14F-4D97-AF65-F5344CB8AC3E}">
        <p14:creationId xmlns:p14="http://schemas.microsoft.com/office/powerpoint/2010/main" val="4248838292"/>
      </p:ext>
    </p:extLst>
  </p:cSld>
  <p:clrMapOvr>
    <a:masterClrMapping/>
  </p:clrMapOvr>
  <p:timing>
    <p:tnLst>
      <p:par>
        <p:cTn id="1" dur="indefinite" restart="never" nodeType="tmRoot">
          <p:childTnLst>
            <p:video fullScrn="1">
              <p:cMediaNode vol="80000">
                <p:cTn id="2" fill="hold" display="0">
                  <p:stCondLst>
                    <p:cond delay="indefinite"/>
                  </p:stCondLst>
                </p:cTn>
                <p:tgtEl>
                  <p:spTgt spid="5"/>
                </p:tgtEl>
              </p:cMediaNode>
            </p:video>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What is an Azure SQL elastic pool?</a:t>
            </a:r>
          </a:p>
        </p:txBody>
      </p:sp>
      <p:graphicFrame>
        <p:nvGraphicFramePr>
          <p:cNvPr id="6" name="Diagram 5">
            <a:extLst>
              <a:ext uri="{FF2B5EF4-FFF2-40B4-BE49-F238E27FC236}">
                <a16:creationId xmlns:a16="http://schemas.microsoft.com/office/drawing/2014/main" id="{B68167DA-22DB-4214-BAC5-D22824BDF6AC}"/>
              </a:ext>
            </a:extLst>
          </p:cNvPr>
          <p:cNvGraphicFramePr/>
          <p:nvPr>
            <p:extLst>
              <p:ext uri="{D42A27DB-BD31-4B8C-83A1-F6EECF244321}">
                <p14:modId xmlns:p14="http://schemas.microsoft.com/office/powerpoint/2010/main" val="1202735881"/>
              </p:ext>
            </p:extLst>
          </p:nvPr>
        </p:nvGraphicFramePr>
        <p:xfrm>
          <a:off x="987232" y="1066470"/>
          <a:ext cx="10661888" cy="50516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796064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DTU-based Elastic Pool service tiers</a:t>
            </a:r>
          </a:p>
        </p:txBody>
      </p:sp>
      <p:graphicFrame>
        <p:nvGraphicFramePr>
          <p:cNvPr id="5" name="Table 4">
            <a:extLst>
              <a:ext uri="{FF2B5EF4-FFF2-40B4-BE49-F238E27FC236}">
                <a16:creationId xmlns:a16="http://schemas.microsoft.com/office/drawing/2014/main" id="{C08CE232-D447-467A-942B-7BF0381757EE}"/>
              </a:ext>
            </a:extLst>
          </p:cNvPr>
          <p:cNvGraphicFramePr>
            <a:graphicFrameLocks noGrp="1"/>
          </p:cNvGraphicFramePr>
          <p:nvPr>
            <p:extLst>
              <p:ext uri="{D42A27DB-BD31-4B8C-83A1-F6EECF244321}">
                <p14:modId xmlns:p14="http://schemas.microsoft.com/office/powerpoint/2010/main" val="3348253384"/>
              </p:ext>
            </p:extLst>
          </p:nvPr>
        </p:nvGraphicFramePr>
        <p:xfrm>
          <a:off x="806344" y="1025204"/>
          <a:ext cx="10880725" cy="4807592"/>
        </p:xfrm>
        <a:graphic>
          <a:graphicData uri="http://schemas.openxmlformats.org/drawingml/2006/table">
            <a:tbl>
              <a:tblPr firstRow="1" bandRow="1"/>
              <a:tblGrid>
                <a:gridCol w="2897462">
                  <a:extLst>
                    <a:ext uri="{9D8B030D-6E8A-4147-A177-3AD203B41FA5}">
                      <a16:colId xmlns:a16="http://schemas.microsoft.com/office/drawing/2014/main" val="1405972419"/>
                    </a:ext>
                  </a:extLst>
                </a:gridCol>
                <a:gridCol w="2488377">
                  <a:extLst>
                    <a:ext uri="{9D8B030D-6E8A-4147-A177-3AD203B41FA5}">
                      <a16:colId xmlns:a16="http://schemas.microsoft.com/office/drawing/2014/main" val="1820067229"/>
                    </a:ext>
                  </a:extLst>
                </a:gridCol>
                <a:gridCol w="2908254">
                  <a:extLst>
                    <a:ext uri="{9D8B030D-6E8A-4147-A177-3AD203B41FA5}">
                      <a16:colId xmlns:a16="http://schemas.microsoft.com/office/drawing/2014/main" val="2661456490"/>
                    </a:ext>
                  </a:extLst>
                </a:gridCol>
                <a:gridCol w="2586632">
                  <a:extLst>
                    <a:ext uri="{9D8B030D-6E8A-4147-A177-3AD203B41FA5}">
                      <a16:colId xmlns:a16="http://schemas.microsoft.com/office/drawing/2014/main" val="514804700"/>
                    </a:ext>
                  </a:extLst>
                </a:gridCol>
              </a:tblGrid>
              <a:tr h="338315">
                <a:tc>
                  <a:txBody>
                    <a:bodyPr/>
                    <a:lstStyle>
                      <a:lvl1pPr marL="0" algn="l" defTabSz="932742" rtl="0" eaLnBrk="1" latinLnBrk="0" hangingPunct="1">
                        <a:defRPr sz="1800" b="1" kern="1200">
                          <a:solidFill>
                            <a:schemeClr val="tx1"/>
                          </a:solidFill>
                          <a:latin typeface="Segoe UI"/>
                        </a:defRPr>
                      </a:lvl1pPr>
                      <a:lvl2pPr marL="466371" algn="l" defTabSz="932742" rtl="0" eaLnBrk="1" latinLnBrk="0" hangingPunct="1">
                        <a:defRPr sz="1800" b="1" kern="1200">
                          <a:solidFill>
                            <a:schemeClr val="tx1"/>
                          </a:solidFill>
                          <a:latin typeface="Segoe UI"/>
                        </a:defRPr>
                      </a:lvl2pPr>
                      <a:lvl3pPr marL="932742" algn="l" defTabSz="932742" rtl="0" eaLnBrk="1" latinLnBrk="0" hangingPunct="1">
                        <a:defRPr sz="1800" b="1" kern="1200">
                          <a:solidFill>
                            <a:schemeClr val="tx1"/>
                          </a:solidFill>
                          <a:latin typeface="Segoe UI"/>
                        </a:defRPr>
                      </a:lvl3pPr>
                      <a:lvl4pPr marL="1399113" algn="l" defTabSz="932742" rtl="0" eaLnBrk="1" latinLnBrk="0" hangingPunct="1">
                        <a:defRPr sz="1800" b="1" kern="1200">
                          <a:solidFill>
                            <a:schemeClr val="tx1"/>
                          </a:solidFill>
                          <a:latin typeface="Segoe UI"/>
                        </a:defRPr>
                      </a:lvl4pPr>
                      <a:lvl5pPr marL="1865484" algn="l" defTabSz="932742" rtl="0" eaLnBrk="1" latinLnBrk="0" hangingPunct="1">
                        <a:defRPr sz="1800" b="1" kern="1200">
                          <a:solidFill>
                            <a:schemeClr val="tx1"/>
                          </a:solidFill>
                          <a:latin typeface="Segoe UI"/>
                        </a:defRPr>
                      </a:lvl5pPr>
                      <a:lvl6pPr marL="2331856" algn="l" defTabSz="932742" rtl="0" eaLnBrk="1" latinLnBrk="0" hangingPunct="1">
                        <a:defRPr sz="1800" b="1" kern="1200">
                          <a:solidFill>
                            <a:schemeClr val="tx1"/>
                          </a:solidFill>
                          <a:latin typeface="Segoe UI"/>
                        </a:defRPr>
                      </a:lvl6pPr>
                      <a:lvl7pPr marL="2798226" algn="l" defTabSz="932742" rtl="0" eaLnBrk="1" latinLnBrk="0" hangingPunct="1">
                        <a:defRPr sz="1800" b="1" kern="1200">
                          <a:solidFill>
                            <a:schemeClr val="tx1"/>
                          </a:solidFill>
                          <a:latin typeface="Segoe UI"/>
                        </a:defRPr>
                      </a:lvl7pPr>
                      <a:lvl8pPr marL="3264597" algn="l" defTabSz="932742" rtl="0" eaLnBrk="1" latinLnBrk="0" hangingPunct="1">
                        <a:defRPr sz="1800" b="1" kern="1200">
                          <a:solidFill>
                            <a:schemeClr val="tx1"/>
                          </a:solidFill>
                          <a:latin typeface="Segoe UI"/>
                        </a:defRPr>
                      </a:lvl8pPr>
                      <a:lvl9pPr marL="3730969" algn="l" defTabSz="932742" rtl="0" eaLnBrk="1" latinLnBrk="0" hangingPunct="1">
                        <a:defRPr sz="1800" b="1" kern="1200">
                          <a:solidFill>
                            <a:schemeClr val="tx1"/>
                          </a:solidFill>
                          <a:latin typeface="Segoe UI"/>
                        </a:defRPr>
                      </a:lvl9pPr>
                    </a:lstStyle>
                    <a:p>
                      <a:endParaRPr lang="en-US"/>
                    </a:p>
                  </a:txBody>
                  <a:tcP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b="1" kern="1200">
                          <a:solidFill>
                            <a:schemeClr val="tx1"/>
                          </a:solidFill>
                          <a:latin typeface="Segoe UI"/>
                        </a:defRPr>
                      </a:lvl1pPr>
                      <a:lvl2pPr marL="466371" algn="l" defTabSz="932742" rtl="0" eaLnBrk="1" latinLnBrk="0" hangingPunct="1">
                        <a:defRPr sz="1800" b="1" kern="1200">
                          <a:solidFill>
                            <a:schemeClr val="tx1"/>
                          </a:solidFill>
                          <a:latin typeface="Segoe UI"/>
                        </a:defRPr>
                      </a:lvl2pPr>
                      <a:lvl3pPr marL="932742" algn="l" defTabSz="932742" rtl="0" eaLnBrk="1" latinLnBrk="0" hangingPunct="1">
                        <a:defRPr sz="1800" b="1" kern="1200">
                          <a:solidFill>
                            <a:schemeClr val="tx1"/>
                          </a:solidFill>
                          <a:latin typeface="Segoe UI"/>
                        </a:defRPr>
                      </a:lvl3pPr>
                      <a:lvl4pPr marL="1399113" algn="l" defTabSz="932742" rtl="0" eaLnBrk="1" latinLnBrk="0" hangingPunct="1">
                        <a:defRPr sz="1800" b="1" kern="1200">
                          <a:solidFill>
                            <a:schemeClr val="tx1"/>
                          </a:solidFill>
                          <a:latin typeface="Segoe UI"/>
                        </a:defRPr>
                      </a:lvl4pPr>
                      <a:lvl5pPr marL="1865484" algn="l" defTabSz="932742" rtl="0" eaLnBrk="1" latinLnBrk="0" hangingPunct="1">
                        <a:defRPr sz="1800" b="1" kern="1200">
                          <a:solidFill>
                            <a:schemeClr val="tx1"/>
                          </a:solidFill>
                          <a:latin typeface="Segoe UI"/>
                        </a:defRPr>
                      </a:lvl5pPr>
                      <a:lvl6pPr marL="2331856" algn="l" defTabSz="932742" rtl="0" eaLnBrk="1" latinLnBrk="0" hangingPunct="1">
                        <a:defRPr sz="1800" b="1" kern="1200">
                          <a:solidFill>
                            <a:schemeClr val="tx1"/>
                          </a:solidFill>
                          <a:latin typeface="Segoe UI"/>
                        </a:defRPr>
                      </a:lvl6pPr>
                      <a:lvl7pPr marL="2798226" algn="l" defTabSz="932742" rtl="0" eaLnBrk="1" latinLnBrk="0" hangingPunct="1">
                        <a:defRPr sz="1800" b="1" kern="1200">
                          <a:solidFill>
                            <a:schemeClr val="tx1"/>
                          </a:solidFill>
                          <a:latin typeface="Segoe UI"/>
                        </a:defRPr>
                      </a:lvl7pPr>
                      <a:lvl8pPr marL="3264597" algn="l" defTabSz="932742" rtl="0" eaLnBrk="1" latinLnBrk="0" hangingPunct="1">
                        <a:defRPr sz="1800" b="1" kern="1200">
                          <a:solidFill>
                            <a:schemeClr val="tx1"/>
                          </a:solidFill>
                          <a:latin typeface="Segoe UI"/>
                        </a:defRPr>
                      </a:lvl8pPr>
                      <a:lvl9pPr marL="3730969" algn="l" defTabSz="932742" rtl="0" eaLnBrk="1" latinLnBrk="0" hangingPunct="1">
                        <a:defRPr sz="1800" b="1" kern="1200">
                          <a:solidFill>
                            <a:schemeClr val="tx1"/>
                          </a:solidFill>
                          <a:latin typeface="Segoe UI"/>
                        </a:defRPr>
                      </a:lvl9pPr>
                    </a:lstStyle>
                    <a:p>
                      <a:pPr algn="ctr"/>
                      <a:r>
                        <a:rPr lang="en-US" sz="1400">
                          <a:solidFill>
                            <a:schemeClr val="bg1"/>
                          </a:solidFill>
                        </a:rPr>
                        <a:t>Basic</a:t>
                      </a:r>
                      <a:endParaRPr lang="en-US" sz="1800">
                        <a:solidFill>
                          <a:schemeClr val="bg1"/>
                        </a:solidFill>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algn="ctr"/>
                      <a:r>
                        <a:rPr lang="en-US" sz="1400">
                          <a:solidFill>
                            <a:schemeClr val="bg1"/>
                          </a:solidFill>
                        </a:rPr>
                        <a:t>Standard</a:t>
                      </a:r>
                      <a:endParaRPr lang="en-US"/>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algn="ctr"/>
                      <a:r>
                        <a:rPr lang="en-US" sz="1400">
                          <a:solidFill>
                            <a:schemeClr val="bg1"/>
                          </a:solidFill>
                        </a:rPr>
                        <a:t>Premium</a:t>
                      </a:r>
                      <a:endParaRPr lang="en-US" sz="1800">
                        <a:solidFill>
                          <a:schemeClr val="bg1"/>
                        </a:solidFill>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3724856845"/>
                  </a:ext>
                </a:extLst>
              </a:tr>
              <a:tr h="36091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400"/>
                        <a:t>Built for</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sz="1200"/>
                        <a:t>Light transactional workloads</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p>
                      <a:pPr algn="ctr"/>
                      <a:r>
                        <a:rPr lang="en-US" sz="1200"/>
                        <a:t>Medium transactional workloads</a:t>
                      </a:r>
                      <a:endParaRPr lang="en-US"/>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p>
                      <a:pPr algn="ctr"/>
                      <a:r>
                        <a:rPr lang="en-US" sz="1200"/>
                        <a:t>Heavy transactional workloads</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extLst>
                  <a:ext uri="{0D108BD9-81ED-4DB2-BD59-A6C34878D82A}">
                    <a16:rowId xmlns:a16="http://schemas.microsoft.com/office/drawing/2014/main" val="3516160214"/>
                  </a:ext>
                </a:extLst>
              </a:tr>
              <a:tr h="36091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400"/>
                        <a:t>Available SLA</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3">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sz="1200"/>
                        <a:t>99.99%</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lnL w="12700" cap="flat" cmpd="sng" algn="ctr">
                      <a:solidFill>
                        <a:srgbClr val="00BCF2"/>
                      </a:solidFill>
                      <a:prstDash val="solid"/>
                      <a:round/>
                      <a:headEnd type="none" w="med" len="med"/>
                      <a:tailEnd type="none" w="med" len="med"/>
                    </a:lnL>
                    <a:lnT w="12700" cap="flat" cmpd="sng" algn="ctr">
                      <a:solidFill>
                        <a:srgbClr val="00BCF2"/>
                      </a:solidFill>
                      <a:prstDash val="solid"/>
                      <a:round/>
                      <a:headEnd type="none" w="med" len="med"/>
                      <a:tailEnd type="none" w="med" len="med"/>
                    </a:lnT>
                  </a:tcPr>
                </a:tc>
                <a:tc hMerge="1">
                  <a:txBody>
                    <a:bodyPr/>
                    <a:lstStyle/>
                    <a:p>
                      <a:pPr algn="ct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20780453"/>
                  </a:ext>
                </a:extLst>
              </a:tr>
              <a:tr h="36091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400" err="1"/>
                        <a:t>eDTUs</a:t>
                      </a:r>
                      <a:r>
                        <a:rPr lang="en-US" sz="1400"/>
                        <a:t> per pool</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sz="1200"/>
                        <a:t>50-1,600</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p>
                      <a:pPr algn="ctr"/>
                      <a:r>
                        <a:rPr lang="en-US" sz="1200"/>
                        <a:t>50-3,000</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p>
                      <a:pPr algn="ctr"/>
                      <a:r>
                        <a:rPr lang="en-US" sz="1200"/>
                        <a:t>125-4,000</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extLst>
                  <a:ext uri="{0D108BD9-81ED-4DB2-BD59-A6C34878D82A}">
                    <a16:rowId xmlns:a16="http://schemas.microsoft.com/office/drawing/2014/main" val="1588814029"/>
                  </a:ext>
                </a:extLst>
              </a:tr>
              <a:tr h="4792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400"/>
                        <a:t>Max number of databases per pool</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sz="1200"/>
                        <a:t>100-500</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a:t>100-500</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a:t>50-100</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96822244"/>
                  </a:ext>
                </a:extLst>
              </a:tr>
              <a:tr h="47928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s-ES" sz="1400"/>
                        <a:t>Max </a:t>
                      </a:r>
                      <a:r>
                        <a:rPr lang="es-ES" sz="1400" err="1"/>
                        <a:t>eDTUS</a:t>
                      </a:r>
                      <a:r>
                        <a:rPr lang="es-ES" sz="1400"/>
                        <a:t> choices per data bases</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a:t>5</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p>
                      <a:pPr algn="ctr"/>
                      <a:r>
                        <a:rPr lang="es-ES" sz="1200"/>
                        <a:t>10-3000</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p>
                      <a:pPr algn="ctr"/>
                      <a:r>
                        <a:rPr lang="es-ES" sz="1200"/>
                        <a:t>25</a:t>
                      </a:r>
                      <a:r>
                        <a:rPr lang="en-US" sz="1200"/>
                        <a:t>-4,000</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extLst>
                  <a:ext uri="{0D108BD9-81ED-4DB2-BD59-A6C34878D82A}">
                    <a16:rowId xmlns:a16="http://schemas.microsoft.com/office/drawing/2014/main" val="1368865375"/>
                  </a:ext>
                </a:extLst>
              </a:tr>
              <a:tr h="36091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400"/>
                        <a:t>Max storage per pool</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sz="1200"/>
                        <a:t>5-156 GB</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a:t>4 TB</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a:t>4 TB</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4872959"/>
                  </a:ext>
                </a:extLst>
              </a:tr>
              <a:tr h="360919">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a:t>Max storage per database</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a:t>2 GB</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p>
                      <a:pPr algn="ctr"/>
                      <a:r>
                        <a:rPr lang="es-ES" sz="1200"/>
                        <a:t>500 GB -1 TB</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p>
                      <a:pPr algn="ctr"/>
                      <a:r>
                        <a:rPr lang="es-ES" sz="1200"/>
                        <a:t>1 TB</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extLst>
                  <a:ext uri="{0D108BD9-81ED-4DB2-BD59-A6C34878D82A}">
                    <a16:rowId xmlns:a16="http://schemas.microsoft.com/office/drawing/2014/main" val="610969503"/>
                  </a:ext>
                </a:extLst>
              </a:tr>
              <a:tr h="4792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400"/>
                        <a:t>Point-in-time restore</a:t>
                      </a:r>
                    </a:p>
                    <a:p>
                      <a:r>
                        <a:rPr lang="en-US" sz="1400"/>
                        <a:t>(“oops” recovery)</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sz="1200"/>
                        <a:t>Any point within 7 days</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algn="ctr"/>
                      <a:r>
                        <a:rPr lang="en-US" sz="1200" u="none" strike="noStrike">
                          <a:effectLst/>
                        </a:rPr>
                        <a:t>7-35 days (7 days by default)</a:t>
                      </a:r>
                      <a:endParaRPr lang="en-US"/>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68228537"/>
                  </a:ext>
                </a:extLst>
              </a:tr>
              <a:tr h="36091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400"/>
                        <a:t>Business continuity</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gridSpan="3">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effectLst/>
                          <a:uLnTx/>
                          <a:uFillTx/>
                        </a:rPr>
                        <a:t>Active geo-replication, up to four readable secondary backups</a:t>
                      </a:r>
                      <a:endParaRPr kumimoji="0" lang="en-US" sz="1200" b="0" i="0" u="none" strike="noStrike" kern="0" cap="none" spc="0" normalizeH="0" baseline="0" noProof="0">
                        <a:ln>
                          <a:noFill/>
                        </a:ln>
                        <a:solidFill>
                          <a:srgbClr val="000000"/>
                        </a:solidFill>
                        <a:effectLst/>
                        <a:uLnTx/>
                        <a:uFillTx/>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endParaRPr lang="en-US"/>
                    </a:p>
                  </a:txBody>
                  <a:tcPr>
                    <a:lnL w="12700" cap="flat" cmpd="sng" algn="ctr">
                      <a:solidFill>
                        <a:srgbClr val="00BCF2"/>
                      </a:solidFill>
                      <a:prstDash val="solid"/>
                      <a:round/>
                      <a:headEnd type="none" w="med" len="med"/>
                      <a:tailEnd type="none" w="med" len="med"/>
                    </a:lnL>
                    <a:lnT w="12700" cap="flat" cmpd="sng" algn="ctr">
                      <a:solidFill>
                        <a:srgbClr val="00BCF2"/>
                      </a:solidFill>
                      <a:prstDash val="solid"/>
                      <a:round/>
                      <a:headEnd type="none" w="med" len="med"/>
                      <a:tailEnd type="none" w="med" len="med"/>
                    </a:lnT>
                  </a:tcP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extLst>
                  <a:ext uri="{0D108BD9-81ED-4DB2-BD59-A6C34878D82A}">
                    <a16:rowId xmlns:a16="http://schemas.microsoft.com/office/drawing/2014/main" val="1814298895"/>
                  </a:ext>
                </a:extLst>
              </a:tr>
              <a:tr h="36091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400"/>
                        <a:t>Security</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3">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effectLst/>
                          <a:uLnTx/>
                          <a:uFillTx/>
                        </a:rPr>
                        <a:t>Auditing, row-level security, dynamic data masking</a:t>
                      </a:r>
                      <a:endParaRPr kumimoji="0" lang="en-US" sz="1200" b="0" i="0" u="none" strike="noStrike" kern="0" cap="none" spc="0" normalizeH="0" baseline="0" noProof="0">
                        <a:ln>
                          <a:noFill/>
                        </a:ln>
                        <a:solidFill>
                          <a:srgbClr val="000000"/>
                        </a:solidFill>
                        <a:effectLst/>
                        <a:uLnTx/>
                        <a:uFillTx/>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lnL w="12700" cap="flat" cmpd="sng" algn="ctr">
                      <a:solidFill>
                        <a:srgbClr val="00BCF2"/>
                      </a:solidFill>
                      <a:prstDash val="solid"/>
                      <a:round/>
                      <a:headEnd type="none" w="med" len="med"/>
                      <a:tailEnd type="none" w="med" len="med"/>
                    </a:lnL>
                  </a:tcP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32081878"/>
                  </a:ext>
                </a:extLst>
              </a:tr>
              <a:tr h="36091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400"/>
                        <a:t>Performance objectives</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sz="1200"/>
                        <a:t>Transactions per hour</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p>
                      <a:pPr algn="ctr"/>
                      <a:r>
                        <a:rPr lang="en-US" sz="1200"/>
                        <a:t>Transactions per minute</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p>
                      <a:pPr algn="ctr"/>
                      <a:r>
                        <a:rPr lang="en-US" sz="1200" dirty="0"/>
                        <a:t>Transactions per second</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extLst>
                  <a:ext uri="{0D108BD9-81ED-4DB2-BD59-A6C34878D82A}">
                    <a16:rowId xmlns:a16="http://schemas.microsoft.com/office/drawing/2014/main" val="154532025"/>
                  </a:ext>
                </a:extLst>
              </a:tr>
            </a:tbl>
          </a:graphicData>
        </a:graphic>
      </p:graphicFrame>
      <p:sp>
        <p:nvSpPr>
          <p:cNvPr id="8" name="Rectangle 7">
            <a:extLst>
              <a:ext uri="{FF2B5EF4-FFF2-40B4-BE49-F238E27FC236}">
                <a16:creationId xmlns:a16="http://schemas.microsoft.com/office/drawing/2014/main" id="{8AF1641E-23D0-4B65-A1FB-048F880B4FF4}"/>
              </a:ext>
            </a:extLst>
          </p:cNvPr>
          <p:cNvSpPr/>
          <p:nvPr/>
        </p:nvSpPr>
        <p:spPr>
          <a:xfrm>
            <a:off x="836508" y="6001161"/>
            <a:ext cx="3731534" cy="307777"/>
          </a:xfrm>
          <a:prstGeom prst="rect">
            <a:avLst/>
          </a:prstGeom>
        </p:spPr>
        <p:txBody>
          <a:bodyPr wrap="none">
            <a:spAutoFit/>
          </a:bodyPr>
          <a:lstStyle/>
          <a:p>
            <a:r>
              <a:rPr lang="en-US" sz="1400">
                <a:hlinkClick r:id="rId3"/>
              </a:rPr>
              <a:t>Elastic pool: Storage sizes and compute sizes</a:t>
            </a:r>
            <a:endParaRPr lang="en-US" sz="1400"/>
          </a:p>
        </p:txBody>
      </p:sp>
    </p:spTree>
    <p:extLst>
      <p:ext uri="{BB962C8B-B14F-4D97-AF65-F5344CB8AC3E}">
        <p14:creationId xmlns:p14="http://schemas.microsoft.com/office/powerpoint/2010/main" val="6643166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290857"/>
            <a:ext cx="10880725" cy="461665"/>
          </a:xfrm>
        </p:spPr>
        <p:txBody>
          <a:bodyPr/>
          <a:lstStyle/>
          <a:p>
            <a:r>
              <a:rPr lang="en-US"/>
              <a:t>What is Microsoft Azure?</a:t>
            </a:r>
          </a:p>
        </p:txBody>
      </p:sp>
      <p:graphicFrame>
        <p:nvGraphicFramePr>
          <p:cNvPr id="6" name="Content Placeholder 5" descr="Microsoft Azure is Microsoft’s public cloud computing platform&#10;Over 140 countries across 56 regions worldwide&#10;Windows and Linux&#10;Scale globally&#10; Reach more locations, faster, with the performance and reliability of a vast global infrastructure.&#10;Safeguard data&#10; Rely on industry-leading data security in the region and across our network.&#10;Promote sustainability&#10; Help build a clean-energy future and accelerate progress toward your sustainability goals.&#10;https://azure.microsoft.com/en-us/global-infrastructure/regions/&#10;">
            <a:extLst>
              <a:ext uri="{FF2B5EF4-FFF2-40B4-BE49-F238E27FC236}">
                <a16:creationId xmlns:a16="http://schemas.microsoft.com/office/drawing/2014/main" id="{04DE0AED-3D4D-4F08-82DC-72CF55A44BB2}"/>
              </a:ext>
            </a:extLst>
          </p:cNvPr>
          <p:cNvGraphicFramePr>
            <a:graphicFrameLocks noGrp="1"/>
          </p:cNvGraphicFramePr>
          <p:nvPr>
            <p:ph sz="quarter" idx="13"/>
            <p:extLst>
              <p:ext uri="{D42A27DB-BD31-4B8C-83A1-F6EECF244321}">
                <p14:modId xmlns:p14="http://schemas.microsoft.com/office/powerpoint/2010/main" val="1454139004"/>
              </p:ext>
            </p:extLst>
          </p:nvPr>
        </p:nvGraphicFramePr>
        <p:xfrm>
          <a:off x="655638" y="963038"/>
          <a:ext cx="10880726" cy="55058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41676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err="1"/>
              <a:t>vCore</a:t>
            </a:r>
            <a:r>
              <a:rPr lang="en-US" dirty="0"/>
              <a:t>-based Elastic Pool service tiers - General Purpose</a:t>
            </a:r>
          </a:p>
        </p:txBody>
      </p:sp>
      <p:graphicFrame>
        <p:nvGraphicFramePr>
          <p:cNvPr id="6" name="Table 5">
            <a:extLst>
              <a:ext uri="{FF2B5EF4-FFF2-40B4-BE49-F238E27FC236}">
                <a16:creationId xmlns:a16="http://schemas.microsoft.com/office/drawing/2014/main" id="{40D25BCA-181A-4CF5-B031-3C6F0F7350DA}"/>
              </a:ext>
            </a:extLst>
          </p:cNvPr>
          <p:cNvGraphicFramePr>
            <a:graphicFrameLocks noGrp="1"/>
          </p:cNvGraphicFramePr>
          <p:nvPr>
            <p:extLst>
              <p:ext uri="{D42A27DB-BD31-4B8C-83A1-F6EECF244321}">
                <p14:modId xmlns:p14="http://schemas.microsoft.com/office/powerpoint/2010/main" val="3620569498"/>
              </p:ext>
            </p:extLst>
          </p:nvPr>
        </p:nvGraphicFramePr>
        <p:xfrm>
          <a:off x="673356" y="974690"/>
          <a:ext cx="10863007" cy="5055658"/>
        </p:xfrm>
        <a:graphic>
          <a:graphicData uri="http://schemas.openxmlformats.org/drawingml/2006/table">
            <a:tbl>
              <a:tblPr firstRow="1" bandRow="1"/>
              <a:tblGrid>
                <a:gridCol w="2293375">
                  <a:extLst>
                    <a:ext uri="{9D8B030D-6E8A-4147-A177-3AD203B41FA5}">
                      <a16:colId xmlns:a16="http://schemas.microsoft.com/office/drawing/2014/main" val="3908555391"/>
                    </a:ext>
                  </a:extLst>
                </a:gridCol>
                <a:gridCol w="4284816">
                  <a:extLst>
                    <a:ext uri="{9D8B030D-6E8A-4147-A177-3AD203B41FA5}">
                      <a16:colId xmlns:a16="http://schemas.microsoft.com/office/drawing/2014/main" val="3861410001"/>
                    </a:ext>
                  </a:extLst>
                </a:gridCol>
                <a:gridCol w="4284816">
                  <a:extLst>
                    <a:ext uri="{9D8B030D-6E8A-4147-A177-3AD203B41FA5}">
                      <a16:colId xmlns:a16="http://schemas.microsoft.com/office/drawing/2014/main" val="3966154924"/>
                    </a:ext>
                  </a:extLst>
                </a:gridCol>
              </a:tblGrid>
              <a:tr h="328290">
                <a:tc>
                  <a:txBody>
                    <a:bodyPr/>
                    <a:lstStyle>
                      <a:lvl1pPr marL="0" algn="l" defTabSz="932742" rtl="0" eaLnBrk="1" latinLnBrk="0" hangingPunct="1">
                        <a:defRPr sz="1800" b="1" kern="1200">
                          <a:solidFill>
                            <a:schemeClr val="tx1"/>
                          </a:solidFill>
                          <a:latin typeface="Segoe UI"/>
                        </a:defRPr>
                      </a:lvl1pPr>
                      <a:lvl2pPr marL="466371" algn="l" defTabSz="932742" rtl="0" eaLnBrk="1" latinLnBrk="0" hangingPunct="1">
                        <a:defRPr sz="1800" b="1" kern="1200">
                          <a:solidFill>
                            <a:schemeClr val="tx1"/>
                          </a:solidFill>
                          <a:latin typeface="Segoe UI"/>
                        </a:defRPr>
                      </a:lvl2pPr>
                      <a:lvl3pPr marL="932742" algn="l" defTabSz="932742" rtl="0" eaLnBrk="1" latinLnBrk="0" hangingPunct="1">
                        <a:defRPr sz="1800" b="1" kern="1200">
                          <a:solidFill>
                            <a:schemeClr val="tx1"/>
                          </a:solidFill>
                          <a:latin typeface="Segoe UI"/>
                        </a:defRPr>
                      </a:lvl3pPr>
                      <a:lvl4pPr marL="1399113" algn="l" defTabSz="932742" rtl="0" eaLnBrk="1" latinLnBrk="0" hangingPunct="1">
                        <a:defRPr sz="1800" b="1" kern="1200">
                          <a:solidFill>
                            <a:schemeClr val="tx1"/>
                          </a:solidFill>
                          <a:latin typeface="Segoe UI"/>
                        </a:defRPr>
                      </a:lvl4pPr>
                      <a:lvl5pPr marL="1865484" algn="l" defTabSz="932742" rtl="0" eaLnBrk="1" latinLnBrk="0" hangingPunct="1">
                        <a:defRPr sz="1800" b="1" kern="1200">
                          <a:solidFill>
                            <a:schemeClr val="tx1"/>
                          </a:solidFill>
                          <a:latin typeface="Segoe UI"/>
                        </a:defRPr>
                      </a:lvl5pPr>
                      <a:lvl6pPr marL="2331856" algn="l" defTabSz="932742" rtl="0" eaLnBrk="1" latinLnBrk="0" hangingPunct="1">
                        <a:defRPr sz="1800" b="1" kern="1200">
                          <a:solidFill>
                            <a:schemeClr val="tx1"/>
                          </a:solidFill>
                          <a:latin typeface="Segoe UI"/>
                        </a:defRPr>
                      </a:lvl6pPr>
                      <a:lvl7pPr marL="2798226" algn="l" defTabSz="932742" rtl="0" eaLnBrk="1" latinLnBrk="0" hangingPunct="1">
                        <a:defRPr sz="1800" b="1" kern="1200">
                          <a:solidFill>
                            <a:schemeClr val="tx1"/>
                          </a:solidFill>
                          <a:latin typeface="Segoe UI"/>
                        </a:defRPr>
                      </a:lvl7pPr>
                      <a:lvl8pPr marL="3264597" algn="l" defTabSz="932742" rtl="0" eaLnBrk="1" latinLnBrk="0" hangingPunct="1">
                        <a:defRPr sz="1800" b="1" kern="1200">
                          <a:solidFill>
                            <a:schemeClr val="tx1"/>
                          </a:solidFill>
                          <a:latin typeface="Segoe UI"/>
                        </a:defRPr>
                      </a:lvl8pPr>
                      <a:lvl9pPr marL="3730969" algn="l" defTabSz="932742" rtl="0" eaLnBrk="1" latinLnBrk="0" hangingPunct="1">
                        <a:defRPr sz="1800" b="1" kern="1200">
                          <a:solidFill>
                            <a:schemeClr val="tx1"/>
                          </a:solidFill>
                          <a:latin typeface="Segoe UI"/>
                        </a:defRPr>
                      </a:lvl9pPr>
                    </a:lstStyle>
                    <a:p>
                      <a:pPr algn="l"/>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algn="ctr"/>
                      <a:r>
                        <a:rPr lang="en-US" sz="1400" kern="1200"/>
                        <a:t>Gen5</a:t>
                      </a:r>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a:t>Fsv2-series</a:t>
                      </a:r>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539214464"/>
                  </a:ext>
                </a:extLst>
              </a:tr>
              <a:tr h="590921">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l"/>
                      <a:r>
                        <a:rPr lang="en-US" sz="1400" dirty="0" err="1"/>
                        <a:t>vCores</a:t>
                      </a:r>
                      <a:endParaRPr lang="en-US" sz="1400" dirty="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a:t>2 - 80</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a:t>72</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extLst>
                  <a:ext uri="{0D108BD9-81ED-4DB2-BD59-A6C34878D82A}">
                    <a16:rowId xmlns:a16="http://schemas.microsoft.com/office/drawing/2014/main" val="2345107355"/>
                  </a:ext>
                </a:extLst>
              </a:tr>
              <a:tr h="590921">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l"/>
                      <a:r>
                        <a:rPr lang="en-US" sz="1400"/>
                        <a:t>Memory (GB)</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a:t>10.2 - 408</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a:t>136</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57977010"/>
                  </a:ext>
                </a:extLst>
              </a:tr>
              <a:tr h="590921">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l"/>
                      <a:r>
                        <a:rPr lang="en-US" sz="1400"/>
                        <a:t>Max number of DBs per pool</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a:t>100 - 500</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a:t>500</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extLst>
                  <a:ext uri="{0D108BD9-81ED-4DB2-BD59-A6C34878D82A}">
                    <a16:rowId xmlns:a16="http://schemas.microsoft.com/office/drawing/2014/main" val="1037864575"/>
                  </a:ext>
                </a:extLst>
              </a:tr>
              <a:tr h="590921">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l"/>
                      <a:r>
                        <a:rPr lang="en-US" sz="1400"/>
                        <a:t>Storage type</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a:t>Premium (remote) storage</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dirty="0"/>
                        <a:t>Premium (remote) storage</a:t>
                      </a: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03944998"/>
                  </a:ext>
                </a:extLst>
              </a:tr>
              <a:tr h="590921">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l"/>
                      <a:r>
                        <a:rPr lang="en-US" sz="1400"/>
                        <a:t>Max data size </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s-ES" sz="1200"/>
                        <a:t>512 GB – 4 TB</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s-ES" sz="1200"/>
                        <a:t>4 TB</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extLst>
                  <a:ext uri="{0D108BD9-81ED-4DB2-BD59-A6C34878D82A}">
                    <a16:rowId xmlns:a16="http://schemas.microsoft.com/office/drawing/2014/main" val="3929977572"/>
                  </a:ext>
                </a:extLst>
              </a:tr>
              <a:tr h="59092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a:r>
                        <a:rPr lang="es-ES" sz="1400"/>
                        <a:t>Max log size </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s-ES" sz="1200" kern="1200"/>
                        <a:t>154 GB – </a:t>
                      </a:r>
                      <a:r>
                        <a:rPr lang="en-US" sz="1200" kern="1200"/>
                        <a:t>1229 GB</a:t>
                      </a:r>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s-ES" sz="1200" kern="1200"/>
                        <a:t>1 TB</a:t>
                      </a:r>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50674259"/>
                  </a:ext>
                </a:extLst>
              </a:tr>
              <a:tr h="59092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a:r>
                        <a:rPr lang="es-ES" sz="1400"/>
                        <a:t>Max tempdb size </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kern="1200"/>
                        <a:t>64 GB -  384 GB</a:t>
                      </a:r>
                      <a:endParaRPr lang="en-US" sz="1200" kern="1200">
                        <a:solidFill>
                          <a:schemeClr val="tx1"/>
                        </a:solidFill>
                        <a:latin typeface="Segoe UI"/>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kern="1200"/>
                        <a:t>333 GB</a:t>
                      </a:r>
                      <a:endParaRPr lang="en-US" sz="1200" kern="1200">
                        <a:solidFill>
                          <a:schemeClr val="tx1"/>
                        </a:solidFill>
                        <a:latin typeface="Segoe UI"/>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extLst>
                  <a:ext uri="{0D108BD9-81ED-4DB2-BD59-A6C34878D82A}">
                    <a16:rowId xmlns:a16="http://schemas.microsoft.com/office/drawing/2014/main" val="1793810950"/>
                  </a:ext>
                </a:extLst>
              </a:tr>
              <a:tr h="590921">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l"/>
                      <a:r>
                        <a:rPr lang="en-US" sz="1400"/>
                        <a:t>Number of replicas</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kern="1200"/>
                        <a:t>1</a:t>
                      </a:r>
                      <a:endParaRPr lang="en-US" sz="1200" kern="1200">
                        <a:solidFill>
                          <a:schemeClr val="tx1"/>
                        </a:solidFill>
                        <a:latin typeface="Segoe UI"/>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kern="1200" dirty="0"/>
                        <a:t>1</a:t>
                      </a:r>
                      <a:endParaRPr lang="en-US" sz="1200" kern="1200" dirty="0">
                        <a:solidFill>
                          <a:schemeClr val="tx1"/>
                        </a:solidFill>
                        <a:latin typeface="Segoe UI"/>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25999895"/>
                  </a:ext>
                </a:extLst>
              </a:tr>
            </a:tbl>
          </a:graphicData>
        </a:graphic>
      </p:graphicFrame>
      <p:sp>
        <p:nvSpPr>
          <p:cNvPr id="7" name="Rectangle 6">
            <a:extLst>
              <a:ext uri="{FF2B5EF4-FFF2-40B4-BE49-F238E27FC236}">
                <a16:creationId xmlns:a16="http://schemas.microsoft.com/office/drawing/2014/main" id="{88B10235-2D67-43D5-AC42-1C99431C3D93}"/>
              </a:ext>
            </a:extLst>
          </p:cNvPr>
          <p:cNvSpPr/>
          <p:nvPr/>
        </p:nvSpPr>
        <p:spPr>
          <a:xfrm>
            <a:off x="655638" y="6230183"/>
            <a:ext cx="8587421" cy="307777"/>
          </a:xfrm>
          <a:prstGeom prst="rect">
            <a:avLst/>
          </a:prstGeom>
        </p:spPr>
        <p:txBody>
          <a:bodyPr wrap="square">
            <a:spAutoFit/>
          </a:bodyPr>
          <a:lstStyle/>
          <a:p>
            <a:r>
              <a:rPr lang="en-US" sz="1400" dirty="0">
                <a:hlinkClick r:id="rId3"/>
              </a:rPr>
              <a:t>Resource limits for elastic pools using the </a:t>
            </a:r>
            <a:r>
              <a:rPr lang="en-US" sz="1400" dirty="0" err="1">
                <a:hlinkClick r:id="rId3"/>
              </a:rPr>
              <a:t>vCore</a:t>
            </a:r>
            <a:r>
              <a:rPr lang="en-US" sz="1400" dirty="0">
                <a:hlinkClick r:id="rId3"/>
              </a:rPr>
              <a:t>-based purchasing model limits</a:t>
            </a:r>
            <a:endParaRPr lang="nl-BE" sz="1400" dirty="0"/>
          </a:p>
        </p:txBody>
      </p:sp>
    </p:spTree>
    <p:extLst>
      <p:ext uri="{BB962C8B-B14F-4D97-AF65-F5344CB8AC3E}">
        <p14:creationId xmlns:p14="http://schemas.microsoft.com/office/powerpoint/2010/main" val="3571020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vCore-based Elastic Pool service tiers - Business Critical</a:t>
            </a:r>
          </a:p>
        </p:txBody>
      </p:sp>
      <p:graphicFrame>
        <p:nvGraphicFramePr>
          <p:cNvPr id="6" name="Table 5">
            <a:extLst>
              <a:ext uri="{FF2B5EF4-FFF2-40B4-BE49-F238E27FC236}">
                <a16:creationId xmlns:a16="http://schemas.microsoft.com/office/drawing/2014/main" id="{EA658248-1496-4FAD-9CFE-BAE13B30DA44}"/>
              </a:ext>
            </a:extLst>
          </p:cNvPr>
          <p:cNvGraphicFramePr>
            <a:graphicFrameLocks noGrp="1"/>
          </p:cNvGraphicFramePr>
          <p:nvPr>
            <p:extLst>
              <p:ext uri="{D42A27DB-BD31-4B8C-83A1-F6EECF244321}">
                <p14:modId xmlns:p14="http://schemas.microsoft.com/office/powerpoint/2010/main" val="2815207678"/>
              </p:ext>
            </p:extLst>
          </p:nvPr>
        </p:nvGraphicFramePr>
        <p:xfrm>
          <a:off x="655638" y="1034771"/>
          <a:ext cx="10880726" cy="4788458"/>
        </p:xfrm>
        <a:graphic>
          <a:graphicData uri="http://schemas.openxmlformats.org/drawingml/2006/table">
            <a:tbl>
              <a:tblPr firstRow="1" bandRow="1"/>
              <a:tblGrid>
                <a:gridCol w="2297116">
                  <a:extLst>
                    <a:ext uri="{9D8B030D-6E8A-4147-A177-3AD203B41FA5}">
                      <a16:colId xmlns:a16="http://schemas.microsoft.com/office/drawing/2014/main" val="3908555391"/>
                    </a:ext>
                  </a:extLst>
                </a:gridCol>
                <a:gridCol w="4291805">
                  <a:extLst>
                    <a:ext uri="{9D8B030D-6E8A-4147-A177-3AD203B41FA5}">
                      <a16:colId xmlns:a16="http://schemas.microsoft.com/office/drawing/2014/main" val="3861410001"/>
                    </a:ext>
                  </a:extLst>
                </a:gridCol>
                <a:gridCol w="4291805">
                  <a:extLst>
                    <a:ext uri="{9D8B030D-6E8A-4147-A177-3AD203B41FA5}">
                      <a16:colId xmlns:a16="http://schemas.microsoft.com/office/drawing/2014/main" val="3966154924"/>
                    </a:ext>
                  </a:extLst>
                </a:gridCol>
              </a:tblGrid>
              <a:tr h="400061">
                <a:tc>
                  <a:txBody>
                    <a:bodyPr/>
                    <a:lstStyle>
                      <a:lvl1pPr marL="0" algn="l" defTabSz="932742" rtl="0" eaLnBrk="1" latinLnBrk="0" hangingPunct="1">
                        <a:defRPr sz="1800" b="1" kern="1200">
                          <a:solidFill>
                            <a:schemeClr val="tx1"/>
                          </a:solidFill>
                          <a:latin typeface="Segoe UI"/>
                        </a:defRPr>
                      </a:lvl1pPr>
                      <a:lvl2pPr marL="466371" algn="l" defTabSz="932742" rtl="0" eaLnBrk="1" latinLnBrk="0" hangingPunct="1">
                        <a:defRPr sz="1800" b="1" kern="1200">
                          <a:solidFill>
                            <a:schemeClr val="tx1"/>
                          </a:solidFill>
                          <a:latin typeface="Segoe UI"/>
                        </a:defRPr>
                      </a:lvl2pPr>
                      <a:lvl3pPr marL="932742" algn="l" defTabSz="932742" rtl="0" eaLnBrk="1" latinLnBrk="0" hangingPunct="1">
                        <a:defRPr sz="1800" b="1" kern="1200">
                          <a:solidFill>
                            <a:schemeClr val="tx1"/>
                          </a:solidFill>
                          <a:latin typeface="Segoe UI"/>
                        </a:defRPr>
                      </a:lvl3pPr>
                      <a:lvl4pPr marL="1399113" algn="l" defTabSz="932742" rtl="0" eaLnBrk="1" latinLnBrk="0" hangingPunct="1">
                        <a:defRPr sz="1800" b="1" kern="1200">
                          <a:solidFill>
                            <a:schemeClr val="tx1"/>
                          </a:solidFill>
                          <a:latin typeface="Segoe UI"/>
                        </a:defRPr>
                      </a:lvl4pPr>
                      <a:lvl5pPr marL="1865484" algn="l" defTabSz="932742" rtl="0" eaLnBrk="1" latinLnBrk="0" hangingPunct="1">
                        <a:defRPr sz="1800" b="1" kern="1200">
                          <a:solidFill>
                            <a:schemeClr val="tx1"/>
                          </a:solidFill>
                          <a:latin typeface="Segoe UI"/>
                        </a:defRPr>
                      </a:lvl5pPr>
                      <a:lvl6pPr marL="2331856" algn="l" defTabSz="932742" rtl="0" eaLnBrk="1" latinLnBrk="0" hangingPunct="1">
                        <a:defRPr sz="1800" b="1" kern="1200">
                          <a:solidFill>
                            <a:schemeClr val="tx1"/>
                          </a:solidFill>
                          <a:latin typeface="Segoe UI"/>
                        </a:defRPr>
                      </a:lvl6pPr>
                      <a:lvl7pPr marL="2798226" algn="l" defTabSz="932742" rtl="0" eaLnBrk="1" latinLnBrk="0" hangingPunct="1">
                        <a:defRPr sz="1800" b="1" kern="1200">
                          <a:solidFill>
                            <a:schemeClr val="tx1"/>
                          </a:solidFill>
                          <a:latin typeface="Segoe UI"/>
                        </a:defRPr>
                      </a:lvl7pPr>
                      <a:lvl8pPr marL="3264597" algn="l" defTabSz="932742" rtl="0" eaLnBrk="1" latinLnBrk="0" hangingPunct="1">
                        <a:defRPr sz="1800" b="1" kern="1200">
                          <a:solidFill>
                            <a:schemeClr val="tx1"/>
                          </a:solidFill>
                          <a:latin typeface="Segoe UI"/>
                        </a:defRPr>
                      </a:lvl8pPr>
                      <a:lvl9pPr marL="3730969" algn="l" defTabSz="932742" rtl="0" eaLnBrk="1" latinLnBrk="0" hangingPunct="1">
                        <a:defRPr sz="1800" b="1" kern="1200">
                          <a:solidFill>
                            <a:schemeClr val="tx1"/>
                          </a:solidFill>
                          <a:latin typeface="Segoe UI"/>
                        </a:defRPr>
                      </a:lvl9pPr>
                    </a:lstStyle>
                    <a:p>
                      <a:pPr algn="l"/>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algn="ctr"/>
                      <a:r>
                        <a:rPr lang="en-US" sz="1400" kern="1200"/>
                        <a:t>Gen5</a:t>
                      </a:r>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a:t>M-series</a:t>
                      </a:r>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539214464"/>
                  </a:ext>
                </a:extLst>
              </a:tr>
              <a:tr h="55062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l"/>
                      <a:r>
                        <a:rPr lang="en-US" sz="1400"/>
                        <a:t>vCores</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a:t>4 - 80</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a:t>128</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extLst>
                  <a:ext uri="{0D108BD9-81ED-4DB2-BD59-A6C34878D82A}">
                    <a16:rowId xmlns:a16="http://schemas.microsoft.com/office/drawing/2014/main" val="2345107355"/>
                  </a:ext>
                </a:extLst>
              </a:tr>
              <a:tr h="55062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l"/>
                      <a:r>
                        <a:rPr lang="en-US" sz="1400"/>
                        <a:t>Memory (GB)</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a:t>20.4 - 408</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a:t>3767</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57977010"/>
                  </a:ext>
                </a:extLst>
              </a:tr>
              <a:tr h="55062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l"/>
                      <a:r>
                        <a:rPr lang="en-US" sz="1400"/>
                        <a:t>Max number of DBs per pool</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a:t>100</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a:t>100</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extLst>
                  <a:ext uri="{0D108BD9-81ED-4DB2-BD59-A6C34878D82A}">
                    <a16:rowId xmlns:a16="http://schemas.microsoft.com/office/drawing/2014/main" val="1037864575"/>
                  </a:ext>
                </a:extLst>
              </a:tr>
              <a:tr h="55062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l"/>
                      <a:r>
                        <a:rPr lang="en-US" sz="1400"/>
                        <a:t>Storage type</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1200" kern="1200"/>
                        <a:t>Local SSD</a:t>
                      </a:r>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1200" kern="1200"/>
                        <a:t>Local SSD</a:t>
                      </a:r>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03944998"/>
                  </a:ext>
                </a:extLst>
              </a:tr>
              <a:tr h="55062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l"/>
                      <a:r>
                        <a:rPr lang="en-US" sz="1400"/>
                        <a:t>Max data size </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s-ES" sz="1200"/>
                        <a:t>1 TB – 4 TB</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s-ES" sz="1200"/>
                        <a:t>4 TB</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extLst>
                  <a:ext uri="{0D108BD9-81ED-4DB2-BD59-A6C34878D82A}">
                    <a16:rowId xmlns:a16="http://schemas.microsoft.com/office/drawing/2014/main" val="3929977572"/>
                  </a:ext>
                </a:extLst>
              </a:tr>
              <a:tr h="55062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a:r>
                        <a:rPr lang="es-ES" sz="1400"/>
                        <a:t>Max log size </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s-ES" sz="1200" kern="1200"/>
                        <a:t>307 GB – </a:t>
                      </a:r>
                      <a:r>
                        <a:rPr lang="en-US" sz="1200" kern="1200"/>
                        <a:t>1229 GB</a:t>
                      </a:r>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s-ES" sz="1200" kern="1200"/>
                        <a:t>2 TB</a:t>
                      </a:r>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50674259"/>
                  </a:ext>
                </a:extLst>
              </a:tr>
              <a:tr h="55062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a:r>
                        <a:rPr lang="es-ES" sz="1400"/>
                        <a:t>Max tempdb size </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kern="1200"/>
                        <a:t>128 GB -  384 GB</a:t>
                      </a:r>
                      <a:endParaRPr lang="en-US" sz="1200" kern="1200">
                        <a:solidFill>
                          <a:schemeClr val="tx1"/>
                        </a:solidFill>
                        <a:latin typeface="Segoe UI"/>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s-ES" sz="1200"/>
                        <a:t>4 TB</a:t>
                      </a:r>
                      <a:endParaRPr lang="en-US" sz="1200"/>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extLst>
                  <a:ext uri="{0D108BD9-81ED-4DB2-BD59-A6C34878D82A}">
                    <a16:rowId xmlns:a16="http://schemas.microsoft.com/office/drawing/2014/main" val="1793810950"/>
                  </a:ext>
                </a:extLst>
              </a:tr>
              <a:tr h="534057">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l"/>
                      <a:r>
                        <a:rPr lang="en-US" sz="1400"/>
                        <a:t>Number of replicas</a:t>
                      </a:r>
                      <a:endParaRPr lang="en-US" sz="1400">
                        <a:latin typeface="Segoe UI Semibold" panose="020B0702040204020203" pitchFamily="34" charset="0"/>
                        <a:cs typeface="Segoe UI Semibold" panose="020B0702040204020203" pitchFamily="34" charset="0"/>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kern="1200"/>
                        <a:t>4</a:t>
                      </a:r>
                      <a:endParaRPr lang="en-US" sz="1200" kern="1200">
                        <a:solidFill>
                          <a:schemeClr val="tx1"/>
                        </a:solidFill>
                        <a:latin typeface="Segoe UI"/>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s-ES" sz="1200" kern="1200" dirty="0"/>
                        <a:t>4</a:t>
                      </a:r>
                      <a:endParaRPr lang="en-US" sz="1200" kern="1200" dirty="0">
                        <a:solidFill>
                          <a:schemeClr val="tx1"/>
                        </a:solidFill>
                        <a:latin typeface="Segoe UI"/>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25999895"/>
                  </a:ext>
                </a:extLst>
              </a:tr>
            </a:tbl>
          </a:graphicData>
        </a:graphic>
      </p:graphicFrame>
      <p:sp>
        <p:nvSpPr>
          <p:cNvPr id="7" name="Rectangle 6">
            <a:extLst>
              <a:ext uri="{FF2B5EF4-FFF2-40B4-BE49-F238E27FC236}">
                <a16:creationId xmlns:a16="http://schemas.microsoft.com/office/drawing/2014/main" id="{DAE99AA9-F838-4078-8117-D495A500AF58}"/>
              </a:ext>
            </a:extLst>
          </p:cNvPr>
          <p:cNvSpPr/>
          <p:nvPr/>
        </p:nvSpPr>
        <p:spPr>
          <a:xfrm>
            <a:off x="655638" y="6076295"/>
            <a:ext cx="8587421" cy="307777"/>
          </a:xfrm>
          <a:prstGeom prst="rect">
            <a:avLst/>
          </a:prstGeom>
        </p:spPr>
        <p:txBody>
          <a:bodyPr wrap="square">
            <a:spAutoFit/>
          </a:bodyPr>
          <a:lstStyle/>
          <a:p>
            <a:r>
              <a:rPr lang="en-US" sz="1400" dirty="0">
                <a:hlinkClick r:id="rId3"/>
              </a:rPr>
              <a:t>Resource limits for elastic pools using the </a:t>
            </a:r>
            <a:r>
              <a:rPr lang="en-US" sz="1400" dirty="0" err="1">
                <a:hlinkClick r:id="rId3"/>
              </a:rPr>
              <a:t>vCore</a:t>
            </a:r>
            <a:r>
              <a:rPr lang="en-US" sz="1400" dirty="0">
                <a:hlinkClick r:id="rId3"/>
              </a:rPr>
              <a:t>-based purchasing model limits</a:t>
            </a:r>
            <a:endParaRPr lang="nl-BE" sz="1400" dirty="0"/>
          </a:p>
        </p:txBody>
      </p:sp>
    </p:spTree>
    <p:extLst>
      <p:ext uri="{BB962C8B-B14F-4D97-AF65-F5344CB8AC3E}">
        <p14:creationId xmlns:p14="http://schemas.microsoft.com/office/powerpoint/2010/main" val="110024800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When to consider a pool?</a:t>
            </a:r>
          </a:p>
        </p:txBody>
      </p:sp>
      <p:graphicFrame>
        <p:nvGraphicFramePr>
          <p:cNvPr id="5" name="Content Placeholder 4">
            <a:extLst>
              <a:ext uri="{FF2B5EF4-FFF2-40B4-BE49-F238E27FC236}">
                <a16:creationId xmlns:a16="http://schemas.microsoft.com/office/drawing/2014/main" id="{44C78A62-EAD4-4FB9-BEC8-25D4F06D852F}"/>
              </a:ext>
            </a:extLst>
          </p:cNvPr>
          <p:cNvGraphicFramePr>
            <a:graphicFrameLocks noGrp="1"/>
          </p:cNvGraphicFramePr>
          <p:nvPr>
            <p:ph sz="quarter" idx="13"/>
            <p:extLst>
              <p:ext uri="{D42A27DB-BD31-4B8C-83A1-F6EECF244321}">
                <p14:modId xmlns:p14="http://schemas.microsoft.com/office/powerpoint/2010/main" val="3495832766"/>
              </p:ext>
            </p:extLst>
          </p:nvPr>
        </p:nvGraphicFramePr>
        <p:xfrm>
          <a:off x="655638" y="1408114"/>
          <a:ext cx="50593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E66EA2D7-AED2-4652-8892-180336D938C4}"/>
              </a:ext>
            </a:extLst>
          </p:cNvPr>
          <p:cNvPicPr>
            <a:picLocks noChangeAspect="1"/>
          </p:cNvPicPr>
          <p:nvPr/>
        </p:nvPicPr>
        <p:blipFill>
          <a:blip r:embed="rId8"/>
          <a:stretch>
            <a:fillRect/>
          </a:stretch>
        </p:blipFill>
        <p:spPr>
          <a:xfrm>
            <a:off x="6477002" y="1752415"/>
            <a:ext cx="4809850" cy="3976168"/>
          </a:xfrm>
          <a:prstGeom prst="rect">
            <a:avLst/>
          </a:prstGeom>
        </p:spPr>
      </p:pic>
      <p:pic>
        <p:nvPicPr>
          <p:cNvPr id="7" name="Picture 6">
            <a:extLst>
              <a:ext uri="{FF2B5EF4-FFF2-40B4-BE49-F238E27FC236}">
                <a16:creationId xmlns:a16="http://schemas.microsoft.com/office/drawing/2014/main" id="{EC37E3C9-455E-4A08-8E01-D42330900664}"/>
              </a:ext>
            </a:extLst>
          </p:cNvPr>
          <p:cNvPicPr>
            <a:picLocks noChangeAspect="1"/>
          </p:cNvPicPr>
          <p:nvPr/>
        </p:nvPicPr>
        <p:blipFill>
          <a:blip r:embed="rId9"/>
          <a:stretch>
            <a:fillRect/>
          </a:stretch>
        </p:blipFill>
        <p:spPr>
          <a:xfrm>
            <a:off x="6477002" y="1752415"/>
            <a:ext cx="4809850" cy="3976168"/>
          </a:xfrm>
          <a:prstGeom prst="rect">
            <a:avLst/>
          </a:prstGeom>
          <a:ln>
            <a:noFill/>
          </a:ln>
          <a:effectLst>
            <a:softEdge rad="112500"/>
          </a:effectLst>
        </p:spPr>
      </p:pic>
      <p:pic>
        <p:nvPicPr>
          <p:cNvPr id="8" name="Picture 7">
            <a:extLst>
              <a:ext uri="{FF2B5EF4-FFF2-40B4-BE49-F238E27FC236}">
                <a16:creationId xmlns:a16="http://schemas.microsoft.com/office/drawing/2014/main" id="{B2E57862-4703-4437-A014-D74FBEE2DE8B}"/>
              </a:ext>
            </a:extLst>
          </p:cNvPr>
          <p:cNvPicPr>
            <a:picLocks noChangeAspect="1"/>
          </p:cNvPicPr>
          <p:nvPr/>
        </p:nvPicPr>
        <p:blipFill>
          <a:blip r:embed="rId10"/>
          <a:stretch>
            <a:fillRect/>
          </a:stretch>
        </p:blipFill>
        <p:spPr>
          <a:xfrm>
            <a:off x="6477002" y="1752415"/>
            <a:ext cx="4809850" cy="3976168"/>
          </a:xfrm>
          <a:prstGeom prst="rect">
            <a:avLst/>
          </a:prstGeom>
        </p:spPr>
      </p:pic>
    </p:spTree>
    <p:extLst>
      <p:ext uri="{BB962C8B-B14F-4D97-AF65-F5344CB8AC3E}">
        <p14:creationId xmlns:p14="http://schemas.microsoft.com/office/powerpoint/2010/main" val="1400860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Rules of Thumb</a:t>
            </a:r>
          </a:p>
        </p:txBody>
      </p:sp>
      <p:grpSp>
        <p:nvGrpSpPr>
          <p:cNvPr id="14" name="Group 13">
            <a:extLst>
              <a:ext uri="{FF2B5EF4-FFF2-40B4-BE49-F238E27FC236}">
                <a16:creationId xmlns:a16="http://schemas.microsoft.com/office/drawing/2014/main" id="{1AD79BAA-AAE9-415F-8940-2FB1EC8C800F}"/>
              </a:ext>
            </a:extLst>
          </p:cNvPr>
          <p:cNvGrpSpPr/>
          <p:nvPr/>
        </p:nvGrpSpPr>
        <p:grpSpPr>
          <a:xfrm>
            <a:off x="389749" y="950039"/>
            <a:ext cx="11412502" cy="5485051"/>
            <a:chOff x="655638" y="1052909"/>
            <a:chExt cx="11412502" cy="5485051"/>
          </a:xfrm>
        </p:grpSpPr>
        <p:sp>
          <p:nvSpPr>
            <p:cNvPr id="4" name="Rectangle 3">
              <a:extLst>
                <a:ext uri="{FF2B5EF4-FFF2-40B4-BE49-F238E27FC236}">
                  <a16:creationId xmlns:a16="http://schemas.microsoft.com/office/drawing/2014/main" id="{70F28F08-9F21-4CA2-9C63-262220FD4F78}"/>
                </a:ext>
              </a:extLst>
            </p:cNvPr>
            <p:cNvSpPr/>
            <p:nvPr/>
          </p:nvSpPr>
          <p:spPr bwMode="auto">
            <a:xfrm>
              <a:off x="6361889" y="1052909"/>
              <a:ext cx="5706251" cy="5485051"/>
            </a:xfrm>
            <a:prstGeom prst="rect">
              <a:avLst/>
            </a:prstGeom>
            <a:solidFill>
              <a:schemeClr val="accent6">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9E1850B6-2D32-453D-BF01-E852DB556117}"/>
                </a:ext>
              </a:extLst>
            </p:cNvPr>
            <p:cNvSpPr/>
            <p:nvPr/>
          </p:nvSpPr>
          <p:spPr bwMode="auto">
            <a:xfrm>
              <a:off x="655638" y="1052909"/>
              <a:ext cx="5706251" cy="5485051"/>
            </a:xfrm>
            <a:prstGeom prst="rect">
              <a:avLst/>
            </a:prstGeom>
            <a:solidFill>
              <a:schemeClr val="accent6">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Diagram 4">
              <a:extLst>
                <a:ext uri="{FF2B5EF4-FFF2-40B4-BE49-F238E27FC236}">
                  <a16:creationId xmlns:a16="http://schemas.microsoft.com/office/drawing/2014/main" id="{31C52AB4-1B8A-4E16-BFF8-15102DBA4177}"/>
                </a:ext>
              </a:extLst>
            </p:cNvPr>
            <p:cNvGraphicFramePr/>
            <p:nvPr>
              <p:extLst>
                <p:ext uri="{D42A27DB-BD31-4B8C-83A1-F6EECF244321}">
                  <p14:modId xmlns:p14="http://schemas.microsoft.com/office/powerpoint/2010/main" val="2062257691"/>
                </p:ext>
              </p:extLst>
            </p:nvPr>
          </p:nvGraphicFramePr>
          <p:xfrm>
            <a:off x="1044742" y="1646296"/>
            <a:ext cx="10880725" cy="4611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itle 1">
              <a:extLst>
                <a:ext uri="{FF2B5EF4-FFF2-40B4-BE49-F238E27FC236}">
                  <a16:creationId xmlns:a16="http://schemas.microsoft.com/office/drawing/2014/main" id="{B7C17BE1-6C3A-4CAB-BDA8-100F52EE582B}"/>
                </a:ext>
              </a:extLst>
            </p:cNvPr>
            <p:cNvSpPr txBox="1">
              <a:spLocks/>
            </p:cNvSpPr>
            <p:nvPr/>
          </p:nvSpPr>
          <p:spPr>
            <a:xfrm>
              <a:off x="2038585" y="1184631"/>
              <a:ext cx="2940357" cy="461665"/>
            </a:xfrm>
            <a:prstGeom prst="rect">
              <a:avLst/>
            </a:prstGeom>
            <a:solidFill>
              <a:schemeClr val="accent6">
                <a:lumMod val="20000"/>
                <a:lumOff val="80000"/>
              </a:schemeClr>
            </a:solidFill>
            <a:ln>
              <a:noFill/>
            </a:ln>
          </p:spPr>
          <p:txBody>
            <a:bodyPr vert="horz" wrap="square" lIns="0" tIns="0" rIns="0" bIns="0" rtlCol="0" anchor="t">
              <a:sp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pPr algn="ctr"/>
              <a:r>
                <a:rPr lang="en-US" dirty="0">
                  <a:solidFill>
                    <a:srgbClr val="0078D4"/>
                  </a:solidFill>
                </a:rPr>
                <a:t>DTU</a:t>
              </a:r>
            </a:p>
          </p:txBody>
        </p:sp>
        <p:sp>
          <p:nvSpPr>
            <p:cNvPr id="13" name="Title 1">
              <a:extLst>
                <a:ext uri="{FF2B5EF4-FFF2-40B4-BE49-F238E27FC236}">
                  <a16:creationId xmlns:a16="http://schemas.microsoft.com/office/drawing/2014/main" id="{242ED45B-0C9B-4B76-AE49-861DFF718AB5}"/>
                </a:ext>
              </a:extLst>
            </p:cNvPr>
            <p:cNvSpPr txBox="1">
              <a:spLocks/>
            </p:cNvSpPr>
            <p:nvPr/>
          </p:nvSpPr>
          <p:spPr>
            <a:xfrm>
              <a:off x="7744836" y="1118770"/>
              <a:ext cx="2940357" cy="461665"/>
            </a:xfrm>
            <a:prstGeom prst="rect">
              <a:avLst/>
            </a:prstGeom>
            <a:solidFill>
              <a:schemeClr val="accent6">
                <a:lumMod val="20000"/>
                <a:lumOff val="80000"/>
              </a:schemeClr>
            </a:solidFill>
            <a:ln>
              <a:noFill/>
            </a:ln>
          </p:spPr>
          <p:txBody>
            <a:bodyPr vert="horz" wrap="square" lIns="0" tIns="0" rIns="0" bIns="0" rtlCol="0" anchor="t">
              <a:sp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pPr algn="ctr"/>
              <a:r>
                <a:rPr lang="en-US" dirty="0">
                  <a:solidFill>
                    <a:srgbClr val="0078D4"/>
                  </a:solidFill>
                </a:rPr>
                <a:t>vCore</a:t>
              </a:r>
            </a:p>
          </p:txBody>
        </p:sp>
      </p:grpSp>
    </p:spTree>
    <p:extLst>
      <p:ext uri="{BB962C8B-B14F-4D97-AF65-F5344CB8AC3E}">
        <p14:creationId xmlns:p14="http://schemas.microsoft.com/office/powerpoint/2010/main" val="105461786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Impact of changing service tier or rescaling compute size</a:t>
            </a:r>
          </a:p>
        </p:txBody>
      </p:sp>
      <p:graphicFrame>
        <p:nvGraphicFramePr>
          <p:cNvPr id="5" name="Content Placeholder 4">
            <a:extLst>
              <a:ext uri="{FF2B5EF4-FFF2-40B4-BE49-F238E27FC236}">
                <a16:creationId xmlns:a16="http://schemas.microsoft.com/office/drawing/2014/main" id="{4C9D9838-DDE5-46DA-820C-29D7C6E20381}"/>
              </a:ext>
            </a:extLst>
          </p:cNvPr>
          <p:cNvGraphicFramePr>
            <a:graphicFrameLocks noGrp="1"/>
          </p:cNvGraphicFramePr>
          <p:nvPr>
            <p:ph sz="quarter" idx="13"/>
            <p:extLst>
              <p:ext uri="{D42A27DB-BD31-4B8C-83A1-F6EECF244321}">
                <p14:modId xmlns:p14="http://schemas.microsoft.com/office/powerpoint/2010/main" val="1109713568"/>
              </p:ext>
            </p:extLst>
          </p:nvPr>
        </p:nvGraphicFramePr>
        <p:xfrm>
          <a:off x="762642" y="1135739"/>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7645662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izing an Elastic Pool</a:t>
            </a:r>
          </a:p>
        </p:txBody>
      </p:sp>
      <p:graphicFrame>
        <p:nvGraphicFramePr>
          <p:cNvPr id="5" name="Content Placeholder 4">
            <a:extLst>
              <a:ext uri="{FF2B5EF4-FFF2-40B4-BE49-F238E27FC236}">
                <a16:creationId xmlns:a16="http://schemas.microsoft.com/office/drawing/2014/main" id="{E418FE5C-9FD8-41E8-AB68-DD968373538F}"/>
              </a:ext>
            </a:extLst>
          </p:cNvPr>
          <p:cNvGraphicFramePr>
            <a:graphicFrameLocks noGrp="1"/>
          </p:cNvGraphicFramePr>
          <p:nvPr>
            <p:ph sz="quarter" idx="13"/>
            <p:extLst>
              <p:ext uri="{D42A27DB-BD31-4B8C-83A1-F6EECF244321}">
                <p14:modId xmlns:p14="http://schemas.microsoft.com/office/powerpoint/2010/main" val="1759876399"/>
              </p:ext>
            </p:extLst>
          </p:nvPr>
        </p:nvGraphicFramePr>
        <p:xfrm>
          <a:off x="427038" y="1350963"/>
          <a:ext cx="117649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108338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a:lstStyle/>
          <a:p>
            <a:r>
              <a:rPr lang="en-US"/>
              <a:t>Change elastic pool storage size</a:t>
            </a:r>
          </a:p>
        </p:txBody>
      </p:sp>
      <p:graphicFrame>
        <p:nvGraphicFramePr>
          <p:cNvPr id="5" name="Content Placeholder 4">
            <a:extLst>
              <a:ext uri="{FF2B5EF4-FFF2-40B4-BE49-F238E27FC236}">
                <a16:creationId xmlns:a16="http://schemas.microsoft.com/office/drawing/2014/main" id="{3F0C86E6-FBC3-46E2-BD89-7A0FCECD7C9E}"/>
              </a:ext>
            </a:extLst>
          </p:cNvPr>
          <p:cNvGraphicFramePr>
            <a:graphicFrameLocks noGrp="1"/>
          </p:cNvGraphicFramePr>
          <p:nvPr>
            <p:ph sz="quarter" idx="13"/>
            <p:extLst>
              <p:ext uri="{D42A27DB-BD31-4B8C-83A1-F6EECF244321}">
                <p14:modId xmlns:p14="http://schemas.microsoft.com/office/powerpoint/2010/main" val="856433977"/>
              </p:ext>
            </p:extLst>
          </p:nvPr>
        </p:nvGraphicFramePr>
        <p:xfrm>
          <a:off x="869646" y="1213560"/>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9439145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custDataLst>
              <p:tags r:id="rId2"/>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a:buNone/>
            </a:pPr>
            <a:r>
              <a:rPr lang="en-US" b="1"/>
              <a:t>Create an Elastic Pool</a:t>
            </a:r>
          </a:p>
          <a:p>
            <a:pPr lvl="1"/>
            <a:r>
              <a:rPr lang="en-US"/>
              <a:t>Create an Elastic pool using the Azure portal</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750919334"/>
      </p:ext>
    </p:extLst>
  </p:cSld>
  <p:clrMapOvr>
    <a:masterClrMapping/>
  </p:clrMapOvr>
  <p:transition spd="slow"/>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403759382"/>
              </p:ext>
            </p:extLst>
          </p:nvPr>
        </p:nvGraphicFramePr>
        <p:xfrm>
          <a:off x="655638" y="1408113"/>
          <a:ext cx="10880725" cy="2554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4A71D5C7-A7D6-46CE-B888-CF65241F6B98}"/>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4CE6D622-6C4B-4912-A756-057BDFDF7259}"/>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What is Microsoft Azure?</a:t>
            </a:r>
          </a:p>
        </p:txBody>
      </p:sp>
      <p:pic>
        <p:nvPicPr>
          <p:cNvPr id="5" name="Snagit_SNG824" descr="Map showing 50 regions worldwide and 140 countries available ">
            <a:extLst>
              <a:ext uri="{FF2B5EF4-FFF2-40B4-BE49-F238E27FC236}">
                <a16:creationId xmlns:a16="http://schemas.microsoft.com/office/drawing/2014/main" id="{543BA366-B2F4-48F9-9394-1C2F5613EDA4}"/>
              </a:ext>
            </a:extLst>
          </p:cNvPr>
          <p:cNvPicPr>
            <a:picLocks noChangeAspect="1"/>
          </p:cNvPicPr>
          <p:nvPr/>
        </p:nvPicPr>
        <p:blipFill>
          <a:blip r:embed="rId3"/>
          <a:stretch>
            <a:fillRect/>
          </a:stretch>
        </p:blipFill>
        <p:spPr>
          <a:xfrm>
            <a:off x="2032948" y="994646"/>
            <a:ext cx="8570201" cy="5053372"/>
          </a:xfrm>
          <a:prstGeom prst="rect">
            <a:avLst/>
          </a:prstGeom>
        </p:spPr>
      </p:pic>
      <p:sp>
        <p:nvSpPr>
          <p:cNvPr id="9" name="TextBox 8">
            <a:extLst>
              <a:ext uri="{FF2B5EF4-FFF2-40B4-BE49-F238E27FC236}">
                <a16:creationId xmlns:a16="http://schemas.microsoft.com/office/drawing/2014/main" id="{5A6558DD-258E-4F70-8928-BE3F11FDCE82}"/>
              </a:ext>
            </a:extLst>
          </p:cNvPr>
          <p:cNvSpPr txBox="1"/>
          <p:nvPr/>
        </p:nvSpPr>
        <p:spPr>
          <a:xfrm>
            <a:off x="3101503" y="6168628"/>
            <a:ext cx="6712084" cy="369332"/>
          </a:xfrm>
          <a:prstGeom prst="rect">
            <a:avLst/>
          </a:prstGeom>
          <a:noFill/>
        </p:spPr>
        <p:txBody>
          <a:bodyPr wrap="square">
            <a:spAutoFit/>
          </a:bodyPr>
          <a:lstStyle/>
          <a:p>
            <a:pPr lvl="0"/>
            <a:r>
              <a:rPr lang="en-US" baseline="0" dirty="0">
                <a:solidFill>
                  <a:schemeClr val="accent1"/>
                </a:solidFill>
                <a:hlinkClick r:id="rId4">
                  <a:extLst>
                    <a:ext uri="{A12FA001-AC4F-418D-AE19-62706E023703}">
                      <ahyp:hlinkClr xmlns:ahyp="http://schemas.microsoft.com/office/drawing/2018/hyperlinkcolor" val="tx"/>
                    </a:ext>
                  </a:extLst>
                </a:hlinkClick>
              </a:rPr>
              <a:t>https://azure.microsoft.com/en-us/global-infrastructure/regions/</a:t>
            </a:r>
            <a:endParaRPr lang="en-US" dirty="0">
              <a:solidFill>
                <a:schemeClr val="accent1"/>
              </a:solidFill>
            </a:endParaRPr>
          </a:p>
        </p:txBody>
      </p:sp>
    </p:spTree>
    <p:extLst>
      <p:ext uri="{BB962C8B-B14F-4D97-AF65-F5344CB8AC3E}">
        <p14:creationId xmlns:p14="http://schemas.microsoft.com/office/powerpoint/2010/main" val="8490878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9859962" cy="604798"/>
          </a:xfrm>
        </p:spPr>
        <p:txBody>
          <a:bodyPr/>
          <a:lstStyle/>
          <a:p>
            <a:r>
              <a:rPr lang="en-US"/>
              <a:t>Lesson 4: The difference between SQL Server IaaS and PaaS Solutions</a:t>
            </a:r>
          </a:p>
        </p:txBody>
      </p:sp>
    </p:spTree>
    <p:extLst>
      <p:ext uri="{BB962C8B-B14F-4D97-AF65-F5344CB8AC3E}">
        <p14:creationId xmlns:p14="http://schemas.microsoft.com/office/powerpoint/2010/main" val="36540744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Know the differences between SQL Server on an Azure VM and Azure SQL Database and in which scenario you should opt for an IaaS or PaaS solution. </a:t>
            </a:r>
          </a:p>
          <a:p>
            <a:endParaRPr lang="en-US"/>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162041502"/>
      </p:ext>
    </p:extLst>
  </p:cSld>
  <p:clrMapOvr>
    <a:masterClrMapping/>
  </p:clrMapOvr>
  <p:transition spd="slow"/>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Data platform continuum</a:t>
            </a:r>
          </a:p>
        </p:txBody>
      </p:sp>
      <p:cxnSp>
        <p:nvCxnSpPr>
          <p:cNvPr id="5" name="Straight Connector 4">
            <a:extLst>
              <a:ext uri="{FF2B5EF4-FFF2-40B4-BE49-F238E27FC236}">
                <a16:creationId xmlns:a16="http://schemas.microsoft.com/office/drawing/2014/main" id="{0640F10E-3D4D-4607-A5DA-B52E23FEC385}"/>
              </a:ext>
            </a:extLst>
          </p:cNvPr>
          <p:cNvCxnSpPr/>
          <p:nvPr/>
        </p:nvCxnSpPr>
        <p:spPr>
          <a:xfrm>
            <a:off x="821778" y="1356404"/>
            <a:ext cx="0" cy="4833205"/>
          </a:xfrm>
          <a:prstGeom prst="line">
            <a:avLst/>
          </a:prstGeom>
          <a:noFill/>
          <a:ln w="19050" cap="flat" cmpd="sng" algn="ctr">
            <a:solidFill>
              <a:srgbClr val="3C3C41">
                <a:lumMod val="40000"/>
                <a:lumOff val="60000"/>
              </a:srgbClr>
            </a:solidFill>
            <a:prstDash val="solid"/>
          </a:ln>
          <a:effectLst/>
        </p:spPr>
      </p:cxnSp>
      <p:cxnSp>
        <p:nvCxnSpPr>
          <p:cNvPr id="6" name="Straight Connector 5">
            <a:extLst>
              <a:ext uri="{FF2B5EF4-FFF2-40B4-BE49-F238E27FC236}">
                <a16:creationId xmlns:a16="http://schemas.microsoft.com/office/drawing/2014/main" id="{B9241C04-909B-4E30-9876-DE906770C23D}"/>
              </a:ext>
            </a:extLst>
          </p:cNvPr>
          <p:cNvCxnSpPr/>
          <p:nvPr/>
        </p:nvCxnSpPr>
        <p:spPr>
          <a:xfrm flipH="1">
            <a:off x="814825" y="6186162"/>
            <a:ext cx="11006275" cy="0"/>
          </a:xfrm>
          <a:prstGeom prst="line">
            <a:avLst/>
          </a:prstGeom>
          <a:noFill/>
          <a:ln w="19050" cap="flat" cmpd="sng" algn="ctr">
            <a:solidFill>
              <a:srgbClr val="3C3C41">
                <a:lumMod val="40000"/>
                <a:lumOff val="60000"/>
              </a:srgbClr>
            </a:solidFill>
            <a:prstDash val="solid"/>
          </a:ln>
          <a:effectLst/>
        </p:spPr>
      </p:cxnSp>
      <p:sp>
        <p:nvSpPr>
          <p:cNvPr id="7" name="TextBox 6">
            <a:extLst>
              <a:ext uri="{FF2B5EF4-FFF2-40B4-BE49-F238E27FC236}">
                <a16:creationId xmlns:a16="http://schemas.microsoft.com/office/drawing/2014/main" id="{9DB4AB84-2198-4C98-B783-4216D89DFC70}"/>
              </a:ext>
            </a:extLst>
          </p:cNvPr>
          <p:cNvSpPr txBox="1"/>
          <p:nvPr/>
        </p:nvSpPr>
        <p:spPr>
          <a:xfrm rot="16200000">
            <a:off x="-135951" y="1913490"/>
            <a:ext cx="1476067" cy="286306"/>
          </a:xfrm>
          <a:prstGeom prst="rect">
            <a:avLst/>
          </a:prstGeom>
          <a:noFill/>
        </p:spPr>
        <p:txBody>
          <a:bodyPr wrap="none" lIns="93260" tIns="46630" rIns="93260" bIns="46630" rtlCol="0">
            <a:spAutoFit/>
          </a:bodyPr>
          <a:lstStyle/>
          <a:p>
            <a:pPr algn="ctr" defTabSz="932225">
              <a:defRPr/>
            </a:pPr>
            <a:r>
              <a:rPr lang="en-US" sz="1224" b="1">
                <a:solidFill>
                  <a:srgbClr val="0072C6"/>
                </a:solidFill>
                <a:latin typeface="Segoe UI Semibold" charset="0"/>
                <a:ea typeface="Segoe UI Semibold" charset="0"/>
                <a:cs typeface="Segoe UI Semibold" charset="0"/>
              </a:rPr>
              <a:t>Shared lower cost</a:t>
            </a:r>
          </a:p>
        </p:txBody>
      </p:sp>
      <p:sp>
        <p:nvSpPr>
          <p:cNvPr id="8" name="TextBox 7">
            <a:extLst>
              <a:ext uri="{FF2B5EF4-FFF2-40B4-BE49-F238E27FC236}">
                <a16:creationId xmlns:a16="http://schemas.microsoft.com/office/drawing/2014/main" id="{BC679F4B-5A25-406E-9AB1-FEBB5B7D02DB}"/>
              </a:ext>
            </a:extLst>
          </p:cNvPr>
          <p:cNvSpPr txBox="1"/>
          <p:nvPr/>
        </p:nvSpPr>
        <p:spPr>
          <a:xfrm rot="16200000">
            <a:off x="-286200" y="5253872"/>
            <a:ext cx="1776563" cy="286306"/>
          </a:xfrm>
          <a:prstGeom prst="rect">
            <a:avLst/>
          </a:prstGeom>
          <a:noFill/>
        </p:spPr>
        <p:txBody>
          <a:bodyPr wrap="none" lIns="93260" tIns="46630" rIns="93260" bIns="46630" rtlCol="0">
            <a:spAutoFit/>
          </a:bodyPr>
          <a:lstStyle/>
          <a:p>
            <a:pPr algn="r" defTabSz="932225">
              <a:defRPr/>
            </a:pPr>
            <a:r>
              <a:rPr lang="en-US" sz="1224" b="1">
                <a:solidFill>
                  <a:srgbClr val="0072C6"/>
                </a:solidFill>
                <a:latin typeface="Segoe UI Semibold" charset="0"/>
                <a:ea typeface="Segoe UI Semibold" charset="0"/>
                <a:cs typeface="Segoe UI Semibold" charset="0"/>
              </a:rPr>
              <a:t>Dedicated higher cost</a:t>
            </a:r>
          </a:p>
        </p:txBody>
      </p:sp>
      <p:sp>
        <p:nvSpPr>
          <p:cNvPr id="9" name="TextBox 8">
            <a:extLst>
              <a:ext uri="{FF2B5EF4-FFF2-40B4-BE49-F238E27FC236}">
                <a16:creationId xmlns:a16="http://schemas.microsoft.com/office/drawing/2014/main" id="{A6E31221-811A-4FE6-9F55-DB265272886B}"/>
              </a:ext>
            </a:extLst>
          </p:cNvPr>
          <p:cNvSpPr txBox="1"/>
          <p:nvPr/>
        </p:nvSpPr>
        <p:spPr>
          <a:xfrm>
            <a:off x="883450" y="6253836"/>
            <a:ext cx="1782384" cy="286306"/>
          </a:xfrm>
          <a:prstGeom prst="rect">
            <a:avLst/>
          </a:prstGeom>
          <a:noFill/>
        </p:spPr>
        <p:txBody>
          <a:bodyPr wrap="none" lIns="93260" tIns="46630" rIns="93260" bIns="46630" rtlCol="0">
            <a:spAutoFit/>
          </a:bodyPr>
          <a:lstStyle/>
          <a:p>
            <a:pPr defTabSz="932225">
              <a:defRPr/>
            </a:pPr>
            <a:r>
              <a:rPr lang="en-US" sz="1224" b="1">
                <a:solidFill>
                  <a:srgbClr val="0072C6"/>
                </a:solidFill>
                <a:latin typeface="Segoe UI Semibold" charset="0"/>
                <a:ea typeface="Segoe UI Semibold" charset="0"/>
                <a:cs typeface="Segoe UI Semibold" charset="0"/>
              </a:rPr>
              <a:t>Higher administration</a:t>
            </a:r>
          </a:p>
        </p:txBody>
      </p:sp>
      <p:sp>
        <p:nvSpPr>
          <p:cNvPr id="10" name="TextBox 9">
            <a:extLst>
              <a:ext uri="{FF2B5EF4-FFF2-40B4-BE49-F238E27FC236}">
                <a16:creationId xmlns:a16="http://schemas.microsoft.com/office/drawing/2014/main" id="{BA4B6107-D530-461C-A46D-BE4B33B709F9}"/>
              </a:ext>
            </a:extLst>
          </p:cNvPr>
          <p:cNvSpPr txBox="1"/>
          <p:nvPr/>
        </p:nvSpPr>
        <p:spPr>
          <a:xfrm>
            <a:off x="10184542" y="6253836"/>
            <a:ext cx="1726013" cy="286306"/>
          </a:xfrm>
          <a:prstGeom prst="rect">
            <a:avLst/>
          </a:prstGeom>
          <a:noFill/>
        </p:spPr>
        <p:txBody>
          <a:bodyPr wrap="none" lIns="93260" tIns="46630" rIns="93260" bIns="46630" rtlCol="0">
            <a:spAutoFit/>
          </a:bodyPr>
          <a:lstStyle/>
          <a:p>
            <a:pPr defTabSz="932225">
              <a:defRPr/>
            </a:pPr>
            <a:r>
              <a:rPr lang="en-US" sz="1224" b="1">
                <a:solidFill>
                  <a:srgbClr val="0072C6"/>
                </a:solidFill>
                <a:latin typeface="Segoe UI Semibold" charset="0"/>
                <a:ea typeface="Segoe UI Semibold" charset="0"/>
                <a:cs typeface="Segoe UI Semibold" charset="0"/>
              </a:rPr>
              <a:t>Lower administration</a:t>
            </a:r>
          </a:p>
        </p:txBody>
      </p:sp>
      <p:sp>
        <p:nvSpPr>
          <p:cNvPr id="11" name="Rectangle 10">
            <a:extLst>
              <a:ext uri="{FF2B5EF4-FFF2-40B4-BE49-F238E27FC236}">
                <a16:creationId xmlns:a16="http://schemas.microsoft.com/office/drawing/2014/main" id="{5619F0A2-A648-4BE6-B1FC-CB3E32915210}"/>
              </a:ext>
            </a:extLst>
          </p:cNvPr>
          <p:cNvSpPr/>
          <p:nvPr/>
        </p:nvSpPr>
        <p:spPr>
          <a:xfrm>
            <a:off x="993491" y="4951399"/>
            <a:ext cx="5940580" cy="1053657"/>
          </a:xfrm>
          <a:prstGeom prst="rect">
            <a:avLst/>
          </a:prstGeom>
          <a:solidFill>
            <a:srgbClr val="0078D3"/>
          </a:solidFill>
          <a:ln w="3175" cap="flat" cmpd="sng" algn="ctr">
            <a:noFill/>
            <a:prstDash val="solid"/>
          </a:ln>
          <a:effectLst/>
        </p:spPr>
        <p:txBody>
          <a:bodyPr wrap="square" lIns="1072494" tIns="130564" rIns="91427" bIns="45713" rtlCol="0" anchor="t" anchorCtr="0">
            <a:noAutofit/>
          </a:bodyPr>
          <a:lstStyle/>
          <a:p>
            <a:pPr marL="0" marR="0" lvl="0" indent="0" defTabSz="932225" eaLnBrk="1" fontAlgn="auto" latinLnBrk="0" hangingPunct="1">
              <a:lnSpc>
                <a:spcPct val="100000"/>
              </a:lnSpc>
              <a:spcBef>
                <a:spcPts val="0"/>
              </a:spcBef>
              <a:spcAft>
                <a:spcPts val="0"/>
              </a:spcAft>
              <a:buClrTx/>
              <a:buSzTx/>
              <a:buFontTx/>
              <a:buNone/>
              <a:tabLst/>
              <a:defRPr/>
            </a:pPr>
            <a:r>
              <a:rPr kumimoji="0" lang="en-US" sz="2040" b="0" i="0" u="none" strike="noStrike" kern="0" cap="none" spc="102"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hysical</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SQL Server</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Physical Machine (raw iron)</a:t>
            </a:r>
          </a:p>
        </p:txBody>
      </p:sp>
      <p:sp>
        <p:nvSpPr>
          <p:cNvPr id="12" name="Rectangle 11">
            <a:extLst>
              <a:ext uri="{FF2B5EF4-FFF2-40B4-BE49-F238E27FC236}">
                <a16:creationId xmlns:a16="http://schemas.microsoft.com/office/drawing/2014/main" id="{0C98BD19-BA86-43DB-8C10-A661DBB3A430}"/>
              </a:ext>
            </a:extLst>
          </p:cNvPr>
          <p:cNvSpPr/>
          <p:nvPr/>
        </p:nvSpPr>
        <p:spPr>
          <a:xfrm>
            <a:off x="4210411" y="2587806"/>
            <a:ext cx="5940580" cy="1053657"/>
          </a:xfrm>
          <a:prstGeom prst="rect">
            <a:avLst/>
          </a:prstGeom>
          <a:solidFill>
            <a:srgbClr val="0078D3"/>
          </a:solidFill>
          <a:ln w="3175" cap="flat" cmpd="sng" algn="ctr">
            <a:noFill/>
            <a:prstDash val="solid"/>
          </a:ln>
          <a:effectLst/>
        </p:spPr>
        <p:txBody>
          <a:bodyPr wrap="square" lIns="1072494" tIns="130564" rIns="91427" bIns="45713" rtlCol="0" anchor="t" anchorCtr="0">
            <a:noAutofit/>
          </a:bodyPr>
          <a:lstStyle/>
          <a:p>
            <a:pPr marL="0" marR="0" lvl="0" indent="0" defTabSz="932225" eaLnBrk="1" fontAlgn="auto" latinLnBrk="0" hangingPunct="1">
              <a:lnSpc>
                <a:spcPct val="100000"/>
              </a:lnSpc>
              <a:spcBef>
                <a:spcPts val="0"/>
              </a:spcBef>
              <a:spcAft>
                <a:spcPts val="0"/>
              </a:spcAft>
              <a:buClrTx/>
              <a:buSzTx/>
              <a:buFontTx/>
              <a:buNone/>
              <a:tabLst/>
              <a:defRPr/>
            </a:pPr>
            <a:r>
              <a:rPr kumimoji="0" lang="en-US" sz="2040" b="0" i="0" u="none" strike="noStrike" kern="0" cap="none" spc="102"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aaS</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SQL Server in Azure VM</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Virtualized Machines</a:t>
            </a:r>
          </a:p>
        </p:txBody>
      </p:sp>
      <p:sp>
        <p:nvSpPr>
          <p:cNvPr id="13" name="Rectangle 12">
            <a:extLst>
              <a:ext uri="{FF2B5EF4-FFF2-40B4-BE49-F238E27FC236}">
                <a16:creationId xmlns:a16="http://schemas.microsoft.com/office/drawing/2014/main" id="{16A8A2FD-28F4-46C4-8D0F-24392BFD1AE0}"/>
              </a:ext>
            </a:extLst>
          </p:cNvPr>
          <p:cNvSpPr/>
          <p:nvPr/>
        </p:nvSpPr>
        <p:spPr>
          <a:xfrm>
            <a:off x="2606314" y="3776567"/>
            <a:ext cx="5940580" cy="1053657"/>
          </a:xfrm>
          <a:prstGeom prst="rect">
            <a:avLst/>
          </a:prstGeom>
          <a:solidFill>
            <a:srgbClr val="0078D3"/>
          </a:solidFill>
          <a:ln w="3175" cap="flat" cmpd="sng" algn="ctr">
            <a:noFill/>
            <a:prstDash val="solid"/>
          </a:ln>
          <a:effectLst/>
        </p:spPr>
        <p:txBody>
          <a:bodyPr wrap="square" lIns="1072494" tIns="130564" rIns="91427" bIns="45713" rtlCol="0" anchor="t" anchorCtr="0">
            <a:noAutofit/>
          </a:bodyPr>
          <a:lstStyle/>
          <a:p>
            <a:pPr marL="0" marR="0" lvl="0" indent="0" defTabSz="932225" eaLnBrk="1" fontAlgn="auto" latinLnBrk="0" hangingPunct="1">
              <a:lnSpc>
                <a:spcPct val="100000"/>
              </a:lnSpc>
              <a:spcBef>
                <a:spcPts val="0"/>
              </a:spcBef>
              <a:spcAft>
                <a:spcPts val="0"/>
              </a:spcAft>
              <a:buClrTx/>
              <a:buSzTx/>
              <a:buFontTx/>
              <a:buNone/>
              <a:tabLst/>
              <a:defRPr/>
            </a:pPr>
            <a:r>
              <a:rPr kumimoji="0" lang="en-US" sz="2040" b="0" i="0" u="none" strike="noStrike" kern="0" cap="none" spc="102"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Virtual</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SQL Server Private Cloud</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Virtualized Machine + Appliance</a:t>
            </a:r>
          </a:p>
        </p:txBody>
      </p:sp>
      <p:sp>
        <p:nvSpPr>
          <p:cNvPr id="14" name="Rectangle 13">
            <a:extLst>
              <a:ext uri="{FF2B5EF4-FFF2-40B4-BE49-F238E27FC236}">
                <a16:creationId xmlns:a16="http://schemas.microsoft.com/office/drawing/2014/main" id="{CAAAA016-D598-4EC9-AE11-90F3F80BAF38}"/>
              </a:ext>
            </a:extLst>
          </p:cNvPr>
          <p:cNvSpPr/>
          <p:nvPr/>
        </p:nvSpPr>
        <p:spPr>
          <a:xfrm>
            <a:off x="5880518" y="1422840"/>
            <a:ext cx="5940580" cy="1053657"/>
          </a:xfrm>
          <a:prstGeom prst="rect">
            <a:avLst/>
          </a:prstGeom>
          <a:solidFill>
            <a:srgbClr val="0078D3"/>
          </a:solidFill>
          <a:ln w="3175" cap="flat" cmpd="sng" algn="ctr">
            <a:noFill/>
            <a:prstDash val="solid"/>
          </a:ln>
          <a:effectLst/>
        </p:spPr>
        <p:txBody>
          <a:bodyPr wrap="square" lIns="1072494" tIns="130564" rIns="91427" bIns="45713" rtlCol="0" anchor="t" anchorCtr="0">
            <a:noAutofit/>
          </a:bodyPr>
          <a:lstStyle/>
          <a:p>
            <a:pPr marL="0" marR="0" lvl="0" indent="0" defTabSz="932225" eaLnBrk="1" fontAlgn="auto" latinLnBrk="0" hangingPunct="1">
              <a:lnSpc>
                <a:spcPct val="100000"/>
              </a:lnSpc>
              <a:spcBef>
                <a:spcPts val="0"/>
              </a:spcBef>
              <a:spcAft>
                <a:spcPts val="0"/>
              </a:spcAft>
              <a:buClrTx/>
              <a:buSzTx/>
              <a:buFontTx/>
              <a:buNone/>
              <a:tabLst/>
              <a:defRPr/>
            </a:pPr>
            <a:r>
              <a:rPr kumimoji="0" lang="en-US" sz="2040" b="0" i="0" u="none" strike="noStrike" kern="0" cap="none" spc="102"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aaS &amp; SaaS</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Azure SQL Database</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Virtualized Database</a:t>
            </a:r>
          </a:p>
        </p:txBody>
      </p:sp>
      <p:grpSp>
        <p:nvGrpSpPr>
          <p:cNvPr id="15" name="Group 21" descr="IAAS">
            <a:extLst>
              <a:ext uri="{FF2B5EF4-FFF2-40B4-BE49-F238E27FC236}">
                <a16:creationId xmlns:a16="http://schemas.microsoft.com/office/drawing/2014/main" id="{7E9CF5E4-4749-4387-A912-9D9A862F10A7}"/>
              </a:ext>
            </a:extLst>
          </p:cNvPr>
          <p:cNvGrpSpPr>
            <a:grpSpLocks noChangeAspect="1"/>
          </p:cNvGrpSpPr>
          <p:nvPr/>
        </p:nvGrpSpPr>
        <p:grpSpPr bwMode="auto">
          <a:xfrm>
            <a:off x="4476078" y="2800387"/>
            <a:ext cx="520546" cy="518719"/>
            <a:chOff x="2211" y="778"/>
            <a:chExt cx="285" cy="284"/>
          </a:xfrm>
        </p:grpSpPr>
        <p:sp>
          <p:nvSpPr>
            <p:cNvPr id="16" name="AutoShape 20">
              <a:extLst>
                <a:ext uri="{FF2B5EF4-FFF2-40B4-BE49-F238E27FC236}">
                  <a16:creationId xmlns:a16="http://schemas.microsoft.com/office/drawing/2014/main" id="{B29FBD26-031C-4EBE-ADC6-A7E20CA898ED}"/>
                </a:ext>
              </a:extLst>
            </p:cNvPr>
            <p:cNvSpPr>
              <a:spLocks noChangeAspect="1" noChangeArrowheads="1" noTextEdit="1"/>
            </p:cNvSpPr>
            <p:nvPr/>
          </p:nvSpPr>
          <p:spPr bwMode="auto">
            <a:xfrm>
              <a:off x="2211" y="778"/>
              <a:ext cx="285"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7" name="Oval 22">
              <a:extLst>
                <a:ext uri="{FF2B5EF4-FFF2-40B4-BE49-F238E27FC236}">
                  <a16:creationId xmlns:a16="http://schemas.microsoft.com/office/drawing/2014/main" id="{12CD34F7-F480-47DE-84FB-031A3EE69192}"/>
                </a:ext>
              </a:extLst>
            </p:cNvPr>
            <p:cNvSpPr>
              <a:spLocks noChangeArrowheads="1"/>
            </p:cNvSpPr>
            <p:nvPr/>
          </p:nvSpPr>
          <p:spPr bwMode="auto">
            <a:xfrm>
              <a:off x="2331" y="898"/>
              <a:ext cx="45" cy="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8" name="Freeform 23">
              <a:extLst>
                <a:ext uri="{FF2B5EF4-FFF2-40B4-BE49-F238E27FC236}">
                  <a16:creationId xmlns:a16="http://schemas.microsoft.com/office/drawing/2014/main" id="{EB38C187-F19F-452C-99DC-2651344EC95A}"/>
                </a:ext>
              </a:extLst>
            </p:cNvPr>
            <p:cNvSpPr>
              <a:spLocks noEditPoints="1"/>
            </p:cNvSpPr>
            <p:nvPr/>
          </p:nvSpPr>
          <p:spPr bwMode="auto">
            <a:xfrm>
              <a:off x="2247" y="809"/>
              <a:ext cx="213" cy="218"/>
            </a:xfrm>
            <a:custGeom>
              <a:avLst/>
              <a:gdLst>
                <a:gd name="T0" fmla="*/ 98 w 144"/>
                <a:gd name="T1" fmla="*/ 8 h 147"/>
                <a:gd name="T2" fmla="*/ 88 w 144"/>
                <a:gd name="T3" fmla="*/ 0 h 147"/>
                <a:gd name="T4" fmla="*/ 80 w 144"/>
                <a:gd name="T5" fmla="*/ 4 h 147"/>
                <a:gd name="T6" fmla="*/ 72 w 144"/>
                <a:gd name="T7" fmla="*/ 3 h 147"/>
                <a:gd name="T8" fmla="*/ 0 w 144"/>
                <a:gd name="T9" fmla="*/ 75 h 147"/>
                <a:gd name="T10" fmla="*/ 72 w 144"/>
                <a:gd name="T11" fmla="*/ 147 h 147"/>
                <a:gd name="T12" fmla="*/ 144 w 144"/>
                <a:gd name="T13" fmla="*/ 75 h 147"/>
                <a:gd name="T14" fmla="*/ 98 w 144"/>
                <a:gd name="T15" fmla="*/ 8 h 147"/>
                <a:gd name="T16" fmla="*/ 119 w 144"/>
                <a:gd name="T17" fmla="*/ 123 h 147"/>
                <a:gd name="T18" fmla="*/ 98 w 144"/>
                <a:gd name="T19" fmla="*/ 137 h 147"/>
                <a:gd name="T20" fmla="*/ 72 w 144"/>
                <a:gd name="T21" fmla="*/ 142 h 147"/>
                <a:gd name="T22" fmla="*/ 46 w 144"/>
                <a:gd name="T23" fmla="*/ 137 h 147"/>
                <a:gd name="T24" fmla="*/ 25 w 144"/>
                <a:gd name="T25" fmla="*/ 123 h 147"/>
                <a:gd name="T26" fmla="*/ 10 w 144"/>
                <a:gd name="T27" fmla="*/ 101 h 147"/>
                <a:gd name="T28" fmla="*/ 5 w 144"/>
                <a:gd name="T29" fmla="*/ 75 h 147"/>
                <a:gd name="T30" fmla="*/ 10 w 144"/>
                <a:gd name="T31" fmla="*/ 49 h 147"/>
                <a:gd name="T32" fmla="*/ 25 w 144"/>
                <a:gd name="T33" fmla="*/ 28 h 147"/>
                <a:gd name="T34" fmla="*/ 46 w 144"/>
                <a:gd name="T35" fmla="*/ 14 h 147"/>
                <a:gd name="T36" fmla="*/ 72 w 144"/>
                <a:gd name="T37" fmla="*/ 8 h 147"/>
                <a:gd name="T38" fmla="*/ 78 w 144"/>
                <a:gd name="T39" fmla="*/ 9 h 147"/>
                <a:gd name="T40" fmla="*/ 78 w 144"/>
                <a:gd name="T41" fmla="*/ 10 h 147"/>
                <a:gd name="T42" fmla="*/ 88 w 144"/>
                <a:gd name="T43" fmla="*/ 20 h 147"/>
                <a:gd name="T44" fmla="*/ 97 w 144"/>
                <a:gd name="T45" fmla="*/ 13 h 147"/>
                <a:gd name="T46" fmla="*/ 98 w 144"/>
                <a:gd name="T47" fmla="*/ 14 h 147"/>
                <a:gd name="T48" fmla="*/ 119 w 144"/>
                <a:gd name="T49" fmla="*/ 28 h 147"/>
                <a:gd name="T50" fmla="*/ 134 w 144"/>
                <a:gd name="T51" fmla="*/ 49 h 147"/>
                <a:gd name="T52" fmla="*/ 139 w 144"/>
                <a:gd name="T53" fmla="*/ 75 h 147"/>
                <a:gd name="T54" fmla="*/ 134 w 144"/>
                <a:gd name="T55" fmla="*/ 101 h 147"/>
                <a:gd name="T56" fmla="*/ 119 w 144"/>
                <a:gd name="T57" fmla="*/ 1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7">
                  <a:moveTo>
                    <a:pt x="98" y="8"/>
                  </a:moveTo>
                  <a:cubicBezTo>
                    <a:pt x="97" y="3"/>
                    <a:pt x="93" y="0"/>
                    <a:pt x="88" y="0"/>
                  </a:cubicBezTo>
                  <a:cubicBezTo>
                    <a:pt x="84" y="0"/>
                    <a:pt x="81" y="1"/>
                    <a:pt x="80" y="4"/>
                  </a:cubicBezTo>
                  <a:cubicBezTo>
                    <a:pt x="77" y="3"/>
                    <a:pt x="75" y="3"/>
                    <a:pt x="72" y="3"/>
                  </a:cubicBezTo>
                  <a:cubicBezTo>
                    <a:pt x="32" y="3"/>
                    <a:pt x="0" y="35"/>
                    <a:pt x="0" y="75"/>
                  </a:cubicBezTo>
                  <a:cubicBezTo>
                    <a:pt x="0" y="115"/>
                    <a:pt x="32" y="147"/>
                    <a:pt x="72" y="147"/>
                  </a:cubicBezTo>
                  <a:cubicBezTo>
                    <a:pt x="112" y="147"/>
                    <a:pt x="144" y="115"/>
                    <a:pt x="144" y="75"/>
                  </a:cubicBezTo>
                  <a:cubicBezTo>
                    <a:pt x="144" y="44"/>
                    <a:pt x="125" y="18"/>
                    <a:pt x="98" y="8"/>
                  </a:cubicBezTo>
                  <a:close/>
                  <a:moveTo>
                    <a:pt x="119" y="123"/>
                  </a:moveTo>
                  <a:cubicBezTo>
                    <a:pt x="113" y="129"/>
                    <a:pt x="106" y="134"/>
                    <a:pt x="98" y="137"/>
                  </a:cubicBezTo>
                  <a:cubicBezTo>
                    <a:pt x="90" y="140"/>
                    <a:pt x="81" y="142"/>
                    <a:pt x="72" y="142"/>
                  </a:cubicBezTo>
                  <a:cubicBezTo>
                    <a:pt x="63" y="142"/>
                    <a:pt x="54" y="140"/>
                    <a:pt x="46" y="137"/>
                  </a:cubicBezTo>
                  <a:cubicBezTo>
                    <a:pt x="38" y="134"/>
                    <a:pt x="31" y="129"/>
                    <a:pt x="25" y="123"/>
                  </a:cubicBezTo>
                  <a:cubicBezTo>
                    <a:pt x="19" y="116"/>
                    <a:pt x="14" y="109"/>
                    <a:pt x="10" y="101"/>
                  </a:cubicBezTo>
                  <a:cubicBezTo>
                    <a:pt x="7" y="93"/>
                    <a:pt x="5" y="84"/>
                    <a:pt x="5" y="75"/>
                  </a:cubicBezTo>
                  <a:cubicBezTo>
                    <a:pt x="5" y="66"/>
                    <a:pt x="7" y="57"/>
                    <a:pt x="10" y="49"/>
                  </a:cubicBezTo>
                  <a:cubicBezTo>
                    <a:pt x="14" y="41"/>
                    <a:pt x="19" y="34"/>
                    <a:pt x="25" y="28"/>
                  </a:cubicBezTo>
                  <a:cubicBezTo>
                    <a:pt x="31" y="22"/>
                    <a:pt x="38" y="17"/>
                    <a:pt x="46" y="14"/>
                  </a:cubicBezTo>
                  <a:cubicBezTo>
                    <a:pt x="54" y="10"/>
                    <a:pt x="63" y="8"/>
                    <a:pt x="72" y="8"/>
                  </a:cubicBezTo>
                  <a:cubicBezTo>
                    <a:pt x="74" y="8"/>
                    <a:pt x="76" y="8"/>
                    <a:pt x="78" y="9"/>
                  </a:cubicBezTo>
                  <a:cubicBezTo>
                    <a:pt x="78" y="9"/>
                    <a:pt x="78" y="9"/>
                    <a:pt x="78" y="10"/>
                  </a:cubicBezTo>
                  <a:cubicBezTo>
                    <a:pt x="78" y="15"/>
                    <a:pt x="82" y="20"/>
                    <a:pt x="88" y="20"/>
                  </a:cubicBezTo>
                  <a:cubicBezTo>
                    <a:pt x="92" y="20"/>
                    <a:pt x="96" y="17"/>
                    <a:pt x="97" y="13"/>
                  </a:cubicBezTo>
                  <a:cubicBezTo>
                    <a:pt x="97" y="13"/>
                    <a:pt x="98" y="13"/>
                    <a:pt x="98" y="14"/>
                  </a:cubicBezTo>
                  <a:cubicBezTo>
                    <a:pt x="106" y="17"/>
                    <a:pt x="113" y="22"/>
                    <a:pt x="119" y="28"/>
                  </a:cubicBezTo>
                  <a:cubicBezTo>
                    <a:pt x="126" y="34"/>
                    <a:pt x="130" y="41"/>
                    <a:pt x="134" y="49"/>
                  </a:cubicBezTo>
                  <a:cubicBezTo>
                    <a:pt x="137" y="58"/>
                    <a:pt x="139" y="66"/>
                    <a:pt x="139" y="75"/>
                  </a:cubicBezTo>
                  <a:cubicBezTo>
                    <a:pt x="139" y="84"/>
                    <a:pt x="137" y="93"/>
                    <a:pt x="134" y="101"/>
                  </a:cubicBezTo>
                  <a:cubicBezTo>
                    <a:pt x="130" y="109"/>
                    <a:pt x="126" y="116"/>
                    <a:pt x="119" y="1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9" name="Freeform 24">
              <a:extLst>
                <a:ext uri="{FF2B5EF4-FFF2-40B4-BE49-F238E27FC236}">
                  <a16:creationId xmlns:a16="http://schemas.microsoft.com/office/drawing/2014/main" id="{5C63ECFB-26D3-4532-BFCA-40C0CDBA554A}"/>
                </a:ext>
              </a:extLst>
            </p:cNvPr>
            <p:cNvSpPr>
              <a:spLocks noEditPoints="1"/>
            </p:cNvSpPr>
            <p:nvPr/>
          </p:nvSpPr>
          <p:spPr bwMode="auto">
            <a:xfrm>
              <a:off x="2211" y="780"/>
              <a:ext cx="285" cy="282"/>
            </a:xfrm>
            <a:custGeom>
              <a:avLst/>
              <a:gdLst>
                <a:gd name="T0" fmla="*/ 192 w 192"/>
                <a:gd name="T1" fmla="*/ 95 h 191"/>
                <a:gd name="T2" fmla="*/ 179 w 192"/>
                <a:gd name="T3" fmla="*/ 47 h 191"/>
                <a:gd name="T4" fmla="*/ 182 w 192"/>
                <a:gd name="T5" fmla="*/ 39 h 191"/>
                <a:gd name="T6" fmla="*/ 172 w 192"/>
                <a:gd name="T7" fmla="*/ 29 h 191"/>
                <a:gd name="T8" fmla="*/ 167 w 192"/>
                <a:gd name="T9" fmla="*/ 31 h 191"/>
                <a:gd name="T10" fmla="*/ 96 w 192"/>
                <a:gd name="T11" fmla="*/ 0 h 191"/>
                <a:gd name="T12" fmla="*/ 0 w 192"/>
                <a:gd name="T13" fmla="*/ 95 h 191"/>
                <a:gd name="T14" fmla="*/ 14 w 192"/>
                <a:gd name="T15" fmla="*/ 144 h 191"/>
                <a:gd name="T16" fmla="*/ 10 w 192"/>
                <a:gd name="T17" fmla="*/ 151 h 191"/>
                <a:gd name="T18" fmla="*/ 20 w 192"/>
                <a:gd name="T19" fmla="*/ 161 h 191"/>
                <a:gd name="T20" fmla="*/ 25 w 192"/>
                <a:gd name="T21" fmla="*/ 160 h 191"/>
                <a:gd name="T22" fmla="*/ 96 w 192"/>
                <a:gd name="T23" fmla="*/ 191 h 191"/>
                <a:gd name="T24" fmla="*/ 141 w 192"/>
                <a:gd name="T25" fmla="*/ 180 h 191"/>
                <a:gd name="T26" fmla="*/ 147 w 192"/>
                <a:gd name="T27" fmla="*/ 181 h 191"/>
                <a:gd name="T28" fmla="*/ 157 w 192"/>
                <a:gd name="T29" fmla="*/ 171 h 191"/>
                <a:gd name="T30" fmla="*/ 157 w 192"/>
                <a:gd name="T31" fmla="*/ 169 h 191"/>
                <a:gd name="T32" fmla="*/ 192 w 192"/>
                <a:gd name="T33" fmla="*/ 95 h 191"/>
                <a:gd name="T34" fmla="*/ 155 w 192"/>
                <a:gd name="T35" fmla="*/ 165 h 191"/>
                <a:gd name="T36" fmla="*/ 147 w 192"/>
                <a:gd name="T37" fmla="*/ 161 h 191"/>
                <a:gd name="T38" fmla="*/ 137 w 192"/>
                <a:gd name="T39" fmla="*/ 171 h 191"/>
                <a:gd name="T40" fmla="*/ 138 w 192"/>
                <a:gd name="T41" fmla="*/ 176 h 191"/>
                <a:gd name="T42" fmla="*/ 131 w 192"/>
                <a:gd name="T43" fmla="*/ 179 h 191"/>
                <a:gd name="T44" fmla="*/ 96 w 192"/>
                <a:gd name="T45" fmla="*/ 186 h 191"/>
                <a:gd name="T46" fmla="*/ 61 w 192"/>
                <a:gd name="T47" fmla="*/ 179 h 191"/>
                <a:gd name="T48" fmla="*/ 32 w 192"/>
                <a:gd name="T49" fmla="*/ 159 h 191"/>
                <a:gd name="T50" fmla="*/ 29 w 192"/>
                <a:gd name="T51" fmla="*/ 156 h 191"/>
                <a:gd name="T52" fmla="*/ 30 w 192"/>
                <a:gd name="T53" fmla="*/ 151 h 191"/>
                <a:gd name="T54" fmla="*/ 20 w 192"/>
                <a:gd name="T55" fmla="*/ 141 h 191"/>
                <a:gd name="T56" fmla="*/ 18 w 192"/>
                <a:gd name="T57" fmla="*/ 141 h 191"/>
                <a:gd name="T58" fmla="*/ 13 w 192"/>
                <a:gd name="T59" fmla="*/ 131 h 191"/>
                <a:gd name="T60" fmla="*/ 5 w 192"/>
                <a:gd name="T61" fmla="*/ 95 h 191"/>
                <a:gd name="T62" fmla="*/ 13 w 192"/>
                <a:gd name="T63" fmla="*/ 60 h 191"/>
                <a:gd name="T64" fmla="*/ 32 w 192"/>
                <a:gd name="T65" fmla="*/ 31 h 191"/>
                <a:gd name="T66" fmla="*/ 61 w 192"/>
                <a:gd name="T67" fmla="*/ 12 h 191"/>
                <a:gd name="T68" fmla="*/ 96 w 192"/>
                <a:gd name="T69" fmla="*/ 5 h 191"/>
                <a:gd name="T70" fmla="*/ 131 w 192"/>
                <a:gd name="T71" fmla="*/ 12 h 191"/>
                <a:gd name="T72" fmla="*/ 160 w 192"/>
                <a:gd name="T73" fmla="*/ 31 h 191"/>
                <a:gd name="T74" fmla="*/ 163 w 192"/>
                <a:gd name="T75" fmla="*/ 34 h 191"/>
                <a:gd name="T76" fmla="*/ 162 w 192"/>
                <a:gd name="T77" fmla="*/ 40 h 191"/>
                <a:gd name="T78" fmla="*/ 172 w 192"/>
                <a:gd name="T79" fmla="*/ 50 h 191"/>
                <a:gd name="T80" fmla="*/ 174 w 192"/>
                <a:gd name="T81" fmla="*/ 49 h 191"/>
                <a:gd name="T82" fmla="*/ 180 w 192"/>
                <a:gd name="T83" fmla="*/ 60 h 191"/>
                <a:gd name="T84" fmla="*/ 187 w 192"/>
                <a:gd name="T85" fmla="*/ 95 h 191"/>
                <a:gd name="T86" fmla="*/ 180 w 192"/>
                <a:gd name="T87" fmla="*/ 131 h 191"/>
                <a:gd name="T88" fmla="*/ 160 w 192"/>
                <a:gd name="T89" fmla="*/ 159 h 191"/>
                <a:gd name="T90" fmla="*/ 155 w 192"/>
                <a:gd name="T91"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91">
                  <a:moveTo>
                    <a:pt x="192" y="95"/>
                  </a:moveTo>
                  <a:cubicBezTo>
                    <a:pt x="192" y="78"/>
                    <a:pt x="187" y="61"/>
                    <a:pt x="179" y="47"/>
                  </a:cubicBezTo>
                  <a:cubicBezTo>
                    <a:pt x="181" y="45"/>
                    <a:pt x="182" y="42"/>
                    <a:pt x="182" y="39"/>
                  </a:cubicBezTo>
                  <a:cubicBezTo>
                    <a:pt x="182" y="34"/>
                    <a:pt x="177" y="29"/>
                    <a:pt x="172" y="29"/>
                  </a:cubicBezTo>
                  <a:cubicBezTo>
                    <a:pt x="170" y="29"/>
                    <a:pt x="168" y="30"/>
                    <a:pt x="167" y="31"/>
                  </a:cubicBezTo>
                  <a:cubicBezTo>
                    <a:pt x="149" y="12"/>
                    <a:pt x="124" y="0"/>
                    <a:pt x="96" y="0"/>
                  </a:cubicBezTo>
                  <a:cubicBezTo>
                    <a:pt x="43" y="0"/>
                    <a:pt x="0" y="42"/>
                    <a:pt x="0" y="95"/>
                  </a:cubicBezTo>
                  <a:cubicBezTo>
                    <a:pt x="0" y="113"/>
                    <a:pt x="5" y="129"/>
                    <a:pt x="14" y="144"/>
                  </a:cubicBezTo>
                  <a:cubicBezTo>
                    <a:pt x="11" y="145"/>
                    <a:pt x="10" y="148"/>
                    <a:pt x="10" y="151"/>
                  </a:cubicBezTo>
                  <a:cubicBezTo>
                    <a:pt x="10" y="157"/>
                    <a:pt x="15" y="161"/>
                    <a:pt x="20" y="161"/>
                  </a:cubicBezTo>
                  <a:cubicBezTo>
                    <a:pt x="22" y="161"/>
                    <a:pt x="24" y="161"/>
                    <a:pt x="25" y="160"/>
                  </a:cubicBezTo>
                  <a:cubicBezTo>
                    <a:pt x="43" y="179"/>
                    <a:pt x="68" y="191"/>
                    <a:pt x="96" y="191"/>
                  </a:cubicBezTo>
                  <a:cubicBezTo>
                    <a:pt x="112" y="191"/>
                    <a:pt x="128" y="187"/>
                    <a:pt x="141" y="180"/>
                  </a:cubicBezTo>
                  <a:cubicBezTo>
                    <a:pt x="143" y="181"/>
                    <a:pt x="145" y="181"/>
                    <a:pt x="147" y="181"/>
                  </a:cubicBezTo>
                  <a:cubicBezTo>
                    <a:pt x="153" y="181"/>
                    <a:pt x="157" y="177"/>
                    <a:pt x="157" y="171"/>
                  </a:cubicBezTo>
                  <a:cubicBezTo>
                    <a:pt x="157" y="171"/>
                    <a:pt x="157" y="170"/>
                    <a:pt x="157" y="169"/>
                  </a:cubicBezTo>
                  <a:cubicBezTo>
                    <a:pt x="178" y="152"/>
                    <a:pt x="192" y="125"/>
                    <a:pt x="192" y="95"/>
                  </a:cubicBezTo>
                  <a:close/>
                  <a:moveTo>
                    <a:pt x="155" y="165"/>
                  </a:moveTo>
                  <a:cubicBezTo>
                    <a:pt x="153" y="162"/>
                    <a:pt x="150" y="161"/>
                    <a:pt x="147" y="161"/>
                  </a:cubicBezTo>
                  <a:cubicBezTo>
                    <a:pt x="141" y="161"/>
                    <a:pt x="137" y="166"/>
                    <a:pt x="137" y="171"/>
                  </a:cubicBezTo>
                  <a:cubicBezTo>
                    <a:pt x="137" y="173"/>
                    <a:pt x="137" y="174"/>
                    <a:pt x="138" y="176"/>
                  </a:cubicBezTo>
                  <a:cubicBezTo>
                    <a:pt x="136" y="177"/>
                    <a:pt x="134" y="178"/>
                    <a:pt x="131" y="179"/>
                  </a:cubicBezTo>
                  <a:cubicBezTo>
                    <a:pt x="120" y="183"/>
                    <a:pt x="108" y="186"/>
                    <a:pt x="96" y="186"/>
                  </a:cubicBezTo>
                  <a:cubicBezTo>
                    <a:pt x="84" y="186"/>
                    <a:pt x="72" y="183"/>
                    <a:pt x="61" y="179"/>
                  </a:cubicBezTo>
                  <a:cubicBezTo>
                    <a:pt x="50" y="174"/>
                    <a:pt x="40" y="168"/>
                    <a:pt x="32" y="159"/>
                  </a:cubicBezTo>
                  <a:cubicBezTo>
                    <a:pt x="31" y="158"/>
                    <a:pt x="30" y="157"/>
                    <a:pt x="29" y="156"/>
                  </a:cubicBezTo>
                  <a:cubicBezTo>
                    <a:pt x="30" y="155"/>
                    <a:pt x="30" y="153"/>
                    <a:pt x="30" y="151"/>
                  </a:cubicBezTo>
                  <a:cubicBezTo>
                    <a:pt x="30" y="145"/>
                    <a:pt x="26" y="141"/>
                    <a:pt x="20" y="141"/>
                  </a:cubicBezTo>
                  <a:cubicBezTo>
                    <a:pt x="20" y="141"/>
                    <a:pt x="19" y="141"/>
                    <a:pt x="18" y="141"/>
                  </a:cubicBezTo>
                  <a:cubicBezTo>
                    <a:pt x="16" y="138"/>
                    <a:pt x="14" y="134"/>
                    <a:pt x="13" y="131"/>
                  </a:cubicBezTo>
                  <a:cubicBezTo>
                    <a:pt x="8" y="119"/>
                    <a:pt x="5" y="108"/>
                    <a:pt x="5" y="95"/>
                  </a:cubicBezTo>
                  <a:cubicBezTo>
                    <a:pt x="5" y="83"/>
                    <a:pt x="8" y="71"/>
                    <a:pt x="13" y="60"/>
                  </a:cubicBezTo>
                  <a:cubicBezTo>
                    <a:pt x="17" y="49"/>
                    <a:pt x="24" y="40"/>
                    <a:pt x="32" y="31"/>
                  </a:cubicBezTo>
                  <a:cubicBezTo>
                    <a:pt x="40" y="23"/>
                    <a:pt x="50" y="16"/>
                    <a:pt x="61" y="12"/>
                  </a:cubicBezTo>
                  <a:cubicBezTo>
                    <a:pt x="72" y="7"/>
                    <a:pt x="84" y="5"/>
                    <a:pt x="96" y="5"/>
                  </a:cubicBezTo>
                  <a:cubicBezTo>
                    <a:pt x="108" y="5"/>
                    <a:pt x="120" y="7"/>
                    <a:pt x="131" y="12"/>
                  </a:cubicBezTo>
                  <a:cubicBezTo>
                    <a:pt x="142" y="16"/>
                    <a:pt x="152" y="23"/>
                    <a:pt x="160" y="31"/>
                  </a:cubicBezTo>
                  <a:cubicBezTo>
                    <a:pt x="161" y="32"/>
                    <a:pt x="162" y="33"/>
                    <a:pt x="163" y="34"/>
                  </a:cubicBezTo>
                  <a:cubicBezTo>
                    <a:pt x="162" y="36"/>
                    <a:pt x="162" y="38"/>
                    <a:pt x="162" y="40"/>
                  </a:cubicBezTo>
                  <a:cubicBezTo>
                    <a:pt x="162" y="45"/>
                    <a:pt x="166" y="50"/>
                    <a:pt x="172" y="50"/>
                  </a:cubicBezTo>
                  <a:cubicBezTo>
                    <a:pt x="173" y="50"/>
                    <a:pt x="173" y="49"/>
                    <a:pt x="174" y="49"/>
                  </a:cubicBezTo>
                  <a:cubicBezTo>
                    <a:pt x="176" y="53"/>
                    <a:pt x="178" y="56"/>
                    <a:pt x="180" y="60"/>
                  </a:cubicBezTo>
                  <a:cubicBezTo>
                    <a:pt x="184" y="71"/>
                    <a:pt x="187" y="83"/>
                    <a:pt x="187" y="95"/>
                  </a:cubicBezTo>
                  <a:cubicBezTo>
                    <a:pt x="187" y="108"/>
                    <a:pt x="184" y="119"/>
                    <a:pt x="180" y="131"/>
                  </a:cubicBezTo>
                  <a:cubicBezTo>
                    <a:pt x="175" y="141"/>
                    <a:pt x="169" y="151"/>
                    <a:pt x="160" y="159"/>
                  </a:cubicBezTo>
                  <a:cubicBezTo>
                    <a:pt x="158" y="161"/>
                    <a:pt x="156" y="163"/>
                    <a:pt x="155" y="1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20" name="Freeform 25">
              <a:extLst>
                <a:ext uri="{FF2B5EF4-FFF2-40B4-BE49-F238E27FC236}">
                  <a16:creationId xmlns:a16="http://schemas.microsoft.com/office/drawing/2014/main" id="{279933F9-AE39-4CDB-8C30-B330ECB0334E}"/>
                </a:ext>
              </a:extLst>
            </p:cNvPr>
            <p:cNvSpPr>
              <a:spLocks noEditPoints="1"/>
            </p:cNvSpPr>
            <p:nvPr/>
          </p:nvSpPr>
          <p:spPr bwMode="auto">
            <a:xfrm>
              <a:off x="2272" y="849"/>
              <a:ext cx="153" cy="142"/>
            </a:xfrm>
            <a:custGeom>
              <a:avLst/>
              <a:gdLst>
                <a:gd name="T0" fmla="*/ 98 w 103"/>
                <a:gd name="T1" fmla="*/ 70 h 96"/>
                <a:gd name="T2" fmla="*/ 103 w 103"/>
                <a:gd name="T3" fmla="*/ 48 h 96"/>
                <a:gd name="T4" fmla="*/ 55 w 103"/>
                <a:gd name="T5" fmla="*/ 0 h 96"/>
                <a:gd name="T6" fmla="*/ 8 w 103"/>
                <a:gd name="T7" fmla="*/ 38 h 96"/>
                <a:gd name="T8" fmla="*/ 0 w 103"/>
                <a:gd name="T9" fmla="*/ 48 h 96"/>
                <a:gd name="T10" fmla="*/ 8 w 103"/>
                <a:gd name="T11" fmla="*/ 58 h 96"/>
                <a:gd name="T12" fmla="*/ 55 w 103"/>
                <a:gd name="T13" fmla="*/ 96 h 96"/>
                <a:gd name="T14" fmla="*/ 85 w 103"/>
                <a:gd name="T15" fmla="*/ 86 h 96"/>
                <a:gd name="T16" fmla="*/ 91 w 103"/>
                <a:gd name="T17" fmla="*/ 88 h 96"/>
                <a:gd name="T18" fmla="*/ 101 w 103"/>
                <a:gd name="T19" fmla="*/ 77 h 96"/>
                <a:gd name="T20" fmla="*/ 98 w 103"/>
                <a:gd name="T21" fmla="*/ 70 h 96"/>
                <a:gd name="T22" fmla="*/ 25 w 103"/>
                <a:gd name="T23" fmla="*/ 79 h 96"/>
                <a:gd name="T24" fmla="*/ 13 w 103"/>
                <a:gd name="T25" fmla="*/ 58 h 96"/>
                <a:gd name="T26" fmla="*/ 20 w 103"/>
                <a:gd name="T27" fmla="*/ 48 h 96"/>
                <a:gd name="T28" fmla="*/ 13 w 103"/>
                <a:gd name="T29" fmla="*/ 39 h 96"/>
                <a:gd name="T30" fmla="*/ 25 w 103"/>
                <a:gd name="T31" fmla="*/ 18 h 96"/>
                <a:gd name="T32" fmla="*/ 55 w 103"/>
                <a:gd name="T33" fmla="*/ 6 h 96"/>
                <a:gd name="T34" fmla="*/ 85 w 103"/>
                <a:gd name="T35" fmla="*/ 18 h 96"/>
                <a:gd name="T36" fmla="*/ 98 w 103"/>
                <a:gd name="T37" fmla="*/ 48 h 96"/>
                <a:gd name="T38" fmla="*/ 93 w 103"/>
                <a:gd name="T39" fmla="*/ 68 h 96"/>
                <a:gd name="T40" fmla="*/ 90 w 103"/>
                <a:gd name="T41" fmla="*/ 67 h 96"/>
                <a:gd name="T42" fmla="*/ 80 w 103"/>
                <a:gd name="T43" fmla="*/ 77 h 96"/>
                <a:gd name="T44" fmla="*/ 81 w 103"/>
                <a:gd name="T45" fmla="*/ 82 h 96"/>
                <a:gd name="T46" fmla="*/ 55 w 103"/>
                <a:gd name="T47" fmla="*/ 91 h 96"/>
                <a:gd name="T48" fmla="*/ 25 w 103"/>
                <a:gd name="T49"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96">
                  <a:moveTo>
                    <a:pt x="98" y="70"/>
                  </a:moveTo>
                  <a:cubicBezTo>
                    <a:pt x="101" y="64"/>
                    <a:pt x="103" y="56"/>
                    <a:pt x="103" y="48"/>
                  </a:cubicBezTo>
                  <a:cubicBezTo>
                    <a:pt x="103" y="22"/>
                    <a:pt x="81" y="0"/>
                    <a:pt x="55" y="0"/>
                  </a:cubicBezTo>
                  <a:cubicBezTo>
                    <a:pt x="32" y="0"/>
                    <a:pt x="13" y="17"/>
                    <a:pt x="8" y="38"/>
                  </a:cubicBezTo>
                  <a:cubicBezTo>
                    <a:pt x="4" y="39"/>
                    <a:pt x="0" y="43"/>
                    <a:pt x="0" y="48"/>
                  </a:cubicBezTo>
                  <a:cubicBezTo>
                    <a:pt x="0" y="53"/>
                    <a:pt x="4" y="58"/>
                    <a:pt x="8" y="58"/>
                  </a:cubicBezTo>
                  <a:cubicBezTo>
                    <a:pt x="13" y="80"/>
                    <a:pt x="32" y="96"/>
                    <a:pt x="55" y="96"/>
                  </a:cubicBezTo>
                  <a:cubicBezTo>
                    <a:pt x="66" y="96"/>
                    <a:pt x="77" y="92"/>
                    <a:pt x="85" y="86"/>
                  </a:cubicBezTo>
                  <a:cubicBezTo>
                    <a:pt x="86" y="87"/>
                    <a:pt x="88" y="88"/>
                    <a:pt x="91" y="88"/>
                  </a:cubicBezTo>
                  <a:cubicBezTo>
                    <a:pt x="96" y="88"/>
                    <a:pt x="101" y="83"/>
                    <a:pt x="101" y="77"/>
                  </a:cubicBezTo>
                  <a:cubicBezTo>
                    <a:pt x="101" y="75"/>
                    <a:pt x="99" y="72"/>
                    <a:pt x="98" y="70"/>
                  </a:cubicBezTo>
                  <a:close/>
                  <a:moveTo>
                    <a:pt x="25" y="79"/>
                  </a:moveTo>
                  <a:cubicBezTo>
                    <a:pt x="19" y="73"/>
                    <a:pt x="15" y="66"/>
                    <a:pt x="13" y="58"/>
                  </a:cubicBezTo>
                  <a:cubicBezTo>
                    <a:pt x="17" y="56"/>
                    <a:pt x="20" y="53"/>
                    <a:pt x="20" y="48"/>
                  </a:cubicBezTo>
                  <a:cubicBezTo>
                    <a:pt x="20" y="44"/>
                    <a:pt x="17" y="40"/>
                    <a:pt x="13" y="39"/>
                  </a:cubicBezTo>
                  <a:cubicBezTo>
                    <a:pt x="15" y="31"/>
                    <a:pt x="19" y="24"/>
                    <a:pt x="25" y="18"/>
                  </a:cubicBezTo>
                  <a:cubicBezTo>
                    <a:pt x="33" y="10"/>
                    <a:pt x="44" y="6"/>
                    <a:pt x="55" y="6"/>
                  </a:cubicBezTo>
                  <a:cubicBezTo>
                    <a:pt x="67" y="6"/>
                    <a:pt x="77" y="10"/>
                    <a:pt x="85" y="18"/>
                  </a:cubicBezTo>
                  <a:cubicBezTo>
                    <a:pt x="93" y="26"/>
                    <a:pt x="98" y="37"/>
                    <a:pt x="98" y="48"/>
                  </a:cubicBezTo>
                  <a:cubicBezTo>
                    <a:pt x="98" y="55"/>
                    <a:pt x="96" y="62"/>
                    <a:pt x="93" y="68"/>
                  </a:cubicBezTo>
                  <a:cubicBezTo>
                    <a:pt x="92" y="67"/>
                    <a:pt x="91" y="67"/>
                    <a:pt x="90" y="67"/>
                  </a:cubicBezTo>
                  <a:cubicBezTo>
                    <a:pt x="85" y="67"/>
                    <a:pt x="80" y="72"/>
                    <a:pt x="80" y="77"/>
                  </a:cubicBezTo>
                  <a:cubicBezTo>
                    <a:pt x="80" y="79"/>
                    <a:pt x="81" y="81"/>
                    <a:pt x="81" y="82"/>
                  </a:cubicBezTo>
                  <a:cubicBezTo>
                    <a:pt x="74" y="88"/>
                    <a:pt x="65" y="91"/>
                    <a:pt x="55" y="91"/>
                  </a:cubicBezTo>
                  <a:cubicBezTo>
                    <a:pt x="44" y="91"/>
                    <a:pt x="33" y="87"/>
                    <a:pt x="25"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grpSp>
        <p:nvGrpSpPr>
          <p:cNvPr id="21" name="Group 20">
            <a:extLst>
              <a:ext uri="{FF2B5EF4-FFF2-40B4-BE49-F238E27FC236}">
                <a16:creationId xmlns:a16="http://schemas.microsoft.com/office/drawing/2014/main" id="{5071E6B1-0F7E-4BD3-A2EE-F40C4335263F}"/>
              </a:ext>
            </a:extLst>
          </p:cNvPr>
          <p:cNvGrpSpPr/>
          <p:nvPr/>
        </p:nvGrpSpPr>
        <p:grpSpPr>
          <a:xfrm>
            <a:off x="6110421" y="1589390"/>
            <a:ext cx="680979" cy="656835"/>
            <a:chOff x="5592823" y="1161775"/>
            <a:chExt cx="806341" cy="777753"/>
          </a:xfrm>
        </p:grpSpPr>
        <p:pic>
          <p:nvPicPr>
            <p:cNvPr id="22" name="Graphic 21" descr="SQL Database R">
              <a:extLst>
                <a:ext uri="{FF2B5EF4-FFF2-40B4-BE49-F238E27FC236}">
                  <a16:creationId xmlns:a16="http://schemas.microsoft.com/office/drawing/2014/main" id="{E68A4B41-398C-41E5-A44A-5B945CE0A5E3}"/>
                </a:ext>
              </a:extLst>
            </p:cNvPr>
            <p:cNvPicPr>
              <a:picLocks noChangeAspect="1"/>
            </p:cNvPicPr>
            <p:nvPr/>
          </p:nvPicPr>
          <p:blipFill>
            <a:blip r:embed="rId3">
              <a:lum bright="1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23" name="Freeform: Shape 22">
              <a:extLst>
                <a:ext uri="{FF2B5EF4-FFF2-40B4-BE49-F238E27FC236}">
                  <a16:creationId xmlns:a16="http://schemas.microsoft.com/office/drawing/2014/main" id="{A1597B2D-4E6E-4565-8203-72BC92117838}"/>
                </a:ext>
              </a:extLst>
            </p:cNvPr>
            <p:cNvSpPr/>
            <p:nvPr/>
          </p:nvSpPr>
          <p:spPr bwMode="auto">
            <a:xfrm>
              <a:off x="5937201" y="1165650"/>
              <a:ext cx="461963" cy="333565"/>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294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31847" y="151402"/>
                  </a:lnTo>
                  <a:cubicBezTo>
                    <a:pt x="76674" y="170404"/>
                    <a:pt x="80337" y="170405"/>
                    <a:pt x="95074" y="186730"/>
                  </a:cubicBezTo>
                  <a:cubicBezTo>
                    <a:pt x="109811" y="203055"/>
                    <a:pt x="81360" y="289719"/>
                    <a:pt x="140494" y="304800"/>
                  </a:cubicBezTo>
                  <a:close/>
                </a:path>
              </a:pathLst>
            </a:cu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24" name="Graphic 23" descr=" SQL Server">
            <a:extLst>
              <a:ext uri="{FF2B5EF4-FFF2-40B4-BE49-F238E27FC236}">
                <a16:creationId xmlns:a16="http://schemas.microsoft.com/office/drawing/2014/main" id="{C68ECC30-66AF-4F52-9FC0-5A168BA6FE00}"/>
              </a:ext>
            </a:extLst>
          </p:cNvPr>
          <p:cNvPicPr>
            <a:picLocks noChangeAspect="1"/>
          </p:cNvPicPr>
          <p:nvPr/>
        </p:nvPicPr>
        <p:blipFill>
          <a:blip r:embed="rId5">
            <a:lum bright="8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37066" y="3983217"/>
            <a:ext cx="573646" cy="573646"/>
          </a:xfrm>
          <a:prstGeom prst="rect">
            <a:avLst/>
          </a:prstGeom>
        </p:spPr>
      </p:pic>
      <p:pic>
        <p:nvPicPr>
          <p:cNvPr id="25" name="Graphic 24" descr="Virtual Machines">
            <a:extLst>
              <a:ext uri="{FF2B5EF4-FFF2-40B4-BE49-F238E27FC236}">
                <a16:creationId xmlns:a16="http://schemas.microsoft.com/office/drawing/2014/main" id="{79EAC907-6549-420E-BDB4-F5B93052D217}"/>
              </a:ext>
            </a:extLst>
          </p:cNvPr>
          <p:cNvPicPr>
            <a:picLocks noChangeAspect="1"/>
          </p:cNvPicPr>
          <p:nvPr/>
        </p:nvPicPr>
        <p:blipFill>
          <a:blip r:embed="rId7">
            <a:lum bright="8000"/>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98154" y="5163695"/>
            <a:ext cx="466659" cy="466659"/>
          </a:xfrm>
          <a:prstGeom prst="rect">
            <a:avLst/>
          </a:prstGeom>
        </p:spPr>
      </p:pic>
      <p:pic>
        <p:nvPicPr>
          <p:cNvPr id="26" name="Graphic 25" descr="SQL Database">
            <a:extLst>
              <a:ext uri="{FF2B5EF4-FFF2-40B4-BE49-F238E27FC236}">
                <a16:creationId xmlns:a16="http://schemas.microsoft.com/office/drawing/2014/main" id="{308FD28A-10C7-40EC-BA04-41DEC509ECB3}"/>
              </a:ext>
            </a:extLst>
          </p:cNvPr>
          <p:cNvPicPr>
            <a:picLocks noChangeAspect="1"/>
          </p:cNvPicPr>
          <p:nvPr/>
        </p:nvPicPr>
        <p:blipFill>
          <a:blip r:embed="rId9">
            <a:lum bright="8000"/>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582358" y="5366163"/>
            <a:ext cx="308330" cy="308330"/>
          </a:xfrm>
          <a:prstGeom prst="rect">
            <a:avLst/>
          </a:prstGeom>
        </p:spPr>
      </p:pic>
    </p:spTree>
    <p:extLst>
      <p:ext uri="{BB962C8B-B14F-4D97-AF65-F5344CB8AC3E}">
        <p14:creationId xmlns:p14="http://schemas.microsoft.com/office/powerpoint/2010/main" val="235437797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A closer look… Best for</a:t>
            </a:r>
          </a:p>
        </p:txBody>
      </p:sp>
      <p:graphicFrame>
        <p:nvGraphicFramePr>
          <p:cNvPr id="7" name="Diagram 6">
            <a:extLst>
              <a:ext uri="{FF2B5EF4-FFF2-40B4-BE49-F238E27FC236}">
                <a16:creationId xmlns:a16="http://schemas.microsoft.com/office/drawing/2014/main" id="{18FFD0BA-ED18-4F81-8C66-3DA154E8B166}"/>
              </a:ext>
            </a:extLst>
          </p:cNvPr>
          <p:cNvGraphicFramePr/>
          <p:nvPr>
            <p:extLst>
              <p:ext uri="{D42A27DB-BD31-4B8C-83A1-F6EECF244321}">
                <p14:modId xmlns:p14="http://schemas.microsoft.com/office/powerpoint/2010/main" val="372902835"/>
              </p:ext>
            </p:extLst>
          </p:nvPr>
        </p:nvGraphicFramePr>
        <p:xfrm>
          <a:off x="856791" y="1266623"/>
          <a:ext cx="10864397"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6419644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923330"/>
          </a:xfrm>
        </p:spPr>
        <p:txBody>
          <a:bodyPr/>
          <a:lstStyle/>
          <a:p>
            <a:r>
              <a:rPr lang="en-US"/>
              <a:t>Azure SQL Database developer’s intelligent cloud database service</a:t>
            </a:r>
          </a:p>
        </p:txBody>
      </p:sp>
      <p:graphicFrame>
        <p:nvGraphicFramePr>
          <p:cNvPr id="5" name="Content Placeholder 4">
            <a:extLst>
              <a:ext uri="{FF2B5EF4-FFF2-40B4-BE49-F238E27FC236}">
                <a16:creationId xmlns:a16="http://schemas.microsoft.com/office/drawing/2014/main" id="{18EC32A2-8227-4247-98A1-5CB56E85CDE5}"/>
              </a:ext>
            </a:extLst>
          </p:cNvPr>
          <p:cNvGraphicFramePr>
            <a:graphicFrameLocks noGrp="1"/>
          </p:cNvGraphicFramePr>
          <p:nvPr>
            <p:ph sz="quarter" idx="13"/>
            <p:extLst>
              <p:ext uri="{D42A27DB-BD31-4B8C-83A1-F6EECF244321}">
                <p14:modId xmlns:p14="http://schemas.microsoft.com/office/powerpoint/2010/main" val="1910945529"/>
              </p:ext>
            </p:extLst>
          </p:nvPr>
        </p:nvGraphicFramePr>
        <p:xfrm>
          <a:off x="655638" y="1408114"/>
          <a:ext cx="54403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a:extLst>
              <a:ext uri="{FF2B5EF4-FFF2-40B4-BE49-F238E27FC236}">
                <a16:creationId xmlns:a16="http://schemas.microsoft.com/office/drawing/2014/main" id="{3B63C99C-CF6A-4D3A-B915-D76E2B3A248C}"/>
              </a:ext>
            </a:extLst>
          </p:cNvPr>
          <p:cNvGrpSpPr/>
          <p:nvPr/>
        </p:nvGrpSpPr>
        <p:grpSpPr>
          <a:xfrm rot="1056614">
            <a:off x="7184426" y="1154245"/>
            <a:ext cx="4312370" cy="5327387"/>
            <a:chOff x="3903345" y="742462"/>
            <a:chExt cx="4363465" cy="5418308"/>
          </a:xfrm>
        </p:grpSpPr>
        <p:grpSp>
          <p:nvGrpSpPr>
            <p:cNvPr id="7" name="Group 11">
              <a:extLst>
                <a:ext uri="{FF2B5EF4-FFF2-40B4-BE49-F238E27FC236}">
                  <a16:creationId xmlns:a16="http://schemas.microsoft.com/office/drawing/2014/main" id="{F7E6ECA8-2816-4383-8732-73A0E5BD1B94}"/>
                </a:ext>
              </a:extLst>
            </p:cNvPr>
            <p:cNvGrpSpPr>
              <a:grpSpLocks noChangeAspect="1"/>
            </p:cNvGrpSpPr>
            <p:nvPr/>
          </p:nvGrpSpPr>
          <p:grpSpPr bwMode="auto">
            <a:xfrm>
              <a:off x="5758372" y="3794104"/>
              <a:ext cx="375728" cy="409276"/>
              <a:chOff x="3861" y="4291602"/>
              <a:chExt cx="112" cy="244433"/>
            </a:xfrm>
          </p:grpSpPr>
          <p:sp>
            <p:nvSpPr>
              <p:cNvPr id="211" name="Freeform 12">
                <a:extLst>
                  <a:ext uri="{FF2B5EF4-FFF2-40B4-BE49-F238E27FC236}">
                    <a16:creationId xmlns:a16="http://schemas.microsoft.com/office/drawing/2014/main" id="{FB1EFD84-9274-447D-8773-066DD7097843}"/>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53535"/>
                  </a:solidFill>
                  <a:latin typeface="Segoe UI Semilight"/>
                </a:endParaRPr>
              </a:p>
            </p:txBody>
          </p:sp>
          <p:sp>
            <p:nvSpPr>
              <p:cNvPr id="212" name="Line 13">
                <a:extLst>
                  <a:ext uri="{FF2B5EF4-FFF2-40B4-BE49-F238E27FC236}">
                    <a16:creationId xmlns:a16="http://schemas.microsoft.com/office/drawing/2014/main" id="{E067C0A8-DC78-4A6A-A133-D989F37970FC}"/>
                  </a:ext>
                </a:extLst>
              </p:cNvPr>
              <p:cNvSpPr>
                <a:spLocks noChangeShapeType="1"/>
              </p:cNvSpPr>
              <p:nvPr/>
            </p:nvSpPr>
            <p:spPr bwMode="auto">
              <a:xfrm>
                <a:off x="3874" y="4469918"/>
                <a:ext cx="84" cy="0"/>
              </a:xfrm>
              <a:prstGeom prst="line">
                <a:avLst/>
              </a:prstGeom>
              <a:noFill/>
              <a:ln w="222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53535"/>
                  </a:solidFill>
                  <a:latin typeface="Segoe UI Semilight"/>
                </a:endParaRPr>
              </a:p>
            </p:txBody>
          </p:sp>
          <p:sp>
            <p:nvSpPr>
              <p:cNvPr id="213" name="Line 14">
                <a:extLst>
                  <a:ext uri="{FF2B5EF4-FFF2-40B4-BE49-F238E27FC236}">
                    <a16:creationId xmlns:a16="http://schemas.microsoft.com/office/drawing/2014/main" id="{0FFCC7B7-B7F7-4C04-9908-3B76262D3F49}"/>
                  </a:ext>
                </a:extLst>
              </p:cNvPr>
              <p:cNvSpPr>
                <a:spLocks noChangeShapeType="1"/>
              </p:cNvSpPr>
              <p:nvPr/>
            </p:nvSpPr>
            <p:spPr bwMode="auto">
              <a:xfrm>
                <a:off x="3923" y="4335680"/>
                <a:ext cx="16" cy="0"/>
              </a:xfrm>
              <a:prstGeom prst="line">
                <a:avLst/>
              </a:prstGeom>
              <a:noFill/>
              <a:ln w="222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53535"/>
                  </a:solidFill>
                  <a:latin typeface="Segoe UI Semilight"/>
                </a:endParaRPr>
              </a:p>
            </p:txBody>
          </p:sp>
          <p:sp>
            <p:nvSpPr>
              <p:cNvPr id="214" name="Line 15">
                <a:extLst>
                  <a:ext uri="{FF2B5EF4-FFF2-40B4-BE49-F238E27FC236}">
                    <a16:creationId xmlns:a16="http://schemas.microsoft.com/office/drawing/2014/main" id="{680F7ACB-BD21-419E-A8CC-E454F531231E}"/>
                  </a:ext>
                </a:extLst>
              </p:cNvPr>
              <p:cNvSpPr>
                <a:spLocks noChangeShapeType="1"/>
              </p:cNvSpPr>
              <p:nvPr/>
            </p:nvSpPr>
            <p:spPr bwMode="auto">
              <a:xfrm>
                <a:off x="3923" y="4379758"/>
                <a:ext cx="16" cy="0"/>
              </a:xfrm>
              <a:prstGeom prst="line">
                <a:avLst/>
              </a:prstGeom>
              <a:noFill/>
              <a:ln w="222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53535"/>
                  </a:solidFill>
                  <a:latin typeface="Segoe UI Semilight"/>
                </a:endParaRPr>
              </a:p>
            </p:txBody>
          </p:sp>
          <p:sp>
            <p:nvSpPr>
              <p:cNvPr id="215" name="Line 16">
                <a:extLst>
                  <a:ext uri="{FF2B5EF4-FFF2-40B4-BE49-F238E27FC236}">
                    <a16:creationId xmlns:a16="http://schemas.microsoft.com/office/drawing/2014/main" id="{62703029-5B14-4FAB-ABFC-443C02D2530D}"/>
                  </a:ext>
                </a:extLst>
              </p:cNvPr>
              <p:cNvSpPr>
                <a:spLocks noChangeShapeType="1"/>
              </p:cNvSpPr>
              <p:nvPr/>
            </p:nvSpPr>
            <p:spPr bwMode="auto">
              <a:xfrm>
                <a:off x="3923" y="4425840"/>
                <a:ext cx="25" cy="0"/>
              </a:xfrm>
              <a:prstGeom prst="line">
                <a:avLst/>
              </a:prstGeom>
              <a:noFill/>
              <a:ln w="222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53535"/>
                  </a:solidFill>
                  <a:latin typeface="Segoe UI Semilight"/>
                </a:endParaRPr>
              </a:p>
            </p:txBody>
          </p:sp>
          <p:sp>
            <p:nvSpPr>
              <p:cNvPr id="216" name="Line 17">
                <a:extLst>
                  <a:ext uri="{FF2B5EF4-FFF2-40B4-BE49-F238E27FC236}">
                    <a16:creationId xmlns:a16="http://schemas.microsoft.com/office/drawing/2014/main" id="{79EEDEFC-6874-49A0-922E-4FAEE269DD0E}"/>
                  </a:ext>
                </a:extLst>
              </p:cNvPr>
              <p:cNvSpPr>
                <a:spLocks noChangeShapeType="1"/>
              </p:cNvSpPr>
              <p:nvPr/>
            </p:nvSpPr>
            <p:spPr bwMode="auto">
              <a:xfrm>
                <a:off x="3883" y="4291602"/>
                <a:ext cx="68" cy="0"/>
              </a:xfrm>
              <a:prstGeom prst="line">
                <a:avLst/>
              </a:prstGeom>
              <a:noFill/>
              <a:ln w="222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53535"/>
                  </a:solidFill>
                  <a:latin typeface="Segoe UI Semilight"/>
                </a:endParaRPr>
              </a:p>
            </p:txBody>
          </p:sp>
        </p:grpSp>
        <p:grpSp>
          <p:nvGrpSpPr>
            <p:cNvPr id="8" name="Group 7">
              <a:extLst>
                <a:ext uri="{FF2B5EF4-FFF2-40B4-BE49-F238E27FC236}">
                  <a16:creationId xmlns:a16="http://schemas.microsoft.com/office/drawing/2014/main" id="{34B52F03-D4A1-49E4-A653-0EBFAE2DB5D7}"/>
                </a:ext>
              </a:extLst>
            </p:cNvPr>
            <p:cNvGrpSpPr/>
            <p:nvPr/>
          </p:nvGrpSpPr>
          <p:grpSpPr>
            <a:xfrm>
              <a:off x="4198330" y="4332528"/>
              <a:ext cx="596266" cy="593802"/>
              <a:chOff x="7643146" y="2995601"/>
              <a:chExt cx="270958" cy="269839"/>
            </a:xfrm>
          </p:grpSpPr>
          <p:sp>
            <p:nvSpPr>
              <p:cNvPr id="190" name="Freeform 78">
                <a:extLst>
                  <a:ext uri="{FF2B5EF4-FFF2-40B4-BE49-F238E27FC236}">
                    <a16:creationId xmlns:a16="http://schemas.microsoft.com/office/drawing/2014/main" id="{CAFFC95F-3C93-4465-BE94-A8AACF06C344}"/>
                  </a:ext>
                </a:extLst>
              </p:cNvPr>
              <p:cNvSpPr>
                <a:spLocks/>
              </p:cNvSpPr>
              <p:nvPr/>
            </p:nvSpPr>
            <p:spPr bwMode="auto">
              <a:xfrm>
                <a:off x="7676736" y="3031430"/>
                <a:ext cx="201539" cy="200420"/>
              </a:xfrm>
              <a:custGeom>
                <a:avLst/>
                <a:gdLst>
                  <a:gd name="T0" fmla="*/ 75 w 83"/>
                  <a:gd name="T1" fmla="*/ 83 h 83"/>
                  <a:gd name="T2" fmla="*/ 8 w 83"/>
                  <a:gd name="T3" fmla="*/ 83 h 83"/>
                  <a:gd name="T4" fmla="*/ 0 w 83"/>
                  <a:gd name="T5" fmla="*/ 75 h 83"/>
                  <a:gd name="T6" fmla="*/ 0 w 83"/>
                  <a:gd name="T7" fmla="*/ 8 h 83"/>
                  <a:gd name="T8" fmla="*/ 8 w 83"/>
                  <a:gd name="T9" fmla="*/ 0 h 83"/>
                  <a:gd name="T10" fmla="*/ 75 w 83"/>
                  <a:gd name="T11" fmla="*/ 0 h 83"/>
                  <a:gd name="T12" fmla="*/ 83 w 83"/>
                  <a:gd name="T13" fmla="*/ 8 h 83"/>
                  <a:gd name="T14" fmla="*/ 83 w 83"/>
                  <a:gd name="T15" fmla="*/ 75 h 83"/>
                  <a:gd name="T16" fmla="*/ 75 w 8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3">
                    <a:moveTo>
                      <a:pt x="75" y="83"/>
                    </a:moveTo>
                    <a:cubicBezTo>
                      <a:pt x="8" y="83"/>
                      <a:pt x="8" y="83"/>
                      <a:pt x="8" y="83"/>
                    </a:cubicBezTo>
                    <a:cubicBezTo>
                      <a:pt x="4" y="83"/>
                      <a:pt x="0" y="79"/>
                      <a:pt x="0" y="75"/>
                    </a:cubicBezTo>
                    <a:cubicBezTo>
                      <a:pt x="0" y="8"/>
                      <a:pt x="0" y="8"/>
                      <a:pt x="0" y="8"/>
                    </a:cubicBezTo>
                    <a:cubicBezTo>
                      <a:pt x="0" y="3"/>
                      <a:pt x="4" y="0"/>
                      <a:pt x="8" y="0"/>
                    </a:cubicBezTo>
                    <a:cubicBezTo>
                      <a:pt x="75" y="0"/>
                      <a:pt x="75" y="0"/>
                      <a:pt x="75" y="0"/>
                    </a:cubicBezTo>
                    <a:cubicBezTo>
                      <a:pt x="80" y="0"/>
                      <a:pt x="83" y="3"/>
                      <a:pt x="83" y="8"/>
                    </a:cubicBezTo>
                    <a:cubicBezTo>
                      <a:pt x="83" y="75"/>
                      <a:pt x="83" y="75"/>
                      <a:pt x="83" y="75"/>
                    </a:cubicBezTo>
                    <a:cubicBezTo>
                      <a:pt x="83" y="79"/>
                      <a:pt x="80" y="83"/>
                      <a:pt x="75" y="83"/>
                    </a:cubicBezTo>
                    <a:close/>
                  </a:path>
                </a:pathLst>
              </a:cu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191" name="Line 79">
                <a:extLst>
                  <a:ext uri="{FF2B5EF4-FFF2-40B4-BE49-F238E27FC236}">
                    <a16:creationId xmlns:a16="http://schemas.microsoft.com/office/drawing/2014/main" id="{CCB0D9B2-E4E1-4138-8CA2-B7D05A68AE3C}"/>
                  </a:ext>
                </a:extLst>
              </p:cNvPr>
              <p:cNvSpPr>
                <a:spLocks noChangeShapeType="1"/>
              </p:cNvSpPr>
              <p:nvPr/>
            </p:nvSpPr>
            <p:spPr bwMode="auto">
              <a:xfrm>
                <a:off x="7709206" y="2995601"/>
                <a:ext cx="0" cy="31351"/>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192" name="Line 80">
                <a:extLst>
                  <a:ext uri="{FF2B5EF4-FFF2-40B4-BE49-F238E27FC236}">
                    <a16:creationId xmlns:a16="http://schemas.microsoft.com/office/drawing/2014/main" id="{DDA4195D-9635-4CF7-A007-BD3ADC3184E7}"/>
                  </a:ext>
                </a:extLst>
              </p:cNvPr>
              <p:cNvSpPr>
                <a:spLocks noChangeShapeType="1"/>
              </p:cNvSpPr>
              <p:nvPr/>
            </p:nvSpPr>
            <p:spPr bwMode="auto">
              <a:xfrm>
                <a:off x="7742796" y="2995601"/>
                <a:ext cx="0" cy="31351"/>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193" name="Line 81">
                <a:extLst>
                  <a:ext uri="{FF2B5EF4-FFF2-40B4-BE49-F238E27FC236}">
                    <a16:creationId xmlns:a16="http://schemas.microsoft.com/office/drawing/2014/main" id="{22104048-613F-410F-A769-447F1DE4DF54}"/>
                  </a:ext>
                </a:extLst>
              </p:cNvPr>
              <p:cNvSpPr>
                <a:spLocks noChangeShapeType="1"/>
              </p:cNvSpPr>
              <p:nvPr/>
            </p:nvSpPr>
            <p:spPr bwMode="auto">
              <a:xfrm>
                <a:off x="7778625" y="2995601"/>
                <a:ext cx="0" cy="31351"/>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194" name="Line 82">
                <a:extLst>
                  <a:ext uri="{FF2B5EF4-FFF2-40B4-BE49-F238E27FC236}">
                    <a16:creationId xmlns:a16="http://schemas.microsoft.com/office/drawing/2014/main" id="{D48D37CD-3739-41A8-AE07-5CB97D3B9430}"/>
                  </a:ext>
                </a:extLst>
              </p:cNvPr>
              <p:cNvSpPr>
                <a:spLocks noChangeShapeType="1"/>
              </p:cNvSpPr>
              <p:nvPr/>
            </p:nvSpPr>
            <p:spPr bwMode="auto">
              <a:xfrm>
                <a:off x="7812215" y="2995601"/>
                <a:ext cx="0" cy="31351"/>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195" name="Line 83">
                <a:extLst>
                  <a:ext uri="{FF2B5EF4-FFF2-40B4-BE49-F238E27FC236}">
                    <a16:creationId xmlns:a16="http://schemas.microsoft.com/office/drawing/2014/main" id="{5DABD428-E38E-4BCF-BEB1-24792FF42503}"/>
                  </a:ext>
                </a:extLst>
              </p:cNvPr>
              <p:cNvSpPr>
                <a:spLocks noChangeShapeType="1"/>
              </p:cNvSpPr>
              <p:nvPr/>
            </p:nvSpPr>
            <p:spPr bwMode="auto">
              <a:xfrm>
                <a:off x="7846924" y="2995601"/>
                <a:ext cx="0" cy="31351"/>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196" name="Line 84">
                <a:extLst>
                  <a:ext uri="{FF2B5EF4-FFF2-40B4-BE49-F238E27FC236}">
                    <a16:creationId xmlns:a16="http://schemas.microsoft.com/office/drawing/2014/main" id="{F95F6199-2886-4454-9A8A-3C6AE61CE8CF}"/>
                  </a:ext>
                </a:extLst>
              </p:cNvPr>
              <p:cNvSpPr>
                <a:spLocks noChangeShapeType="1"/>
              </p:cNvSpPr>
              <p:nvPr/>
            </p:nvSpPr>
            <p:spPr bwMode="auto">
              <a:xfrm flipH="1">
                <a:off x="7882753" y="3060542"/>
                <a:ext cx="31351" cy="0"/>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197" name="Line 85">
                <a:extLst>
                  <a:ext uri="{FF2B5EF4-FFF2-40B4-BE49-F238E27FC236}">
                    <a16:creationId xmlns:a16="http://schemas.microsoft.com/office/drawing/2014/main" id="{213B51B9-A1CE-4573-931F-88DAEAF88FF5}"/>
                  </a:ext>
                </a:extLst>
              </p:cNvPr>
              <p:cNvSpPr>
                <a:spLocks noChangeShapeType="1"/>
              </p:cNvSpPr>
              <p:nvPr/>
            </p:nvSpPr>
            <p:spPr bwMode="auto">
              <a:xfrm flipH="1">
                <a:off x="7882753" y="3096371"/>
                <a:ext cx="31351" cy="0"/>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198" name="Line 86">
                <a:extLst>
                  <a:ext uri="{FF2B5EF4-FFF2-40B4-BE49-F238E27FC236}">
                    <a16:creationId xmlns:a16="http://schemas.microsoft.com/office/drawing/2014/main" id="{CD1A194D-6F30-477E-B70D-0AACCA86CD55}"/>
                  </a:ext>
                </a:extLst>
              </p:cNvPr>
              <p:cNvSpPr>
                <a:spLocks noChangeShapeType="1"/>
              </p:cNvSpPr>
              <p:nvPr/>
            </p:nvSpPr>
            <p:spPr bwMode="auto">
              <a:xfrm flipH="1">
                <a:off x="7882753" y="3129961"/>
                <a:ext cx="31351" cy="0"/>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199" name="Line 87">
                <a:extLst>
                  <a:ext uri="{FF2B5EF4-FFF2-40B4-BE49-F238E27FC236}">
                    <a16:creationId xmlns:a16="http://schemas.microsoft.com/office/drawing/2014/main" id="{5409EE35-EADE-4925-A0CD-ED415AB3E6D0}"/>
                  </a:ext>
                </a:extLst>
              </p:cNvPr>
              <p:cNvSpPr>
                <a:spLocks noChangeShapeType="1"/>
              </p:cNvSpPr>
              <p:nvPr/>
            </p:nvSpPr>
            <p:spPr bwMode="auto">
              <a:xfrm flipH="1">
                <a:off x="7882753" y="3164670"/>
                <a:ext cx="31351" cy="0"/>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200" name="Line 88">
                <a:extLst>
                  <a:ext uri="{FF2B5EF4-FFF2-40B4-BE49-F238E27FC236}">
                    <a16:creationId xmlns:a16="http://schemas.microsoft.com/office/drawing/2014/main" id="{76E7EE91-D6D3-45BE-A5F4-02AC57C111FE}"/>
                  </a:ext>
                </a:extLst>
              </p:cNvPr>
              <p:cNvSpPr>
                <a:spLocks noChangeShapeType="1"/>
              </p:cNvSpPr>
              <p:nvPr/>
            </p:nvSpPr>
            <p:spPr bwMode="auto">
              <a:xfrm flipH="1">
                <a:off x="7882753" y="3200500"/>
                <a:ext cx="31351" cy="0"/>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201" name="Line 89">
                <a:extLst>
                  <a:ext uri="{FF2B5EF4-FFF2-40B4-BE49-F238E27FC236}">
                    <a16:creationId xmlns:a16="http://schemas.microsoft.com/office/drawing/2014/main" id="{A20D1E17-CE3C-4B2E-B03C-4013A6DA7737}"/>
                  </a:ext>
                </a:extLst>
              </p:cNvPr>
              <p:cNvSpPr>
                <a:spLocks noChangeShapeType="1"/>
              </p:cNvSpPr>
              <p:nvPr/>
            </p:nvSpPr>
            <p:spPr bwMode="auto">
              <a:xfrm flipH="1">
                <a:off x="7643146" y="3060542"/>
                <a:ext cx="31351" cy="0"/>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202" name="Line 90">
                <a:extLst>
                  <a:ext uri="{FF2B5EF4-FFF2-40B4-BE49-F238E27FC236}">
                    <a16:creationId xmlns:a16="http://schemas.microsoft.com/office/drawing/2014/main" id="{63C5C37C-4794-496B-8CDE-185F518D1499}"/>
                  </a:ext>
                </a:extLst>
              </p:cNvPr>
              <p:cNvSpPr>
                <a:spLocks noChangeShapeType="1"/>
              </p:cNvSpPr>
              <p:nvPr/>
            </p:nvSpPr>
            <p:spPr bwMode="auto">
              <a:xfrm flipH="1">
                <a:off x="7643146" y="3096371"/>
                <a:ext cx="31351" cy="0"/>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203" name="Line 91">
                <a:extLst>
                  <a:ext uri="{FF2B5EF4-FFF2-40B4-BE49-F238E27FC236}">
                    <a16:creationId xmlns:a16="http://schemas.microsoft.com/office/drawing/2014/main" id="{2B561149-1587-40CA-85A2-DE99A4E20FC1}"/>
                  </a:ext>
                </a:extLst>
              </p:cNvPr>
              <p:cNvSpPr>
                <a:spLocks noChangeShapeType="1"/>
              </p:cNvSpPr>
              <p:nvPr/>
            </p:nvSpPr>
            <p:spPr bwMode="auto">
              <a:xfrm flipH="1">
                <a:off x="7643146" y="3129961"/>
                <a:ext cx="31351" cy="0"/>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204" name="Line 92">
                <a:extLst>
                  <a:ext uri="{FF2B5EF4-FFF2-40B4-BE49-F238E27FC236}">
                    <a16:creationId xmlns:a16="http://schemas.microsoft.com/office/drawing/2014/main" id="{AB384514-2D76-4DA4-9738-9F42B33ED3C8}"/>
                  </a:ext>
                </a:extLst>
              </p:cNvPr>
              <p:cNvSpPr>
                <a:spLocks noChangeShapeType="1"/>
              </p:cNvSpPr>
              <p:nvPr/>
            </p:nvSpPr>
            <p:spPr bwMode="auto">
              <a:xfrm flipH="1">
                <a:off x="7643146" y="3164670"/>
                <a:ext cx="31351" cy="0"/>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205" name="Line 93">
                <a:extLst>
                  <a:ext uri="{FF2B5EF4-FFF2-40B4-BE49-F238E27FC236}">
                    <a16:creationId xmlns:a16="http://schemas.microsoft.com/office/drawing/2014/main" id="{6B9E410C-AB81-4BC9-93C0-930F974A2E33}"/>
                  </a:ext>
                </a:extLst>
              </p:cNvPr>
              <p:cNvSpPr>
                <a:spLocks noChangeShapeType="1"/>
              </p:cNvSpPr>
              <p:nvPr/>
            </p:nvSpPr>
            <p:spPr bwMode="auto">
              <a:xfrm flipH="1">
                <a:off x="7643146" y="3200500"/>
                <a:ext cx="31351" cy="0"/>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206" name="Line 94">
                <a:extLst>
                  <a:ext uri="{FF2B5EF4-FFF2-40B4-BE49-F238E27FC236}">
                    <a16:creationId xmlns:a16="http://schemas.microsoft.com/office/drawing/2014/main" id="{90FA36F4-3C02-4909-8C98-8768EF10C8F2}"/>
                  </a:ext>
                </a:extLst>
              </p:cNvPr>
              <p:cNvSpPr>
                <a:spLocks noChangeShapeType="1"/>
              </p:cNvSpPr>
              <p:nvPr/>
            </p:nvSpPr>
            <p:spPr bwMode="auto">
              <a:xfrm>
                <a:off x="7709206" y="3234089"/>
                <a:ext cx="0" cy="31351"/>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207" name="Line 95">
                <a:extLst>
                  <a:ext uri="{FF2B5EF4-FFF2-40B4-BE49-F238E27FC236}">
                    <a16:creationId xmlns:a16="http://schemas.microsoft.com/office/drawing/2014/main" id="{DB770517-1181-4509-A5B9-A473B3629102}"/>
                  </a:ext>
                </a:extLst>
              </p:cNvPr>
              <p:cNvSpPr>
                <a:spLocks noChangeShapeType="1"/>
              </p:cNvSpPr>
              <p:nvPr/>
            </p:nvSpPr>
            <p:spPr bwMode="auto">
              <a:xfrm>
                <a:off x="7742796" y="3234089"/>
                <a:ext cx="0" cy="31351"/>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208" name="Line 96">
                <a:extLst>
                  <a:ext uri="{FF2B5EF4-FFF2-40B4-BE49-F238E27FC236}">
                    <a16:creationId xmlns:a16="http://schemas.microsoft.com/office/drawing/2014/main" id="{00F27CC0-58C5-47B2-BEB1-69CF8B445C3B}"/>
                  </a:ext>
                </a:extLst>
              </p:cNvPr>
              <p:cNvSpPr>
                <a:spLocks noChangeShapeType="1"/>
              </p:cNvSpPr>
              <p:nvPr/>
            </p:nvSpPr>
            <p:spPr bwMode="auto">
              <a:xfrm>
                <a:off x="7778625" y="3234089"/>
                <a:ext cx="0" cy="31351"/>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209" name="Line 97">
                <a:extLst>
                  <a:ext uri="{FF2B5EF4-FFF2-40B4-BE49-F238E27FC236}">
                    <a16:creationId xmlns:a16="http://schemas.microsoft.com/office/drawing/2014/main" id="{4B97ADBB-F09F-4A1A-96EB-3D1FAF622DB3}"/>
                  </a:ext>
                </a:extLst>
              </p:cNvPr>
              <p:cNvSpPr>
                <a:spLocks noChangeShapeType="1"/>
              </p:cNvSpPr>
              <p:nvPr/>
            </p:nvSpPr>
            <p:spPr bwMode="auto">
              <a:xfrm>
                <a:off x="7812215" y="3234089"/>
                <a:ext cx="0" cy="31351"/>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210" name="Line 98">
                <a:extLst>
                  <a:ext uri="{FF2B5EF4-FFF2-40B4-BE49-F238E27FC236}">
                    <a16:creationId xmlns:a16="http://schemas.microsoft.com/office/drawing/2014/main" id="{07857390-DB21-45A3-87CB-1E4E23B3C455}"/>
                  </a:ext>
                </a:extLst>
              </p:cNvPr>
              <p:cNvSpPr>
                <a:spLocks noChangeShapeType="1"/>
              </p:cNvSpPr>
              <p:nvPr/>
            </p:nvSpPr>
            <p:spPr bwMode="auto">
              <a:xfrm>
                <a:off x="7846924" y="3234089"/>
                <a:ext cx="0" cy="31351"/>
              </a:xfrm>
              <a:prstGeom prst="line">
                <a:avLst/>
              </a:pr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grpSp>
        <p:grpSp>
          <p:nvGrpSpPr>
            <p:cNvPr id="9" name="Group 8">
              <a:extLst>
                <a:ext uri="{FF2B5EF4-FFF2-40B4-BE49-F238E27FC236}">
                  <a16:creationId xmlns:a16="http://schemas.microsoft.com/office/drawing/2014/main" id="{34C272E7-6E04-4902-849A-16058487AF78}"/>
                </a:ext>
              </a:extLst>
            </p:cNvPr>
            <p:cNvGrpSpPr/>
            <p:nvPr/>
          </p:nvGrpSpPr>
          <p:grpSpPr>
            <a:xfrm>
              <a:off x="6801489" y="3222626"/>
              <a:ext cx="462752" cy="286224"/>
              <a:chOff x="855228" y="693135"/>
              <a:chExt cx="814784" cy="503965"/>
            </a:xfrm>
          </p:grpSpPr>
          <p:grpSp>
            <p:nvGrpSpPr>
              <p:cNvPr id="163" name="Group 4">
                <a:extLst>
                  <a:ext uri="{FF2B5EF4-FFF2-40B4-BE49-F238E27FC236}">
                    <a16:creationId xmlns:a16="http://schemas.microsoft.com/office/drawing/2014/main" id="{4E93630D-5CA7-450C-8B93-C0F73902102E}"/>
                  </a:ext>
                </a:extLst>
              </p:cNvPr>
              <p:cNvGrpSpPr>
                <a:grpSpLocks noChangeAspect="1"/>
              </p:cNvGrpSpPr>
              <p:nvPr/>
            </p:nvGrpSpPr>
            <p:grpSpPr bwMode="auto">
              <a:xfrm>
                <a:off x="1118865" y="693135"/>
                <a:ext cx="287510" cy="503666"/>
                <a:chOff x="866" y="3346"/>
                <a:chExt cx="137" cy="240"/>
              </a:xfrm>
            </p:grpSpPr>
            <p:sp>
              <p:nvSpPr>
                <p:cNvPr id="186" name="Freeform 5">
                  <a:extLst>
                    <a:ext uri="{FF2B5EF4-FFF2-40B4-BE49-F238E27FC236}">
                      <a16:creationId xmlns:a16="http://schemas.microsoft.com/office/drawing/2014/main" id="{3C0707D5-B6A1-4596-873D-53E28265F807}"/>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87" name="Freeform 6">
                  <a:extLst>
                    <a:ext uri="{FF2B5EF4-FFF2-40B4-BE49-F238E27FC236}">
                      <a16:creationId xmlns:a16="http://schemas.microsoft.com/office/drawing/2014/main" id="{B2124A93-8797-4083-AC2C-DA8268BB333F}"/>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88" name="Freeform 7">
                  <a:extLst>
                    <a:ext uri="{FF2B5EF4-FFF2-40B4-BE49-F238E27FC236}">
                      <a16:creationId xmlns:a16="http://schemas.microsoft.com/office/drawing/2014/main" id="{39E95266-A50C-4EEE-BFA1-46B9D358091A}"/>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89" name="Freeform 8">
                  <a:extLst>
                    <a:ext uri="{FF2B5EF4-FFF2-40B4-BE49-F238E27FC236}">
                      <a16:creationId xmlns:a16="http://schemas.microsoft.com/office/drawing/2014/main" id="{D7703F39-9456-431F-9E37-2509027502BD}"/>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grpSp>
          <p:grpSp>
            <p:nvGrpSpPr>
              <p:cNvPr id="164" name="Group 163">
                <a:extLst>
                  <a:ext uri="{FF2B5EF4-FFF2-40B4-BE49-F238E27FC236}">
                    <a16:creationId xmlns:a16="http://schemas.microsoft.com/office/drawing/2014/main" id="{78C108D8-9D1F-4B59-9FE9-8AB3F8C66769}"/>
                  </a:ext>
                </a:extLst>
              </p:cNvPr>
              <p:cNvGrpSpPr/>
              <p:nvPr/>
            </p:nvGrpSpPr>
            <p:grpSpPr>
              <a:xfrm>
                <a:off x="855228" y="788559"/>
                <a:ext cx="814784" cy="408541"/>
                <a:chOff x="3398731" y="2302049"/>
                <a:chExt cx="814784" cy="408541"/>
              </a:xfrm>
            </p:grpSpPr>
            <p:sp>
              <p:nvSpPr>
                <p:cNvPr id="165" name="Freeform 21">
                  <a:extLst>
                    <a:ext uri="{FF2B5EF4-FFF2-40B4-BE49-F238E27FC236}">
                      <a16:creationId xmlns:a16="http://schemas.microsoft.com/office/drawing/2014/main" id="{6BBE1EEE-B9AC-476B-9044-AF0F939EF217}"/>
                    </a:ext>
                  </a:extLst>
                </p:cNvPr>
                <p:cNvSpPr>
                  <a:spLocks/>
                </p:cNvSpPr>
                <p:nvPr/>
              </p:nvSpPr>
              <p:spPr bwMode="auto">
                <a:xfrm>
                  <a:off x="3398731" y="2302049"/>
                  <a:ext cx="0" cy="93872"/>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66" name="Freeform 22">
                  <a:extLst>
                    <a:ext uri="{FF2B5EF4-FFF2-40B4-BE49-F238E27FC236}">
                      <a16:creationId xmlns:a16="http://schemas.microsoft.com/office/drawing/2014/main" id="{5E8124ED-CF78-4D49-92D8-56251F42E901}"/>
                    </a:ext>
                  </a:extLst>
                </p:cNvPr>
                <p:cNvSpPr>
                  <a:spLocks/>
                </p:cNvSpPr>
                <p:nvPr/>
              </p:nvSpPr>
              <p:spPr bwMode="auto">
                <a:xfrm>
                  <a:off x="3574575" y="2302049"/>
                  <a:ext cx="0" cy="93872"/>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67" name="Freeform 24">
                  <a:extLst>
                    <a:ext uri="{FF2B5EF4-FFF2-40B4-BE49-F238E27FC236}">
                      <a16:creationId xmlns:a16="http://schemas.microsoft.com/office/drawing/2014/main" id="{063B785D-2CF5-4DC0-B768-5AAF4FB83DFA}"/>
                    </a:ext>
                  </a:extLst>
                </p:cNvPr>
                <p:cNvSpPr>
                  <a:spLocks/>
                </p:cNvSpPr>
                <p:nvPr/>
              </p:nvSpPr>
              <p:spPr bwMode="auto">
                <a:xfrm>
                  <a:off x="3455583" y="2302049"/>
                  <a:ext cx="62141" cy="95194"/>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68" name="Freeform 27">
                  <a:extLst>
                    <a:ext uri="{FF2B5EF4-FFF2-40B4-BE49-F238E27FC236}">
                      <a16:creationId xmlns:a16="http://schemas.microsoft.com/office/drawing/2014/main" id="{1839FC30-A3D8-4B71-AD43-D5522BDBB47D}"/>
                    </a:ext>
                  </a:extLst>
                </p:cNvPr>
                <p:cNvSpPr>
                  <a:spLocks/>
                </p:cNvSpPr>
                <p:nvPr/>
              </p:nvSpPr>
              <p:spPr bwMode="auto">
                <a:xfrm>
                  <a:off x="3398731" y="2615396"/>
                  <a:ext cx="0" cy="95194"/>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69" name="Freeform 28">
                  <a:extLst>
                    <a:ext uri="{FF2B5EF4-FFF2-40B4-BE49-F238E27FC236}">
                      <a16:creationId xmlns:a16="http://schemas.microsoft.com/office/drawing/2014/main" id="{C3848BE2-F15E-4797-900D-5613ACA26310}"/>
                    </a:ext>
                  </a:extLst>
                </p:cNvPr>
                <p:cNvSpPr>
                  <a:spLocks/>
                </p:cNvSpPr>
                <p:nvPr/>
              </p:nvSpPr>
              <p:spPr bwMode="auto">
                <a:xfrm>
                  <a:off x="3574575" y="2615396"/>
                  <a:ext cx="0" cy="95194"/>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70" name="Freeform 30">
                  <a:extLst>
                    <a:ext uri="{FF2B5EF4-FFF2-40B4-BE49-F238E27FC236}">
                      <a16:creationId xmlns:a16="http://schemas.microsoft.com/office/drawing/2014/main" id="{FD813E9A-2DC7-4EDB-85AA-03CAA34CB72E}"/>
                    </a:ext>
                  </a:extLst>
                </p:cNvPr>
                <p:cNvSpPr>
                  <a:spLocks/>
                </p:cNvSpPr>
                <p:nvPr/>
              </p:nvSpPr>
              <p:spPr bwMode="auto">
                <a:xfrm>
                  <a:off x="3455583" y="2615396"/>
                  <a:ext cx="62141" cy="95194"/>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71" name="Freeform 31">
                  <a:extLst>
                    <a:ext uri="{FF2B5EF4-FFF2-40B4-BE49-F238E27FC236}">
                      <a16:creationId xmlns:a16="http://schemas.microsoft.com/office/drawing/2014/main" id="{3DB4F8AC-3EA8-4B01-B9C8-4A10FD9DFE42}"/>
                    </a:ext>
                  </a:extLst>
                </p:cNvPr>
                <p:cNvSpPr>
                  <a:spLocks/>
                </p:cNvSpPr>
                <p:nvPr/>
              </p:nvSpPr>
              <p:spPr bwMode="auto">
                <a:xfrm>
                  <a:off x="3631427" y="2615396"/>
                  <a:ext cx="58174" cy="95194"/>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72" name="Freeform 33">
                  <a:extLst>
                    <a:ext uri="{FF2B5EF4-FFF2-40B4-BE49-F238E27FC236}">
                      <a16:creationId xmlns:a16="http://schemas.microsoft.com/office/drawing/2014/main" id="{8643A331-4375-485F-98D0-E4324A1378A1}"/>
                    </a:ext>
                  </a:extLst>
                </p:cNvPr>
                <p:cNvSpPr>
                  <a:spLocks/>
                </p:cNvSpPr>
                <p:nvPr/>
              </p:nvSpPr>
              <p:spPr bwMode="auto">
                <a:xfrm>
                  <a:off x="3517723" y="2463350"/>
                  <a:ext cx="0" cy="89905"/>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73" name="Freeform 35">
                  <a:extLst>
                    <a:ext uri="{FF2B5EF4-FFF2-40B4-BE49-F238E27FC236}">
                      <a16:creationId xmlns:a16="http://schemas.microsoft.com/office/drawing/2014/main" id="{7C43F5DC-7A65-4522-AA61-C31E862F13C8}"/>
                    </a:ext>
                  </a:extLst>
                </p:cNvPr>
                <p:cNvSpPr>
                  <a:spLocks/>
                </p:cNvSpPr>
                <p:nvPr/>
              </p:nvSpPr>
              <p:spPr bwMode="auto">
                <a:xfrm>
                  <a:off x="3398731" y="2463350"/>
                  <a:ext cx="60818" cy="938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74" name="Freeform 36">
                  <a:extLst>
                    <a:ext uri="{FF2B5EF4-FFF2-40B4-BE49-F238E27FC236}">
                      <a16:creationId xmlns:a16="http://schemas.microsoft.com/office/drawing/2014/main" id="{F66EE30F-3B1D-4D21-A456-A1CFDF279A8E}"/>
                    </a:ext>
                  </a:extLst>
                </p:cNvPr>
                <p:cNvSpPr>
                  <a:spLocks/>
                </p:cNvSpPr>
                <p:nvPr/>
              </p:nvSpPr>
              <p:spPr bwMode="auto">
                <a:xfrm>
                  <a:off x="3574575" y="2463350"/>
                  <a:ext cx="59496" cy="93872"/>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75" name="Freeform 22">
                  <a:extLst>
                    <a:ext uri="{FF2B5EF4-FFF2-40B4-BE49-F238E27FC236}">
                      <a16:creationId xmlns:a16="http://schemas.microsoft.com/office/drawing/2014/main" id="{613D7141-F733-4C29-A2A1-0B60B563ED5D}"/>
                    </a:ext>
                  </a:extLst>
                </p:cNvPr>
                <p:cNvSpPr>
                  <a:spLocks/>
                </p:cNvSpPr>
                <p:nvPr/>
              </p:nvSpPr>
              <p:spPr bwMode="auto">
                <a:xfrm>
                  <a:off x="4098489" y="2302049"/>
                  <a:ext cx="0" cy="93872"/>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76" name="Freeform 24">
                  <a:extLst>
                    <a:ext uri="{FF2B5EF4-FFF2-40B4-BE49-F238E27FC236}">
                      <a16:creationId xmlns:a16="http://schemas.microsoft.com/office/drawing/2014/main" id="{71178AEE-1227-41D0-B4B6-C4FD5D90FC3E}"/>
                    </a:ext>
                  </a:extLst>
                </p:cNvPr>
                <p:cNvSpPr>
                  <a:spLocks/>
                </p:cNvSpPr>
                <p:nvPr/>
              </p:nvSpPr>
              <p:spPr bwMode="auto">
                <a:xfrm>
                  <a:off x="3979496" y="2302049"/>
                  <a:ext cx="62141" cy="95194"/>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77" name="Freeform 25">
                  <a:extLst>
                    <a:ext uri="{FF2B5EF4-FFF2-40B4-BE49-F238E27FC236}">
                      <a16:creationId xmlns:a16="http://schemas.microsoft.com/office/drawing/2014/main" id="{16C710A7-198B-4EB9-A09B-30FBB309C2E7}"/>
                    </a:ext>
                  </a:extLst>
                </p:cNvPr>
                <p:cNvSpPr>
                  <a:spLocks/>
                </p:cNvSpPr>
                <p:nvPr/>
              </p:nvSpPr>
              <p:spPr bwMode="auto">
                <a:xfrm>
                  <a:off x="4155341" y="2302049"/>
                  <a:ext cx="58174" cy="95194"/>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78" name="Freeform 27">
                  <a:extLst>
                    <a:ext uri="{FF2B5EF4-FFF2-40B4-BE49-F238E27FC236}">
                      <a16:creationId xmlns:a16="http://schemas.microsoft.com/office/drawing/2014/main" id="{142604E7-ED75-4EE6-B12A-CC34D1861945}"/>
                    </a:ext>
                  </a:extLst>
                </p:cNvPr>
                <p:cNvSpPr>
                  <a:spLocks/>
                </p:cNvSpPr>
                <p:nvPr/>
              </p:nvSpPr>
              <p:spPr bwMode="auto">
                <a:xfrm>
                  <a:off x="3922644" y="2615396"/>
                  <a:ext cx="0" cy="95194"/>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79" name="Freeform 28">
                  <a:extLst>
                    <a:ext uri="{FF2B5EF4-FFF2-40B4-BE49-F238E27FC236}">
                      <a16:creationId xmlns:a16="http://schemas.microsoft.com/office/drawing/2014/main" id="{51D29025-6218-45AE-8B66-010F444EF3A1}"/>
                    </a:ext>
                  </a:extLst>
                </p:cNvPr>
                <p:cNvSpPr>
                  <a:spLocks/>
                </p:cNvSpPr>
                <p:nvPr/>
              </p:nvSpPr>
              <p:spPr bwMode="auto">
                <a:xfrm>
                  <a:off x="4098489" y="2615396"/>
                  <a:ext cx="0" cy="95194"/>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80" name="Freeform 30">
                  <a:extLst>
                    <a:ext uri="{FF2B5EF4-FFF2-40B4-BE49-F238E27FC236}">
                      <a16:creationId xmlns:a16="http://schemas.microsoft.com/office/drawing/2014/main" id="{072493A5-5136-46EE-813D-D1AFB7EF1341}"/>
                    </a:ext>
                  </a:extLst>
                </p:cNvPr>
                <p:cNvSpPr>
                  <a:spLocks/>
                </p:cNvSpPr>
                <p:nvPr/>
              </p:nvSpPr>
              <p:spPr bwMode="auto">
                <a:xfrm>
                  <a:off x="3979496" y="2615396"/>
                  <a:ext cx="62141" cy="95194"/>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81" name="Freeform 31">
                  <a:extLst>
                    <a:ext uri="{FF2B5EF4-FFF2-40B4-BE49-F238E27FC236}">
                      <a16:creationId xmlns:a16="http://schemas.microsoft.com/office/drawing/2014/main" id="{1856689C-7514-43B8-8013-C98FF0538030}"/>
                    </a:ext>
                  </a:extLst>
                </p:cNvPr>
                <p:cNvSpPr>
                  <a:spLocks/>
                </p:cNvSpPr>
                <p:nvPr/>
              </p:nvSpPr>
              <p:spPr bwMode="auto">
                <a:xfrm>
                  <a:off x="4155341" y="2615396"/>
                  <a:ext cx="58174" cy="95194"/>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82" name="Freeform 33">
                  <a:extLst>
                    <a:ext uri="{FF2B5EF4-FFF2-40B4-BE49-F238E27FC236}">
                      <a16:creationId xmlns:a16="http://schemas.microsoft.com/office/drawing/2014/main" id="{98F6DEBD-7C3D-4941-9494-7D39012D49F7}"/>
                    </a:ext>
                  </a:extLst>
                </p:cNvPr>
                <p:cNvSpPr>
                  <a:spLocks/>
                </p:cNvSpPr>
                <p:nvPr/>
              </p:nvSpPr>
              <p:spPr bwMode="auto">
                <a:xfrm>
                  <a:off x="4041637" y="2463350"/>
                  <a:ext cx="0" cy="89905"/>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83" name="Freeform 34">
                  <a:extLst>
                    <a:ext uri="{FF2B5EF4-FFF2-40B4-BE49-F238E27FC236}">
                      <a16:creationId xmlns:a16="http://schemas.microsoft.com/office/drawing/2014/main" id="{31F41FF3-717C-47CC-8B99-64B2B3C33B20}"/>
                    </a:ext>
                  </a:extLst>
                </p:cNvPr>
                <p:cNvSpPr>
                  <a:spLocks/>
                </p:cNvSpPr>
                <p:nvPr/>
              </p:nvSpPr>
              <p:spPr bwMode="auto">
                <a:xfrm>
                  <a:off x="4213515" y="2463350"/>
                  <a:ext cx="0" cy="89905"/>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84" name="Freeform 35">
                  <a:extLst>
                    <a:ext uri="{FF2B5EF4-FFF2-40B4-BE49-F238E27FC236}">
                      <a16:creationId xmlns:a16="http://schemas.microsoft.com/office/drawing/2014/main" id="{3753C3D6-1CB8-491C-8494-5A36516505F0}"/>
                    </a:ext>
                  </a:extLst>
                </p:cNvPr>
                <p:cNvSpPr>
                  <a:spLocks/>
                </p:cNvSpPr>
                <p:nvPr/>
              </p:nvSpPr>
              <p:spPr bwMode="auto">
                <a:xfrm>
                  <a:off x="3922644" y="2463350"/>
                  <a:ext cx="60818" cy="938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185" name="Freeform 36">
                  <a:extLst>
                    <a:ext uri="{FF2B5EF4-FFF2-40B4-BE49-F238E27FC236}">
                      <a16:creationId xmlns:a16="http://schemas.microsoft.com/office/drawing/2014/main" id="{40D7D26F-583B-469C-8C16-EE9E3AD17832}"/>
                    </a:ext>
                  </a:extLst>
                </p:cNvPr>
                <p:cNvSpPr>
                  <a:spLocks/>
                </p:cNvSpPr>
                <p:nvPr/>
              </p:nvSpPr>
              <p:spPr bwMode="auto">
                <a:xfrm>
                  <a:off x="4098489" y="2463350"/>
                  <a:ext cx="59496" cy="93872"/>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grpSp>
        </p:grpSp>
        <p:sp>
          <p:nvSpPr>
            <p:cNvPr id="10" name="Freeform 25">
              <a:extLst>
                <a:ext uri="{FF2B5EF4-FFF2-40B4-BE49-F238E27FC236}">
                  <a16:creationId xmlns:a16="http://schemas.microsoft.com/office/drawing/2014/main" id="{9E6DB72B-FE1A-4B30-A280-8FC136AA7EAC}"/>
                </a:ext>
              </a:extLst>
            </p:cNvPr>
            <p:cNvSpPr>
              <a:spLocks noEditPoints="1"/>
            </p:cNvSpPr>
            <p:nvPr/>
          </p:nvSpPr>
          <p:spPr bwMode="auto">
            <a:xfrm>
              <a:off x="6936261" y="1865042"/>
              <a:ext cx="618970" cy="604768"/>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22225">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latin typeface="Segoe UI Semilight"/>
              </a:endParaRPr>
            </a:p>
          </p:txBody>
        </p:sp>
        <p:sp>
          <p:nvSpPr>
            <p:cNvPr id="11" name="Freeform 5">
              <a:extLst>
                <a:ext uri="{FF2B5EF4-FFF2-40B4-BE49-F238E27FC236}">
                  <a16:creationId xmlns:a16="http://schemas.microsoft.com/office/drawing/2014/main" id="{C4197113-368B-4B1B-BEFB-A7F1FF3027EA}"/>
                </a:ext>
              </a:extLst>
            </p:cNvPr>
            <p:cNvSpPr>
              <a:spLocks noEditPoints="1"/>
            </p:cNvSpPr>
            <p:nvPr/>
          </p:nvSpPr>
          <p:spPr bwMode="auto">
            <a:xfrm>
              <a:off x="4282666" y="2677011"/>
              <a:ext cx="460838" cy="594730"/>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918">
                <a:gradFill>
                  <a:gsLst>
                    <a:gs pos="0">
                      <a:srgbClr val="505050"/>
                    </a:gs>
                    <a:gs pos="100000">
                      <a:srgbClr val="505050"/>
                    </a:gs>
                  </a:gsLst>
                  <a:lin ang="5400000" scaled="1"/>
                </a:gradFill>
                <a:latin typeface="Segoe UI Semilight"/>
              </a:endParaRPr>
            </a:p>
          </p:txBody>
        </p:sp>
        <p:grpSp>
          <p:nvGrpSpPr>
            <p:cNvPr id="12" name="Group 11">
              <a:extLst>
                <a:ext uri="{FF2B5EF4-FFF2-40B4-BE49-F238E27FC236}">
                  <a16:creationId xmlns:a16="http://schemas.microsoft.com/office/drawing/2014/main" id="{4097D510-C621-4D03-8639-54EFC0AD5D52}"/>
                </a:ext>
              </a:extLst>
            </p:cNvPr>
            <p:cNvGrpSpPr/>
            <p:nvPr/>
          </p:nvGrpSpPr>
          <p:grpSpPr>
            <a:xfrm>
              <a:off x="4002594" y="1404841"/>
              <a:ext cx="668220" cy="512041"/>
              <a:chOff x="3435452" y="1174750"/>
              <a:chExt cx="950912" cy="728663"/>
            </a:xfrm>
          </p:grpSpPr>
          <p:sp>
            <p:nvSpPr>
              <p:cNvPr id="153" name="Line 5">
                <a:extLst>
                  <a:ext uri="{FF2B5EF4-FFF2-40B4-BE49-F238E27FC236}">
                    <a16:creationId xmlns:a16="http://schemas.microsoft.com/office/drawing/2014/main" id="{E3E5B015-E634-4121-A602-1D61F0C46952}"/>
                  </a:ext>
                </a:extLst>
              </p:cNvPr>
              <p:cNvSpPr>
                <a:spLocks noChangeShapeType="1"/>
              </p:cNvSpPr>
              <p:nvPr/>
            </p:nvSpPr>
            <p:spPr bwMode="auto">
              <a:xfrm>
                <a:off x="4084740" y="1903413"/>
                <a:ext cx="192087" cy="0"/>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sp>
            <p:nvSpPr>
              <p:cNvPr id="154" name="Freeform 6">
                <a:extLst>
                  <a:ext uri="{FF2B5EF4-FFF2-40B4-BE49-F238E27FC236}">
                    <a16:creationId xmlns:a16="http://schemas.microsoft.com/office/drawing/2014/main" id="{FD260D15-34BA-40D4-A10F-A086691FA894}"/>
                  </a:ext>
                </a:extLst>
              </p:cNvPr>
              <p:cNvSpPr>
                <a:spLocks/>
              </p:cNvSpPr>
              <p:nvPr/>
            </p:nvSpPr>
            <p:spPr bwMode="auto">
              <a:xfrm>
                <a:off x="3508477" y="1581150"/>
                <a:ext cx="190500" cy="322263"/>
              </a:xfrm>
              <a:custGeom>
                <a:avLst/>
                <a:gdLst>
                  <a:gd name="T0" fmla="*/ 65 w 68"/>
                  <a:gd name="T1" fmla="*/ 114 h 114"/>
                  <a:gd name="T2" fmla="*/ 4 w 68"/>
                  <a:gd name="T3" fmla="*/ 114 h 114"/>
                  <a:gd name="T4" fmla="*/ 0 w 68"/>
                  <a:gd name="T5" fmla="*/ 110 h 114"/>
                  <a:gd name="T6" fmla="*/ 0 w 68"/>
                  <a:gd name="T7" fmla="*/ 4 h 114"/>
                  <a:gd name="T8" fmla="*/ 4 w 68"/>
                  <a:gd name="T9" fmla="*/ 0 h 114"/>
                  <a:gd name="T10" fmla="*/ 65 w 68"/>
                  <a:gd name="T11" fmla="*/ 0 h 114"/>
                  <a:gd name="T12" fmla="*/ 68 w 68"/>
                  <a:gd name="T13" fmla="*/ 4 h 114"/>
                  <a:gd name="T14" fmla="*/ 68 w 68"/>
                  <a:gd name="T15" fmla="*/ 110 h 114"/>
                  <a:gd name="T16" fmla="*/ 65 w 68"/>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14">
                    <a:moveTo>
                      <a:pt x="65" y="114"/>
                    </a:moveTo>
                    <a:cubicBezTo>
                      <a:pt x="4" y="114"/>
                      <a:pt x="4" y="114"/>
                      <a:pt x="4" y="114"/>
                    </a:cubicBezTo>
                    <a:cubicBezTo>
                      <a:pt x="2" y="114"/>
                      <a:pt x="0" y="112"/>
                      <a:pt x="0" y="110"/>
                    </a:cubicBezTo>
                    <a:cubicBezTo>
                      <a:pt x="0" y="4"/>
                      <a:pt x="0" y="4"/>
                      <a:pt x="0" y="4"/>
                    </a:cubicBezTo>
                    <a:cubicBezTo>
                      <a:pt x="0" y="2"/>
                      <a:pt x="2" y="0"/>
                      <a:pt x="4" y="0"/>
                    </a:cubicBezTo>
                    <a:cubicBezTo>
                      <a:pt x="65" y="0"/>
                      <a:pt x="65" y="0"/>
                      <a:pt x="65" y="0"/>
                    </a:cubicBezTo>
                    <a:cubicBezTo>
                      <a:pt x="67" y="0"/>
                      <a:pt x="68" y="2"/>
                      <a:pt x="68" y="4"/>
                    </a:cubicBezTo>
                    <a:cubicBezTo>
                      <a:pt x="68" y="110"/>
                      <a:pt x="68" y="110"/>
                      <a:pt x="68" y="110"/>
                    </a:cubicBezTo>
                    <a:cubicBezTo>
                      <a:pt x="68" y="112"/>
                      <a:pt x="67" y="114"/>
                      <a:pt x="65" y="114"/>
                    </a:cubicBezTo>
                    <a:close/>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sp>
            <p:nvSpPr>
              <p:cNvPr id="155" name="Freeform 7">
                <a:extLst>
                  <a:ext uri="{FF2B5EF4-FFF2-40B4-BE49-F238E27FC236}">
                    <a16:creationId xmlns:a16="http://schemas.microsoft.com/office/drawing/2014/main" id="{68426264-F874-4437-BC52-91568596310A}"/>
                  </a:ext>
                </a:extLst>
              </p:cNvPr>
              <p:cNvSpPr>
                <a:spLocks/>
              </p:cNvSpPr>
              <p:nvPr/>
            </p:nvSpPr>
            <p:spPr bwMode="auto">
              <a:xfrm>
                <a:off x="3435452" y="1403350"/>
                <a:ext cx="681037" cy="500063"/>
              </a:xfrm>
              <a:custGeom>
                <a:avLst/>
                <a:gdLst>
                  <a:gd name="T0" fmla="*/ 242 w 242"/>
                  <a:gd name="T1" fmla="*/ 165 h 177"/>
                  <a:gd name="T2" fmla="*/ 229 w 242"/>
                  <a:gd name="T3" fmla="*/ 177 h 177"/>
                  <a:gd name="T4" fmla="*/ 12 w 242"/>
                  <a:gd name="T5" fmla="*/ 177 h 177"/>
                  <a:gd name="T6" fmla="*/ 0 w 242"/>
                  <a:gd name="T7" fmla="*/ 165 h 177"/>
                  <a:gd name="T8" fmla="*/ 0 w 242"/>
                  <a:gd name="T9" fmla="*/ 12 h 177"/>
                  <a:gd name="T10" fmla="*/ 12 w 242"/>
                  <a:gd name="T11" fmla="*/ 0 h 177"/>
                  <a:gd name="T12" fmla="*/ 229 w 242"/>
                  <a:gd name="T13" fmla="*/ 0 h 177"/>
                  <a:gd name="T14" fmla="*/ 242 w 242"/>
                  <a:gd name="T15" fmla="*/ 12 h 177"/>
                  <a:gd name="T16" fmla="*/ 242 w 242"/>
                  <a:gd name="T17" fmla="*/ 16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177">
                    <a:moveTo>
                      <a:pt x="242" y="165"/>
                    </a:moveTo>
                    <a:cubicBezTo>
                      <a:pt x="242" y="172"/>
                      <a:pt x="236" y="177"/>
                      <a:pt x="229" y="177"/>
                    </a:cubicBezTo>
                    <a:cubicBezTo>
                      <a:pt x="12" y="177"/>
                      <a:pt x="12" y="177"/>
                      <a:pt x="12" y="177"/>
                    </a:cubicBezTo>
                    <a:cubicBezTo>
                      <a:pt x="6" y="177"/>
                      <a:pt x="0" y="172"/>
                      <a:pt x="0" y="165"/>
                    </a:cubicBezTo>
                    <a:cubicBezTo>
                      <a:pt x="0" y="12"/>
                      <a:pt x="0" y="12"/>
                      <a:pt x="0" y="12"/>
                    </a:cubicBezTo>
                    <a:cubicBezTo>
                      <a:pt x="0" y="5"/>
                      <a:pt x="6" y="0"/>
                      <a:pt x="12" y="0"/>
                    </a:cubicBezTo>
                    <a:cubicBezTo>
                      <a:pt x="229" y="0"/>
                      <a:pt x="229" y="0"/>
                      <a:pt x="229" y="0"/>
                    </a:cubicBezTo>
                    <a:cubicBezTo>
                      <a:pt x="236" y="0"/>
                      <a:pt x="242" y="5"/>
                      <a:pt x="242" y="12"/>
                    </a:cubicBezTo>
                    <a:lnTo>
                      <a:pt x="242" y="165"/>
                    </a:lnTo>
                    <a:close/>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sp>
            <p:nvSpPr>
              <p:cNvPr id="156" name="Line 9">
                <a:extLst>
                  <a:ext uri="{FF2B5EF4-FFF2-40B4-BE49-F238E27FC236}">
                    <a16:creationId xmlns:a16="http://schemas.microsoft.com/office/drawing/2014/main" id="{BEC63778-2634-456E-AB7E-40C31A95FE27}"/>
                  </a:ext>
                </a:extLst>
              </p:cNvPr>
              <p:cNvSpPr>
                <a:spLocks noChangeShapeType="1"/>
              </p:cNvSpPr>
              <p:nvPr/>
            </p:nvSpPr>
            <p:spPr bwMode="auto">
              <a:xfrm flipH="1">
                <a:off x="3583090" y="1835150"/>
                <a:ext cx="44450" cy="0"/>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sp>
            <p:nvSpPr>
              <p:cNvPr id="157" name="Freeform 10">
                <a:extLst>
                  <a:ext uri="{FF2B5EF4-FFF2-40B4-BE49-F238E27FC236}">
                    <a16:creationId xmlns:a16="http://schemas.microsoft.com/office/drawing/2014/main" id="{49108283-B9E9-48DE-8D97-9E66DCE91E38}"/>
                  </a:ext>
                </a:extLst>
              </p:cNvPr>
              <p:cNvSpPr>
                <a:spLocks/>
              </p:cNvSpPr>
              <p:nvPr/>
            </p:nvSpPr>
            <p:spPr bwMode="auto">
              <a:xfrm>
                <a:off x="3435452" y="1174750"/>
                <a:ext cx="950912" cy="587375"/>
              </a:xfrm>
              <a:custGeom>
                <a:avLst/>
                <a:gdLst>
                  <a:gd name="T0" fmla="*/ 0 w 338"/>
                  <a:gd name="T1" fmla="*/ 93 h 208"/>
                  <a:gd name="T2" fmla="*/ 0 w 338"/>
                  <a:gd name="T3" fmla="*/ 10 h 208"/>
                  <a:gd name="T4" fmla="*/ 10 w 338"/>
                  <a:gd name="T5" fmla="*/ 0 h 208"/>
                  <a:gd name="T6" fmla="*/ 328 w 338"/>
                  <a:gd name="T7" fmla="*/ 0 h 208"/>
                  <a:gd name="T8" fmla="*/ 338 w 338"/>
                  <a:gd name="T9" fmla="*/ 10 h 208"/>
                  <a:gd name="T10" fmla="*/ 338 w 338"/>
                  <a:gd name="T11" fmla="*/ 198 h 208"/>
                  <a:gd name="T12" fmla="*/ 328 w 338"/>
                  <a:gd name="T13" fmla="*/ 208 h 208"/>
                  <a:gd name="T14" fmla="*/ 242 w 338"/>
                  <a:gd name="T15" fmla="*/ 208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8" h="208">
                    <a:moveTo>
                      <a:pt x="0" y="93"/>
                    </a:moveTo>
                    <a:cubicBezTo>
                      <a:pt x="0" y="10"/>
                      <a:pt x="0" y="10"/>
                      <a:pt x="0" y="10"/>
                    </a:cubicBezTo>
                    <a:cubicBezTo>
                      <a:pt x="0" y="5"/>
                      <a:pt x="5" y="0"/>
                      <a:pt x="10" y="0"/>
                    </a:cubicBezTo>
                    <a:cubicBezTo>
                      <a:pt x="328" y="0"/>
                      <a:pt x="328" y="0"/>
                      <a:pt x="328" y="0"/>
                    </a:cubicBezTo>
                    <a:cubicBezTo>
                      <a:pt x="334" y="0"/>
                      <a:pt x="338" y="5"/>
                      <a:pt x="338" y="10"/>
                    </a:cubicBezTo>
                    <a:cubicBezTo>
                      <a:pt x="338" y="198"/>
                      <a:pt x="338" y="198"/>
                      <a:pt x="338" y="198"/>
                    </a:cubicBezTo>
                    <a:cubicBezTo>
                      <a:pt x="338" y="203"/>
                      <a:pt x="334" y="208"/>
                      <a:pt x="328" y="208"/>
                    </a:cubicBezTo>
                    <a:cubicBezTo>
                      <a:pt x="242" y="208"/>
                      <a:pt x="242" y="208"/>
                      <a:pt x="242" y="208"/>
                    </a:cubicBezTo>
                  </a:path>
                </a:pathLst>
              </a:cu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sp>
            <p:nvSpPr>
              <p:cNvPr id="158" name="Line 9">
                <a:extLst>
                  <a:ext uri="{FF2B5EF4-FFF2-40B4-BE49-F238E27FC236}">
                    <a16:creationId xmlns:a16="http://schemas.microsoft.com/office/drawing/2014/main" id="{ABCDD9CB-E20B-4DD9-A1D3-8BA4DF71F374}"/>
                  </a:ext>
                </a:extLst>
              </p:cNvPr>
              <p:cNvSpPr>
                <a:spLocks noChangeShapeType="1"/>
              </p:cNvSpPr>
              <p:nvPr/>
            </p:nvSpPr>
            <p:spPr bwMode="auto">
              <a:xfrm flipH="1">
                <a:off x="3753745" y="1835150"/>
                <a:ext cx="44450" cy="0"/>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sp>
            <p:nvSpPr>
              <p:cNvPr id="159" name="Freeform 11">
                <a:extLst>
                  <a:ext uri="{FF2B5EF4-FFF2-40B4-BE49-F238E27FC236}">
                    <a16:creationId xmlns:a16="http://schemas.microsoft.com/office/drawing/2014/main" id="{88B74509-E73F-42F9-A25D-13866EA2984D}"/>
                  </a:ext>
                </a:extLst>
              </p:cNvPr>
              <p:cNvSpPr>
                <a:spLocks/>
              </p:cNvSpPr>
              <p:nvPr/>
            </p:nvSpPr>
            <p:spPr bwMode="auto">
              <a:xfrm rot="10800000">
                <a:off x="3602829" y="1335881"/>
                <a:ext cx="640657" cy="359570"/>
              </a:xfrm>
              <a:custGeom>
                <a:avLst/>
                <a:gdLst>
                  <a:gd name="T0" fmla="*/ 0 w 197"/>
                  <a:gd name="T1" fmla="*/ 145 h 145"/>
                  <a:gd name="T2" fmla="*/ 197 w 197"/>
                  <a:gd name="T3" fmla="*/ 0 h 145"/>
                </a:gdLst>
                <a:ahLst/>
                <a:cxnLst>
                  <a:cxn ang="0">
                    <a:pos x="T0" y="T1"/>
                  </a:cxn>
                  <a:cxn ang="0">
                    <a:pos x="T2" y="T3"/>
                  </a:cxn>
                </a:cxnLst>
                <a:rect l="0" t="0" r="r" b="b"/>
                <a:pathLst>
                  <a:path w="197" h="145">
                    <a:moveTo>
                      <a:pt x="0" y="145"/>
                    </a:moveTo>
                    <a:cubicBezTo>
                      <a:pt x="0" y="145"/>
                      <a:pt x="32" y="0"/>
                      <a:pt x="197" y="0"/>
                    </a:cubicBezTo>
                  </a:path>
                </a:pathLst>
              </a:custGeom>
              <a:noFill/>
              <a:ln w="22225" cap="rnd">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sp useBgFill="1">
            <p:nvSpPr>
              <p:cNvPr id="160" name="Oval 6">
                <a:extLst>
                  <a:ext uri="{FF2B5EF4-FFF2-40B4-BE49-F238E27FC236}">
                    <a16:creationId xmlns:a16="http://schemas.microsoft.com/office/drawing/2014/main" id="{987062A2-151C-44E4-82E9-2DF00D207C8B}"/>
                  </a:ext>
                </a:extLst>
              </p:cNvPr>
              <p:cNvSpPr>
                <a:spLocks noChangeArrowheads="1"/>
              </p:cNvSpPr>
              <p:nvPr/>
            </p:nvSpPr>
            <p:spPr bwMode="auto">
              <a:xfrm>
                <a:off x="3548863" y="1638548"/>
                <a:ext cx="109728" cy="109728"/>
              </a:xfrm>
              <a:prstGeom prst="ellipse">
                <a:avLst/>
              </a:prstGeom>
              <a:ln w="22225" cap="rnd">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sp useBgFill="1">
            <p:nvSpPr>
              <p:cNvPr id="161" name="Oval 6">
                <a:extLst>
                  <a:ext uri="{FF2B5EF4-FFF2-40B4-BE49-F238E27FC236}">
                    <a16:creationId xmlns:a16="http://schemas.microsoft.com/office/drawing/2014/main" id="{2543335F-98EC-453F-9691-52DF3C2E755C}"/>
                  </a:ext>
                </a:extLst>
              </p:cNvPr>
              <p:cNvSpPr>
                <a:spLocks noChangeArrowheads="1"/>
              </p:cNvSpPr>
              <p:nvPr/>
            </p:nvSpPr>
            <p:spPr bwMode="auto">
              <a:xfrm>
                <a:off x="3871917" y="1587008"/>
                <a:ext cx="109728" cy="109728"/>
              </a:xfrm>
              <a:prstGeom prst="ellipse">
                <a:avLst/>
              </a:prstGeom>
              <a:ln w="22225" cap="rnd">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sp useBgFill="1">
            <p:nvSpPr>
              <p:cNvPr id="162" name="Oval 6">
                <a:extLst>
                  <a:ext uri="{FF2B5EF4-FFF2-40B4-BE49-F238E27FC236}">
                    <a16:creationId xmlns:a16="http://schemas.microsoft.com/office/drawing/2014/main" id="{DA4BCC6A-6675-4530-8FF6-2363C3031F3F}"/>
                  </a:ext>
                </a:extLst>
              </p:cNvPr>
              <p:cNvSpPr>
                <a:spLocks noChangeArrowheads="1"/>
              </p:cNvSpPr>
              <p:nvPr/>
            </p:nvSpPr>
            <p:spPr bwMode="auto">
              <a:xfrm>
                <a:off x="4184061" y="1256863"/>
                <a:ext cx="109728" cy="109728"/>
              </a:xfrm>
              <a:prstGeom prst="ellipse">
                <a:avLst/>
              </a:prstGeom>
              <a:ln w="22225" cap="rnd">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grpSp>
        <p:grpSp>
          <p:nvGrpSpPr>
            <p:cNvPr id="13" name="Group 12">
              <a:extLst>
                <a:ext uri="{FF2B5EF4-FFF2-40B4-BE49-F238E27FC236}">
                  <a16:creationId xmlns:a16="http://schemas.microsoft.com/office/drawing/2014/main" id="{4F8710A4-284C-4D84-BAE3-B04759481D85}"/>
                </a:ext>
              </a:extLst>
            </p:cNvPr>
            <p:cNvGrpSpPr/>
            <p:nvPr/>
          </p:nvGrpSpPr>
          <p:grpSpPr>
            <a:xfrm>
              <a:off x="5672638" y="1565831"/>
              <a:ext cx="488132" cy="387456"/>
              <a:chOff x="4223626" y="2353385"/>
              <a:chExt cx="1173971" cy="931848"/>
            </a:xfrm>
          </p:grpSpPr>
          <p:grpSp>
            <p:nvGrpSpPr>
              <p:cNvPr id="130" name="Group 129">
                <a:extLst>
                  <a:ext uri="{FF2B5EF4-FFF2-40B4-BE49-F238E27FC236}">
                    <a16:creationId xmlns:a16="http://schemas.microsoft.com/office/drawing/2014/main" id="{545D7CEB-AC95-49AC-9C3E-BC6A3EE25BF9}"/>
                  </a:ext>
                </a:extLst>
              </p:cNvPr>
              <p:cNvGrpSpPr/>
              <p:nvPr/>
            </p:nvGrpSpPr>
            <p:grpSpPr>
              <a:xfrm>
                <a:off x="4273550" y="2402418"/>
                <a:ext cx="1079500" cy="840315"/>
                <a:chOff x="4273550" y="2402418"/>
                <a:chExt cx="1079500" cy="840315"/>
              </a:xfrm>
            </p:grpSpPr>
            <p:cxnSp>
              <p:nvCxnSpPr>
                <p:cNvPr id="139" name="Straight Connector 138">
                  <a:extLst>
                    <a:ext uri="{FF2B5EF4-FFF2-40B4-BE49-F238E27FC236}">
                      <a16:creationId xmlns:a16="http://schemas.microsoft.com/office/drawing/2014/main" id="{F213DA72-CE04-432A-97B7-8BF379A304B1}"/>
                    </a:ext>
                  </a:extLst>
                </p:cNvPr>
                <p:cNvCxnSpPr>
                  <a:cxnSpLocks/>
                </p:cNvCxnSpPr>
                <p:nvPr/>
              </p:nvCxnSpPr>
              <p:spPr>
                <a:xfrm>
                  <a:off x="4997450" y="2413000"/>
                  <a:ext cx="355600" cy="232833"/>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0" name="Straight Connector 139">
                  <a:extLst>
                    <a:ext uri="{FF2B5EF4-FFF2-40B4-BE49-F238E27FC236}">
                      <a16:creationId xmlns:a16="http://schemas.microsoft.com/office/drawing/2014/main" id="{0EC04DC9-E1C9-4F42-AA7E-70944E15398D}"/>
                    </a:ext>
                  </a:extLst>
                </p:cNvPr>
                <p:cNvCxnSpPr>
                  <a:cxnSpLocks/>
                </p:cNvCxnSpPr>
                <p:nvPr/>
              </p:nvCxnSpPr>
              <p:spPr>
                <a:xfrm>
                  <a:off x="4997450" y="2413000"/>
                  <a:ext cx="296333" cy="721783"/>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1" name="Straight Connector 140">
                  <a:extLst>
                    <a:ext uri="{FF2B5EF4-FFF2-40B4-BE49-F238E27FC236}">
                      <a16:creationId xmlns:a16="http://schemas.microsoft.com/office/drawing/2014/main" id="{F8D92083-7B13-4DB7-8168-07E5B7485177}"/>
                    </a:ext>
                  </a:extLst>
                </p:cNvPr>
                <p:cNvCxnSpPr>
                  <a:cxnSpLocks/>
                </p:cNvCxnSpPr>
                <p:nvPr/>
              </p:nvCxnSpPr>
              <p:spPr>
                <a:xfrm flipV="1">
                  <a:off x="4762500" y="3143250"/>
                  <a:ext cx="520700" cy="86783"/>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2" name="Straight Connector 141">
                  <a:extLst>
                    <a:ext uri="{FF2B5EF4-FFF2-40B4-BE49-F238E27FC236}">
                      <a16:creationId xmlns:a16="http://schemas.microsoft.com/office/drawing/2014/main" id="{7D1E8CA7-B8FD-41A0-A4E3-45B3F279B06D}"/>
                    </a:ext>
                  </a:extLst>
                </p:cNvPr>
                <p:cNvCxnSpPr>
                  <a:cxnSpLocks/>
                </p:cNvCxnSpPr>
                <p:nvPr/>
              </p:nvCxnSpPr>
              <p:spPr>
                <a:xfrm flipV="1">
                  <a:off x="5039783" y="2641600"/>
                  <a:ext cx="300567" cy="241300"/>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3" name="Straight Connector 142">
                  <a:extLst>
                    <a:ext uri="{FF2B5EF4-FFF2-40B4-BE49-F238E27FC236}">
                      <a16:creationId xmlns:a16="http://schemas.microsoft.com/office/drawing/2014/main" id="{59A44455-E664-4A08-80D8-2857B47505AA}"/>
                    </a:ext>
                  </a:extLst>
                </p:cNvPr>
                <p:cNvCxnSpPr>
                  <a:cxnSpLocks/>
                </p:cNvCxnSpPr>
                <p:nvPr/>
              </p:nvCxnSpPr>
              <p:spPr>
                <a:xfrm flipV="1">
                  <a:off x="4413250" y="2413001"/>
                  <a:ext cx="571500" cy="126999"/>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4" name="Straight Connector 143">
                  <a:extLst>
                    <a:ext uri="{FF2B5EF4-FFF2-40B4-BE49-F238E27FC236}">
                      <a16:creationId xmlns:a16="http://schemas.microsoft.com/office/drawing/2014/main" id="{55C8D803-D4B4-4CD8-8831-3025C92B7FEE}"/>
                    </a:ext>
                  </a:extLst>
                </p:cNvPr>
                <p:cNvCxnSpPr>
                  <a:cxnSpLocks/>
                </p:cNvCxnSpPr>
                <p:nvPr/>
              </p:nvCxnSpPr>
              <p:spPr>
                <a:xfrm flipV="1">
                  <a:off x="4703233" y="2450099"/>
                  <a:ext cx="251425" cy="248651"/>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5" name="Straight Connector 144">
                  <a:extLst>
                    <a:ext uri="{FF2B5EF4-FFF2-40B4-BE49-F238E27FC236}">
                      <a16:creationId xmlns:a16="http://schemas.microsoft.com/office/drawing/2014/main" id="{BCB58504-704B-47B5-BAB5-4489F511AB1A}"/>
                    </a:ext>
                  </a:extLst>
                </p:cNvPr>
                <p:cNvCxnSpPr>
                  <a:cxnSpLocks/>
                </p:cNvCxnSpPr>
                <p:nvPr/>
              </p:nvCxnSpPr>
              <p:spPr>
                <a:xfrm flipV="1">
                  <a:off x="4762500" y="2402418"/>
                  <a:ext cx="232833" cy="821265"/>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6" name="Straight Connector 145">
                  <a:extLst>
                    <a:ext uri="{FF2B5EF4-FFF2-40B4-BE49-F238E27FC236}">
                      <a16:creationId xmlns:a16="http://schemas.microsoft.com/office/drawing/2014/main" id="{941C0EA5-DAC1-47C8-ACB9-3CD13EA5D130}"/>
                    </a:ext>
                  </a:extLst>
                </p:cNvPr>
                <p:cNvCxnSpPr>
                  <a:cxnSpLocks/>
                </p:cNvCxnSpPr>
                <p:nvPr/>
              </p:nvCxnSpPr>
              <p:spPr>
                <a:xfrm flipH="1" flipV="1">
                  <a:off x="4273550" y="2984500"/>
                  <a:ext cx="495300" cy="251883"/>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7" name="Straight Connector 146">
                  <a:extLst>
                    <a:ext uri="{FF2B5EF4-FFF2-40B4-BE49-F238E27FC236}">
                      <a16:creationId xmlns:a16="http://schemas.microsoft.com/office/drawing/2014/main" id="{9F67F1EF-961E-47D9-A1B1-3A295A99BF63}"/>
                    </a:ext>
                  </a:extLst>
                </p:cNvPr>
                <p:cNvCxnSpPr>
                  <a:cxnSpLocks/>
                </p:cNvCxnSpPr>
                <p:nvPr/>
              </p:nvCxnSpPr>
              <p:spPr>
                <a:xfrm flipH="1" flipV="1">
                  <a:off x="4417483" y="2537884"/>
                  <a:ext cx="647700" cy="338666"/>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8" name="Straight Connector 147">
                  <a:extLst>
                    <a:ext uri="{FF2B5EF4-FFF2-40B4-BE49-F238E27FC236}">
                      <a16:creationId xmlns:a16="http://schemas.microsoft.com/office/drawing/2014/main" id="{6956A1FA-2978-40E0-9CE8-D43F9B3639A3}"/>
                    </a:ext>
                  </a:extLst>
                </p:cNvPr>
                <p:cNvCxnSpPr>
                  <a:cxnSpLocks/>
                </p:cNvCxnSpPr>
                <p:nvPr/>
              </p:nvCxnSpPr>
              <p:spPr>
                <a:xfrm flipV="1">
                  <a:off x="4277783" y="2874433"/>
                  <a:ext cx="770467" cy="107950"/>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9" name="Straight Connector 148">
                  <a:extLst>
                    <a:ext uri="{FF2B5EF4-FFF2-40B4-BE49-F238E27FC236}">
                      <a16:creationId xmlns:a16="http://schemas.microsoft.com/office/drawing/2014/main" id="{6B2F7DD0-A33D-4CE2-9936-E5DBCBACB1FE}"/>
                    </a:ext>
                  </a:extLst>
                </p:cNvPr>
                <p:cNvCxnSpPr>
                  <a:cxnSpLocks/>
                </p:cNvCxnSpPr>
                <p:nvPr/>
              </p:nvCxnSpPr>
              <p:spPr>
                <a:xfrm flipH="1" flipV="1">
                  <a:off x="4413250" y="2531533"/>
                  <a:ext cx="353483" cy="698500"/>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0" name="Straight Connector 149">
                  <a:extLst>
                    <a:ext uri="{FF2B5EF4-FFF2-40B4-BE49-F238E27FC236}">
                      <a16:creationId xmlns:a16="http://schemas.microsoft.com/office/drawing/2014/main" id="{2158394B-9A57-4460-90E1-E79352BBCB01}"/>
                    </a:ext>
                  </a:extLst>
                </p:cNvPr>
                <p:cNvCxnSpPr>
                  <a:cxnSpLocks/>
                </p:cNvCxnSpPr>
                <p:nvPr/>
              </p:nvCxnSpPr>
              <p:spPr>
                <a:xfrm flipH="1" flipV="1">
                  <a:off x="4715933" y="2698750"/>
                  <a:ext cx="50800" cy="543983"/>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1" name="Straight Connector 150">
                  <a:extLst>
                    <a:ext uri="{FF2B5EF4-FFF2-40B4-BE49-F238E27FC236}">
                      <a16:creationId xmlns:a16="http://schemas.microsoft.com/office/drawing/2014/main" id="{23B29978-A1DD-4A95-ACBD-7B3267EE0620}"/>
                    </a:ext>
                  </a:extLst>
                </p:cNvPr>
                <p:cNvCxnSpPr>
                  <a:cxnSpLocks/>
                </p:cNvCxnSpPr>
                <p:nvPr/>
              </p:nvCxnSpPr>
              <p:spPr>
                <a:xfrm flipH="1" flipV="1">
                  <a:off x="5052483" y="2899834"/>
                  <a:ext cx="234950" cy="218016"/>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2" name="Straight Connector 151">
                  <a:extLst>
                    <a:ext uri="{FF2B5EF4-FFF2-40B4-BE49-F238E27FC236}">
                      <a16:creationId xmlns:a16="http://schemas.microsoft.com/office/drawing/2014/main" id="{A48AACE0-7DC3-41B5-BF9B-9E5DB4EC17FA}"/>
                    </a:ext>
                  </a:extLst>
                </p:cNvPr>
                <p:cNvCxnSpPr>
                  <a:cxnSpLocks/>
                </p:cNvCxnSpPr>
                <p:nvPr/>
              </p:nvCxnSpPr>
              <p:spPr>
                <a:xfrm flipV="1">
                  <a:off x="4762500" y="2876550"/>
                  <a:ext cx="292101" cy="340783"/>
                </a:xfrm>
                <a:prstGeom prst="line">
                  <a:avLst/>
                </a:prstGeom>
                <a:noFill/>
                <a:ln w="22225"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131" name="Oval 19">
                <a:extLst>
                  <a:ext uri="{FF2B5EF4-FFF2-40B4-BE49-F238E27FC236}">
                    <a16:creationId xmlns:a16="http://schemas.microsoft.com/office/drawing/2014/main" id="{609CF5AC-F4C2-4F4D-9E41-CF12BC34D1DF}"/>
                  </a:ext>
                </a:extLst>
              </p:cNvPr>
              <p:cNvSpPr>
                <a:spLocks noChangeArrowheads="1"/>
              </p:cNvSpPr>
              <p:nvPr/>
            </p:nvSpPr>
            <p:spPr bwMode="auto">
              <a:xfrm>
                <a:off x="4938065" y="2353385"/>
                <a:ext cx="113307" cy="113307"/>
              </a:xfrm>
              <a:prstGeom prst="ellipse">
                <a:avLst/>
              </a:prstGeom>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sp useBgFill="1">
            <p:nvSpPr>
              <p:cNvPr id="132" name="Oval 19">
                <a:extLst>
                  <a:ext uri="{FF2B5EF4-FFF2-40B4-BE49-F238E27FC236}">
                    <a16:creationId xmlns:a16="http://schemas.microsoft.com/office/drawing/2014/main" id="{C90F357C-4B24-4B8B-A675-13989C460A0C}"/>
                  </a:ext>
                </a:extLst>
              </p:cNvPr>
              <p:cNvSpPr>
                <a:spLocks noChangeArrowheads="1"/>
              </p:cNvSpPr>
              <p:nvPr/>
            </p:nvSpPr>
            <p:spPr bwMode="auto">
              <a:xfrm>
                <a:off x="5284290" y="2582712"/>
                <a:ext cx="113307" cy="113307"/>
              </a:xfrm>
              <a:prstGeom prst="ellipse">
                <a:avLst/>
              </a:prstGeom>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sp useBgFill="1">
            <p:nvSpPr>
              <p:cNvPr id="133" name="Oval 19">
                <a:extLst>
                  <a:ext uri="{FF2B5EF4-FFF2-40B4-BE49-F238E27FC236}">
                    <a16:creationId xmlns:a16="http://schemas.microsoft.com/office/drawing/2014/main" id="{2339B365-C8C7-4C84-8802-D0FE51627647}"/>
                  </a:ext>
                </a:extLst>
              </p:cNvPr>
              <p:cNvSpPr>
                <a:spLocks noChangeArrowheads="1"/>
              </p:cNvSpPr>
              <p:nvPr/>
            </p:nvSpPr>
            <p:spPr bwMode="auto">
              <a:xfrm>
                <a:off x="4992571" y="2824202"/>
                <a:ext cx="113307" cy="113307"/>
              </a:xfrm>
              <a:prstGeom prst="ellipse">
                <a:avLst/>
              </a:prstGeom>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sp useBgFill="1">
            <p:nvSpPr>
              <p:cNvPr id="134" name="Oval 19">
                <a:extLst>
                  <a:ext uri="{FF2B5EF4-FFF2-40B4-BE49-F238E27FC236}">
                    <a16:creationId xmlns:a16="http://schemas.microsoft.com/office/drawing/2014/main" id="{72A2930A-BABE-461F-8FD4-78864E3F3E46}"/>
                  </a:ext>
                </a:extLst>
              </p:cNvPr>
              <p:cNvSpPr>
                <a:spLocks noChangeArrowheads="1"/>
              </p:cNvSpPr>
              <p:nvPr/>
            </p:nvSpPr>
            <p:spPr bwMode="auto">
              <a:xfrm>
                <a:off x="5227637" y="3071688"/>
                <a:ext cx="113307" cy="113307"/>
              </a:xfrm>
              <a:prstGeom prst="ellipse">
                <a:avLst/>
              </a:prstGeom>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sp useBgFill="1">
            <p:nvSpPr>
              <p:cNvPr id="135" name="Oval 19">
                <a:extLst>
                  <a:ext uri="{FF2B5EF4-FFF2-40B4-BE49-F238E27FC236}">
                    <a16:creationId xmlns:a16="http://schemas.microsoft.com/office/drawing/2014/main" id="{686C39A0-C300-4B54-AF67-51A5B221BA79}"/>
                  </a:ext>
                </a:extLst>
              </p:cNvPr>
              <p:cNvSpPr>
                <a:spLocks noChangeArrowheads="1"/>
              </p:cNvSpPr>
              <p:nvPr/>
            </p:nvSpPr>
            <p:spPr bwMode="auto">
              <a:xfrm>
                <a:off x="4703544" y="3171926"/>
                <a:ext cx="113307" cy="113307"/>
              </a:xfrm>
              <a:prstGeom prst="ellipse">
                <a:avLst/>
              </a:prstGeom>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sp useBgFill="1">
            <p:nvSpPr>
              <p:cNvPr id="136" name="Oval 19">
                <a:extLst>
                  <a:ext uri="{FF2B5EF4-FFF2-40B4-BE49-F238E27FC236}">
                    <a16:creationId xmlns:a16="http://schemas.microsoft.com/office/drawing/2014/main" id="{5923DD32-AEEA-4C65-B537-DD2A68E988D1}"/>
                  </a:ext>
                </a:extLst>
              </p:cNvPr>
              <p:cNvSpPr>
                <a:spLocks noChangeArrowheads="1"/>
              </p:cNvSpPr>
              <p:nvPr/>
            </p:nvSpPr>
            <p:spPr bwMode="auto">
              <a:xfrm>
                <a:off x="4223626" y="2924064"/>
                <a:ext cx="113307" cy="113307"/>
              </a:xfrm>
              <a:prstGeom prst="ellipse">
                <a:avLst/>
              </a:prstGeom>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sp useBgFill="1">
            <p:nvSpPr>
              <p:cNvPr id="137" name="Oval 19">
                <a:extLst>
                  <a:ext uri="{FF2B5EF4-FFF2-40B4-BE49-F238E27FC236}">
                    <a16:creationId xmlns:a16="http://schemas.microsoft.com/office/drawing/2014/main" id="{F43DDA9B-CDE4-4711-8214-41A0C01FA1BF}"/>
                  </a:ext>
                </a:extLst>
              </p:cNvPr>
              <p:cNvSpPr>
                <a:spLocks noChangeArrowheads="1"/>
              </p:cNvSpPr>
              <p:nvPr/>
            </p:nvSpPr>
            <p:spPr bwMode="auto">
              <a:xfrm>
                <a:off x="4655543" y="2638231"/>
                <a:ext cx="113307" cy="113307"/>
              </a:xfrm>
              <a:prstGeom prst="ellipse">
                <a:avLst/>
              </a:prstGeom>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sp useBgFill="1">
            <p:nvSpPr>
              <p:cNvPr id="138" name="Oval 19">
                <a:extLst>
                  <a:ext uri="{FF2B5EF4-FFF2-40B4-BE49-F238E27FC236}">
                    <a16:creationId xmlns:a16="http://schemas.microsoft.com/office/drawing/2014/main" id="{EF8700E2-6D75-47A7-A23B-A7B51470FEE9}"/>
                  </a:ext>
                </a:extLst>
              </p:cNvPr>
              <p:cNvSpPr>
                <a:spLocks noChangeArrowheads="1"/>
              </p:cNvSpPr>
              <p:nvPr/>
            </p:nvSpPr>
            <p:spPr bwMode="auto">
              <a:xfrm>
                <a:off x="4363387" y="2482918"/>
                <a:ext cx="113307" cy="113307"/>
              </a:xfrm>
              <a:prstGeom prst="ellipse">
                <a:avLst/>
              </a:prstGeom>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a:gradFill>
                    <a:gsLst>
                      <a:gs pos="0">
                        <a:srgbClr val="000000"/>
                      </a:gs>
                      <a:gs pos="100000">
                        <a:srgbClr val="000000"/>
                      </a:gs>
                    </a:gsLst>
                    <a:lin ang="5400000" scaled="1"/>
                  </a:gradFill>
                  <a:latin typeface="Segoe UI"/>
                </a:endParaRPr>
              </a:p>
            </p:txBody>
          </p:sp>
        </p:grpSp>
        <p:grpSp>
          <p:nvGrpSpPr>
            <p:cNvPr id="14" name="Group 13">
              <a:extLst>
                <a:ext uri="{FF2B5EF4-FFF2-40B4-BE49-F238E27FC236}">
                  <a16:creationId xmlns:a16="http://schemas.microsoft.com/office/drawing/2014/main" id="{CF91C53A-5397-455F-BC4E-BDA95C6172A8}"/>
                </a:ext>
              </a:extLst>
            </p:cNvPr>
            <p:cNvGrpSpPr/>
            <p:nvPr/>
          </p:nvGrpSpPr>
          <p:grpSpPr>
            <a:xfrm>
              <a:off x="5912780" y="5668908"/>
              <a:ext cx="455430" cy="491862"/>
              <a:chOff x="5140719" y="5534213"/>
              <a:chExt cx="1095071" cy="1182675"/>
            </a:xfrm>
          </p:grpSpPr>
          <p:grpSp>
            <p:nvGrpSpPr>
              <p:cNvPr id="123" name="Group 122">
                <a:extLst>
                  <a:ext uri="{FF2B5EF4-FFF2-40B4-BE49-F238E27FC236}">
                    <a16:creationId xmlns:a16="http://schemas.microsoft.com/office/drawing/2014/main" id="{1D2C612B-9B79-47BE-8181-C7E3BC47B0B6}"/>
                  </a:ext>
                </a:extLst>
              </p:cNvPr>
              <p:cNvGrpSpPr/>
              <p:nvPr/>
            </p:nvGrpSpPr>
            <p:grpSpPr>
              <a:xfrm>
                <a:off x="5140719" y="5851083"/>
                <a:ext cx="1095071" cy="865805"/>
                <a:chOff x="967154" y="1481462"/>
                <a:chExt cx="5331069" cy="4214950"/>
              </a:xfrm>
            </p:grpSpPr>
            <p:cxnSp>
              <p:nvCxnSpPr>
                <p:cNvPr id="125" name="Straight Connector 124">
                  <a:extLst>
                    <a:ext uri="{FF2B5EF4-FFF2-40B4-BE49-F238E27FC236}">
                      <a16:creationId xmlns:a16="http://schemas.microsoft.com/office/drawing/2014/main" id="{7A79CD87-7DA3-42CD-9AC1-7BAA7CAE05C6}"/>
                    </a:ext>
                  </a:extLst>
                </p:cNvPr>
                <p:cNvCxnSpPr>
                  <a:cxnSpLocks/>
                </p:cNvCxnSpPr>
                <p:nvPr/>
              </p:nvCxnSpPr>
              <p:spPr>
                <a:xfrm>
                  <a:off x="967154" y="5696412"/>
                  <a:ext cx="5331069" cy="0"/>
                </a:xfrm>
                <a:prstGeom prst="line">
                  <a:avLst/>
                </a:prstGeom>
                <a:ln w="22225">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7758DE6B-AE09-4D51-8C66-E5B8BFA05799}"/>
                    </a:ext>
                  </a:extLst>
                </p:cNvPr>
                <p:cNvSpPr/>
                <p:nvPr/>
              </p:nvSpPr>
              <p:spPr bwMode="auto">
                <a:xfrm>
                  <a:off x="1286608" y="2696308"/>
                  <a:ext cx="2793023" cy="3000104"/>
                </a:xfrm>
                <a:prstGeom prst="rect">
                  <a:avLst/>
                </a:prstGeom>
                <a:noFill/>
                <a:ln w="2222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D03155F6-B941-4202-BB61-A6BE6DDDFECE}"/>
                    </a:ext>
                  </a:extLst>
                </p:cNvPr>
                <p:cNvSpPr/>
                <p:nvPr/>
              </p:nvSpPr>
              <p:spPr bwMode="auto">
                <a:xfrm>
                  <a:off x="2225919" y="4700954"/>
                  <a:ext cx="914400" cy="995458"/>
                </a:xfrm>
                <a:prstGeom prst="rect">
                  <a:avLst/>
                </a:prstGeom>
                <a:noFill/>
                <a:ln w="2222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Freeform: Shape 404">
                  <a:extLst>
                    <a:ext uri="{FF2B5EF4-FFF2-40B4-BE49-F238E27FC236}">
                      <a16:creationId xmlns:a16="http://schemas.microsoft.com/office/drawing/2014/main" id="{067EA34F-BDCB-4705-B86A-DEF8F84E5539}"/>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2222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Freeform: Shape 405">
                  <a:extLst>
                    <a:ext uri="{FF2B5EF4-FFF2-40B4-BE49-F238E27FC236}">
                      <a16:creationId xmlns:a16="http://schemas.microsoft.com/office/drawing/2014/main" id="{4A1AF91D-3CA3-4C75-9CE8-82E40237B112}"/>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2222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24" name="Freeform 122">
                <a:extLst>
                  <a:ext uri="{FF2B5EF4-FFF2-40B4-BE49-F238E27FC236}">
                    <a16:creationId xmlns:a16="http://schemas.microsoft.com/office/drawing/2014/main" id="{9ADBAD73-4B7B-44BD-AD02-FA60CEFDFB39}"/>
                  </a:ext>
                </a:extLst>
              </p:cNvPr>
              <p:cNvSpPr/>
              <p:nvPr/>
            </p:nvSpPr>
            <p:spPr bwMode="auto">
              <a:xfrm>
                <a:off x="5455403" y="5534213"/>
                <a:ext cx="330632" cy="499794"/>
              </a:xfrm>
              <a:custGeom>
                <a:avLst/>
                <a:gdLst>
                  <a:gd name="connsiteX0" fmla="*/ 0 w 222142"/>
                  <a:gd name="connsiteY0" fmla="*/ 335797 h 335797"/>
                  <a:gd name="connsiteX1" fmla="*/ 0 w 222142"/>
                  <a:gd name="connsiteY1" fmla="*/ 165315 h 335797"/>
                  <a:gd name="connsiteX2" fmla="*/ 222142 w 222142"/>
                  <a:gd name="connsiteY2" fmla="*/ 0 h 335797"/>
                  <a:gd name="connsiteX3" fmla="*/ 222142 w 222142"/>
                  <a:gd name="connsiteY3" fmla="*/ 165315 h 335797"/>
                </a:gdLst>
                <a:ahLst/>
                <a:cxnLst>
                  <a:cxn ang="0">
                    <a:pos x="connsiteX0" y="connsiteY0"/>
                  </a:cxn>
                  <a:cxn ang="0">
                    <a:pos x="connsiteX1" y="connsiteY1"/>
                  </a:cxn>
                  <a:cxn ang="0">
                    <a:pos x="connsiteX2" y="connsiteY2"/>
                  </a:cxn>
                  <a:cxn ang="0">
                    <a:pos x="connsiteX3" y="connsiteY3"/>
                  </a:cxn>
                </a:cxnLst>
                <a:rect l="l" t="t" r="r" b="b"/>
                <a:pathLst>
                  <a:path w="222142" h="335797">
                    <a:moveTo>
                      <a:pt x="0" y="335797"/>
                    </a:moveTo>
                    <a:lnTo>
                      <a:pt x="0" y="165315"/>
                    </a:lnTo>
                    <a:lnTo>
                      <a:pt x="222142" y="0"/>
                    </a:lnTo>
                    <a:lnTo>
                      <a:pt x="222142" y="165315"/>
                    </a:lnTo>
                  </a:path>
                </a:pathLst>
              </a:cu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srgbClr val="FFFFFF"/>
                  </a:solidFill>
                  <a:latin typeface="Segoe UI"/>
                </a:endParaRPr>
              </a:p>
            </p:txBody>
          </p:sp>
        </p:grpSp>
        <p:grpSp>
          <p:nvGrpSpPr>
            <p:cNvPr id="15" name="Group 14">
              <a:extLst>
                <a:ext uri="{FF2B5EF4-FFF2-40B4-BE49-F238E27FC236}">
                  <a16:creationId xmlns:a16="http://schemas.microsoft.com/office/drawing/2014/main" id="{9F1EFAF1-A384-47F7-AAAD-7C1E1358A691}"/>
                </a:ext>
              </a:extLst>
            </p:cNvPr>
            <p:cNvGrpSpPr/>
            <p:nvPr/>
          </p:nvGrpSpPr>
          <p:grpSpPr>
            <a:xfrm>
              <a:off x="4503965" y="3581765"/>
              <a:ext cx="464458" cy="464456"/>
              <a:chOff x="10134599" y="2924174"/>
              <a:chExt cx="809625" cy="809625"/>
            </a:xfrm>
          </p:grpSpPr>
          <p:sp>
            <p:nvSpPr>
              <p:cNvPr id="120" name="Freeform 118">
                <a:extLst>
                  <a:ext uri="{FF2B5EF4-FFF2-40B4-BE49-F238E27FC236}">
                    <a16:creationId xmlns:a16="http://schemas.microsoft.com/office/drawing/2014/main" id="{39B46FEC-6A24-468A-9A2B-B5A255D04952}"/>
                  </a:ext>
                </a:extLst>
              </p:cNvPr>
              <p:cNvSpPr/>
              <p:nvPr/>
            </p:nvSpPr>
            <p:spPr bwMode="auto">
              <a:xfrm>
                <a:off x="10188575" y="3044825"/>
                <a:ext cx="298450" cy="638175"/>
              </a:xfrm>
              <a:custGeom>
                <a:avLst/>
                <a:gdLst>
                  <a:gd name="connsiteX0" fmla="*/ 25400 w 298450"/>
                  <a:gd name="connsiteY0" fmla="*/ 47625 h 638175"/>
                  <a:gd name="connsiteX1" fmla="*/ 193675 w 298450"/>
                  <a:gd name="connsiteY1" fmla="*/ 47625 h 638175"/>
                  <a:gd name="connsiteX2" fmla="*/ 231775 w 298450"/>
                  <a:gd name="connsiteY2" fmla="*/ 0 h 638175"/>
                  <a:gd name="connsiteX3" fmla="*/ 298450 w 298450"/>
                  <a:gd name="connsiteY3" fmla="*/ 79375 h 638175"/>
                  <a:gd name="connsiteX4" fmla="*/ 193675 w 298450"/>
                  <a:gd name="connsiteY4" fmla="*/ 171450 h 638175"/>
                  <a:gd name="connsiteX5" fmla="*/ 174625 w 298450"/>
                  <a:gd name="connsiteY5" fmla="*/ 250825 h 638175"/>
                  <a:gd name="connsiteX6" fmla="*/ 190500 w 298450"/>
                  <a:gd name="connsiteY6" fmla="*/ 323850 h 638175"/>
                  <a:gd name="connsiteX7" fmla="*/ 139700 w 298450"/>
                  <a:gd name="connsiteY7" fmla="*/ 346075 h 638175"/>
                  <a:gd name="connsiteX8" fmla="*/ 82550 w 298450"/>
                  <a:gd name="connsiteY8" fmla="*/ 285750 h 638175"/>
                  <a:gd name="connsiteX9" fmla="*/ 47625 w 298450"/>
                  <a:gd name="connsiteY9" fmla="*/ 285750 h 638175"/>
                  <a:gd name="connsiteX10" fmla="*/ 0 w 298450"/>
                  <a:gd name="connsiteY10" fmla="*/ 396875 h 638175"/>
                  <a:gd name="connsiteX11" fmla="*/ 38100 w 298450"/>
                  <a:gd name="connsiteY11" fmla="*/ 492125 h 638175"/>
                  <a:gd name="connsiteX12" fmla="*/ 120650 w 298450"/>
                  <a:gd name="connsiteY12" fmla="*/ 495300 h 638175"/>
                  <a:gd name="connsiteX13" fmla="*/ 180975 w 298450"/>
                  <a:gd name="connsiteY13" fmla="*/ 533400 h 638175"/>
                  <a:gd name="connsiteX14" fmla="*/ 193675 w 298450"/>
                  <a:gd name="connsiteY14" fmla="*/ 600075 h 638175"/>
                  <a:gd name="connsiteX15" fmla="*/ 165100 w 298450"/>
                  <a:gd name="connsiteY15" fmla="*/ 6381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8450" h="638175">
                    <a:moveTo>
                      <a:pt x="25400" y="47625"/>
                    </a:moveTo>
                    <a:lnTo>
                      <a:pt x="193675" y="47625"/>
                    </a:lnTo>
                    <a:lnTo>
                      <a:pt x="231775" y="0"/>
                    </a:lnTo>
                    <a:lnTo>
                      <a:pt x="298450" y="79375"/>
                    </a:lnTo>
                    <a:lnTo>
                      <a:pt x="193675" y="171450"/>
                    </a:lnTo>
                    <a:lnTo>
                      <a:pt x="174625" y="250825"/>
                    </a:lnTo>
                    <a:lnTo>
                      <a:pt x="190500" y="323850"/>
                    </a:lnTo>
                    <a:lnTo>
                      <a:pt x="139700" y="346075"/>
                    </a:lnTo>
                    <a:lnTo>
                      <a:pt x="82550" y="285750"/>
                    </a:lnTo>
                    <a:lnTo>
                      <a:pt x="47625" y="285750"/>
                    </a:lnTo>
                    <a:lnTo>
                      <a:pt x="0" y="396875"/>
                    </a:lnTo>
                    <a:lnTo>
                      <a:pt x="38100" y="492125"/>
                    </a:lnTo>
                    <a:lnTo>
                      <a:pt x="120650" y="495300"/>
                    </a:lnTo>
                    <a:lnTo>
                      <a:pt x="180975" y="533400"/>
                    </a:lnTo>
                    <a:lnTo>
                      <a:pt x="193675" y="600075"/>
                    </a:lnTo>
                    <a:lnTo>
                      <a:pt x="165100" y="638175"/>
                    </a:lnTo>
                  </a:path>
                </a:pathLst>
              </a:custGeom>
              <a:noFill/>
              <a:ln w="22225" cap="rnd" cmpd="sng" algn="ctr">
                <a:solidFill>
                  <a:schemeClr val="accent1"/>
                </a:solidFill>
                <a:prstDash val="solid"/>
                <a:headEnd type="none" w="med" len="med"/>
                <a:tailEnd type="none" w="med" len="med"/>
              </a:ln>
              <a:effectLst/>
            </p:spPr>
            <p:txBody>
              <a:bodyPr rtlCol="0" anchor="ctr"/>
              <a:lstStyle/>
              <a:p>
                <a:pPr algn="ctr" defTabSz="932597">
                  <a:defRPr/>
                </a:pPr>
                <a:endParaRPr lang="en-US" sz="1836" kern="0">
                  <a:solidFill>
                    <a:srgbClr val="E6E6E6"/>
                  </a:solidFill>
                  <a:latin typeface="Segoe UI"/>
                  <a:ea typeface=""/>
                  <a:cs typeface=""/>
                </a:endParaRPr>
              </a:p>
            </p:txBody>
          </p:sp>
          <p:sp>
            <p:nvSpPr>
              <p:cNvPr id="121" name="Freeform 119">
                <a:extLst>
                  <a:ext uri="{FF2B5EF4-FFF2-40B4-BE49-F238E27FC236}">
                    <a16:creationId xmlns:a16="http://schemas.microsoft.com/office/drawing/2014/main" id="{D601D368-51DF-4EC8-80F1-A0EC7E981DEF}"/>
                  </a:ext>
                </a:extLst>
              </p:cNvPr>
              <p:cNvSpPr/>
              <p:nvPr/>
            </p:nvSpPr>
            <p:spPr bwMode="auto">
              <a:xfrm>
                <a:off x="10534650" y="2984500"/>
                <a:ext cx="403225" cy="631825"/>
              </a:xfrm>
              <a:custGeom>
                <a:avLst/>
                <a:gdLst>
                  <a:gd name="connsiteX0" fmla="*/ 212725 w 403225"/>
                  <a:gd name="connsiteY0" fmla="*/ 0 h 631825"/>
                  <a:gd name="connsiteX1" fmla="*/ 60325 w 403225"/>
                  <a:gd name="connsiteY1" fmla="*/ 76200 h 631825"/>
                  <a:gd name="connsiteX2" fmla="*/ 92075 w 403225"/>
                  <a:gd name="connsiteY2" fmla="*/ 168275 h 631825"/>
                  <a:gd name="connsiteX3" fmla="*/ 171450 w 403225"/>
                  <a:gd name="connsiteY3" fmla="*/ 168275 h 631825"/>
                  <a:gd name="connsiteX4" fmla="*/ 139700 w 403225"/>
                  <a:gd name="connsiteY4" fmla="*/ 215900 h 631825"/>
                  <a:gd name="connsiteX5" fmla="*/ 60325 w 403225"/>
                  <a:gd name="connsiteY5" fmla="*/ 254000 h 631825"/>
                  <a:gd name="connsiteX6" fmla="*/ 0 w 403225"/>
                  <a:gd name="connsiteY6" fmla="*/ 346075 h 631825"/>
                  <a:gd name="connsiteX7" fmla="*/ 19050 w 403225"/>
                  <a:gd name="connsiteY7" fmla="*/ 438150 h 631825"/>
                  <a:gd name="connsiteX8" fmla="*/ 104775 w 403225"/>
                  <a:gd name="connsiteY8" fmla="*/ 482600 h 631825"/>
                  <a:gd name="connsiteX9" fmla="*/ 133350 w 403225"/>
                  <a:gd name="connsiteY9" fmla="*/ 457200 h 631825"/>
                  <a:gd name="connsiteX10" fmla="*/ 155575 w 403225"/>
                  <a:gd name="connsiteY10" fmla="*/ 527050 h 631825"/>
                  <a:gd name="connsiteX11" fmla="*/ 133350 w 403225"/>
                  <a:gd name="connsiteY11" fmla="*/ 631825 h 631825"/>
                  <a:gd name="connsiteX12" fmla="*/ 203200 w 403225"/>
                  <a:gd name="connsiteY12" fmla="*/ 603250 h 631825"/>
                  <a:gd name="connsiteX13" fmla="*/ 231775 w 403225"/>
                  <a:gd name="connsiteY13" fmla="*/ 561975 h 631825"/>
                  <a:gd name="connsiteX14" fmla="*/ 234950 w 403225"/>
                  <a:gd name="connsiteY14" fmla="*/ 346075 h 631825"/>
                  <a:gd name="connsiteX15" fmla="*/ 184150 w 403225"/>
                  <a:gd name="connsiteY15" fmla="*/ 276225 h 631825"/>
                  <a:gd name="connsiteX16" fmla="*/ 228600 w 403225"/>
                  <a:gd name="connsiteY16" fmla="*/ 241300 h 631825"/>
                  <a:gd name="connsiteX17" fmla="*/ 288925 w 403225"/>
                  <a:gd name="connsiteY17" fmla="*/ 273050 h 631825"/>
                  <a:gd name="connsiteX18" fmla="*/ 342900 w 403225"/>
                  <a:gd name="connsiteY18" fmla="*/ 346075 h 631825"/>
                  <a:gd name="connsiteX19" fmla="*/ 336550 w 403225"/>
                  <a:gd name="connsiteY19" fmla="*/ 393700 h 631825"/>
                  <a:gd name="connsiteX20" fmla="*/ 403225 w 403225"/>
                  <a:gd name="connsiteY20" fmla="*/ 381000 h 631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225" h="631825">
                    <a:moveTo>
                      <a:pt x="212725" y="0"/>
                    </a:moveTo>
                    <a:lnTo>
                      <a:pt x="60325" y="76200"/>
                    </a:lnTo>
                    <a:lnTo>
                      <a:pt x="92075" y="168275"/>
                    </a:lnTo>
                    <a:lnTo>
                      <a:pt x="171450" y="168275"/>
                    </a:lnTo>
                    <a:lnTo>
                      <a:pt x="139700" y="215900"/>
                    </a:lnTo>
                    <a:lnTo>
                      <a:pt x="60325" y="254000"/>
                    </a:lnTo>
                    <a:lnTo>
                      <a:pt x="0" y="346075"/>
                    </a:lnTo>
                    <a:lnTo>
                      <a:pt x="19050" y="438150"/>
                    </a:lnTo>
                    <a:lnTo>
                      <a:pt x="104775" y="482600"/>
                    </a:lnTo>
                    <a:lnTo>
                      <a:pt x="133350" y="457200"/>
                    </a:lnTo>
                    <a:lnTo>
                      <a:pt x="155575" y="527050"/>
                    </a:lnTo>
                    <a:lnTo>
                      <a:pt x="133350" y="631825"/>
                    </a:lnTo>
                    <a:lnTo>
                      <a:pt x="203200" y="603250"/>
                    </a:lnTo>
                    <a:lnTo>
                      <a:pt x="231775" y="561975"/>
                    </a:lnTo>
                    <a:cubicBezTo>
                      <a:pt x="232833" y="490008"/>
                      <a:pt x="233892" y="418042"/>
                      <a:pt x="234950" y="346075"/>
                    </a:cubicBezTo>
                    <a:lnTo>
                      <a:pt x="184150" y="276225"/>
                    </a:lnTo>
                    <a:lnTo>
                      <a:pt x="228600" y="241300"/>
                    </a:lnTo>
                    <a:lnTo>
                      <a:pt x="288925" y="273050"/>
                    </a:lnTo>
                    <a:lnTo>
                      <a:pt x="342900" y="346075"/>
                    </a:lnTo>
                    <a:lnTo>
                      <a:pt x="336550" y="393700"/>
                    </a:lnTo>
                    <a:lnTo>
                      <a:pt x="403225" y="381000"/>
                    </a:lnTo>
                  </a:path>
                </a:pathLst>
              </a:custGeom>
              <a:noFill/>
              <a:ln w="22225" cap="rnd" cmpd="sng" algn="ctr">
                <a:solidFill>
                  <a:schemeClr val="accent1"/>
                </a:solidFill>
                <a:prstDash val="solid"/>
                <a:headEnd type="none" w="med" len="med"/>
                <a:tailEnd type="none" w="med" len="med"/>
              </a:ln>
              <a:effectLst/>
            </p:spPr>
            <p:txBody>
              <a:bodyPr rtlCol="0" anchor="ctr"/>
              <a:lstStyle/>
              <a:p>
                <a:pPr algn="ctr" defTabSz="932597">
                  <a:defRPr/>
                </a:pPr>
                <a:endParaRPr lang="en-US" sz="1836" kern="0">
                  <a:solidFill>
                    <a:srgbClr val="E6E6E6"/>
                  </a:solidFill>
                  <a:latin typeface="Segoe UI"/>
                  <a:ea typeface=""/>
                  <a:cs typeface=""/>
                </a:endParaRPr>
              </a:p>
            </p:txBody>
          </p:sp>
          <p:sp>
            <p:nvSpPr>
              <p:cNvPr id="122" name="Oval 121">
                <a:extLst>
                  <a:ext uri="{FF2B5EF4-FFF2-40B4-BE49-F238E27FC236}">
                    <a16:creationId xmlns:a16="http://schemas.microsoft.com/office/drawing/2014/main" id="{35DE4899-3658-4973-9C84-8E7BF20B8E73}"/>
                  </a:ext>
                </a:extLst>
              </p:cNvPr>
              <p:cNvSpPr/>
              <p:nvPr/>
            </p:nvSpPr>
            <p:spPr bwMode="auto">
              <a:xfrm>
                <a:off x="10134599" y="2924174"/>
                <a:ext cx="809625" cy="809625"/>
              </a:xfrm>
              <a:prstGeom prst="ellipse">
                <a:avLst/>
              </a:prstGeom>
              <a:noFill/>
              <a:ln w="22225" cap="flat" cmpd="sng" algn="ctr">
                <a:solidFill>
                  <a:schemeClr val="accent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 name="Group 15">
              <a:extLst>
                <a:ext uri="{FF2B5EF4-FFF2-40B4-BE49-F238E27FC236}">
                  <a16:creationId xmlns:a16="http://schemas.microsoft.com/office/drawing/2014/main" id="{D78D878A-F190-4DA8-A002-BDB8AC719816}"/>
                </a:ext>
              </a:extLst>
            </p:cNvPr>
            <p:cNvGrpSpPr/>
            <p:nvPr/>
          </p:nvGrpSpPr>
          <p:grpSpPr>
            <a:xfrm>
              <a:off x="6521870" y="3691484"/>
              <a:ext cx="558505" cy="314757"/>
              <a:chOff x="831850" y="2057400"/>
              <a:chExt cx="923925" cy="520700"/>
            </a:xfrm>
          </p:grpSpPr>
          <p:sp>
            <p:nvSpPr>
              <p:cNvPr id="117" name="Freeform 115">
                <a:extLst>
                  <a:ext uri="{FF2B5EF4-FFF2-40B4-BE49-F238E27FC236}">
                    <a16:creationId xmlns:a16="http://schemas.microsoft.com/office/drawing/2014/main" id="{7BB95E99-F519-4574-9398-3EE0117DE3C6}"/>
                  </a:ext>
                </a:extLst>
              </p:cNvPr>
              <p:cNvSpPr/>
              <p:nvPr/>
            </p:nvSpPr>
            <p:spPr bwMode="auto">
              <a:xfrm>
                <a:off x="831850" y="2181225"/>
                <a:ext cx="250825" cy="269875"/>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22225"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118" name="Freeform 116">
                <a:extLst>
                  <a:ext uri="{FF2B5EF4-FFF2-40B4-BE49-F238E27FC236}">
                    <a16:creationId xmlns:a16="http://schemas.microsoft.com/office/drawing/2014/main" id="{B7216C22-AE63-43CC-9727-9BA677BC3017}"/>
                  </a:ext>
                </a:extLst>
              </p:cNvPr>
              <p:cNvSpPr/>
              <p:nvPr/>
            </p:nvSpPr>
            <p:spPr bwMode="auto">
              <a:xfrm flipH="1">
                <a:off x="1504950" y="2181225"/>
                <a:ext cx="250825" cy="269875"/>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22225"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srgbClr val="FFFFFF"/>
                  </a:solidFill>
                  <a:latin typeface="Segoe UI"/>
                </a:endParaRPr>
              </a:p>
            </p:txBody>
          </p:sp>
          <p:cxnSp>
            <p:nvCxnSpPr>
              <p:cNvPr id="119" name="Straight Connector 118">
                <a:extLst>
                  <a:ext uri="{FF2B5EF4-FFF2-40B4-BE49-F238E27FC236}">
                    <a16:creationId xmlns:a16="http://schemas.microsoft.com/office/drawing/2014/main" id="{8ECD79B1-5A4B-4D03-B3BF-593CFD50024F}"/>
                  </a:ext>
                </a:extLst>
              </p:cNvPr>
              <p:cNvCxnSpPr/>
              <p:nvPr/>
            </p:nvCxnSpPr>
            <p:spPr>
              <a:xfrm flipH="1">
                <a:off x="1181100" y="2057400"/>
                <a:ext cx="215900" cy="520700"/>
              </a:xfrm>
              <a:prstGeom prst="line">
                <a:avLst/>
              </a:prstGeom>
              <a:ln w="2222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7" name="Oval 225">
              <a:extLst>
                <a:ext uri="{FF2B5EF4-FFF2-40B4-BE49-F238E27FC236}">
                  <a16:creationId xmlns:a16="http://schemas.microsoft.com/office/drawing/2014/main" id="{6589737A-627A-4E6E-BF15-BFF18109BC03}"/>
                </a:ext>
              </a:extLst>
            </p:cNvPr>
            <p:cNvSpPr/>
            <p:nvPr/>
          </p:nvSpPr>
          <p:spPr bwMode="auto">
            <a:xfrm>
              <a:off x="7698105" y="1760220"/>
              <a:ext cx="417195" cy="834390"/>
            </a:xfrm>
            <a:custGeom>
              <a:avLst/>
              <a:gdLst>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0 w 834390"/>
                <a:gd name="connsiteY4" fmla="*/ 41719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91440 w 834390"/>
                <a:gd name="connsiteY4" fmla="*/ 50863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0" fmla="*/ 0 w 417195"/>
                <a:gd name="connsiteY0" fmla="*/ 0 h 834390"/>
                <a:gd name="connsiteX1" fmla="*/ 417195 w 417195"/>
                <a:gd name="connsiteY1" fmla="*/ 417195 h 834390"/>
                <a:gd name="connsiteX2" fmla="*/ 0 w 417195"/>
                <a:gd name="connsiteY2" fmla="*/ 834390 h 834390"/>
              </a:gdLst>
              <a:ahLst/>
              <a:cxnLst>
                <a:cxn ang="0">
                  <a:pos x="connsiteX0" y="connsiteY0"/>
                </a:cxn>
                <a:cxn ang="0">
                  <a:pos x="connsiteX1" y="connsiteY1"/>
                </a:cxn>
                <a:cxn ang="0">
                  <a:pos x="connsiteX2" y="connsiteY2"/>
                </a:cxn>
              </a:cxnLst>
              <a:rect l="l" t="t" r="r" b="b"/>
              <a:pathLst>
                <a:path w="417195" h="834390">
                  <a:moveTo>
                    <a:pt x="0" y="0"/>
                  </a:moveTo>
                  <a:cubicBezTo>
                    <a:pt x="230410" y="0"/>
                    <a:pt x="417195" y="186785"/>
                    <a:pt x="417195" y="417195"/>
                  </a:cubicBezTo>
                  <a:cubicBezTo>
                    <a:pt x="417195" y="647605"/>
                    <a:pt x="230410" y="834390"/>
                    <a:pt x="0" y="834390"/>
                  </a:cubicBezTo>
                </a:path>
              </a:pathLst>
            </a:custGeom>
            <a:noFill/>
            <a:ln w="22225" cap="rnd">
              <a:solidFill>
                <a:schemeClr val="accent1"/>
              </a:solidFill>
              <a:miter lim="800000"/>
              <a:headEnd/>
              <a:tailEnd/>
            </a:ln>
            <a:effectLst/>
          </p:spPr>
          <p:txBody>
            <a:bodyPr wrap="none" rtlCol="0" anchor="ctr"/>
            <a:lstStyle/>
            <a:p>
              <a:pPr defTabSz="932597">
                <a:defRPr/>
              </a:pPr>
              <a:endParaRPr lang="en-US" sz="1836">
                <a:solidFill>
                  <a:prstClr val="black"/>
                </a:solidFill>
                <a:latin typeface="Arial" charset="0"/>
                <a:ea typeface="Arial" charset="0"/>
                <a:cs typeface="Arial" charset="0"/>
              </a:endParaRPr>
            </a:p>
          </p:txBody>
        </p:sp>
        <p:sp>
          <p:nvSpPr>
            <p:cNvPr id="18" name="Oval 225">
              <a:extLst>
                <a:ext uri="{FF2B5EF4-FFF2-40B4-BE49-F238E27FC236}">
                  <a16:creationId xmlns:a16="http://schemas.microsoft.com/office/drawing/2014/main" id="{6B000062-40DF-41DB-8F20-DEF824D21DC9}"/>
                </a:ext>
              </a:extLst>
            </p:cNvPr>
            <p:cNvSpPr/>
            <p:nvPr/>
          </p:nvSpPr>
          <p:spPr bwMode="auto">
            <a:xfrm>
              <a:off x="7698105" y="3394709"/>
              <a:ext cx="417195" cy="831215"/>
            </a:xfrm>
            <a:custGeom>
              <a:avLst/>
              <a:gdLst>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0 w 834390"/>
                <a:gd name="connsiteY4" fmla="*/ 41719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91440 w 834390"/>
                <a:gd name="connsiteY4" fmla="*/ 50863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0" fmla="*/ 0 w 417195"/>
                <a:gd name="connsiteY0" fmla="*/ 0 h 834390"/>
                <a:gd name="connsiteX1" fmla="*/ 417195 w 417195"/>
                <a:gd name="connsiteY1" fmla="*/ 417195 h 834390"/>
                <a:gd name="connsiteX2" fmla="*/ 0 w 417195"/>
                <a:gd name="connsiteY2" fmla="*/ 834390 h 834390"/>
                <a:gd name="connsiteX0" fmla="*/ 0 w 417195"/>
                <a:gd name="connsiteY0" fmla="*/ 0 h 831215"/>
                <a:gd name="connsiteX1" fmla="*/ 417195 w 417195"/>
                <a:gd name="connsiteY1" fmla="*/ 417195 h 831215"/>
                <a:gd name="connsiteX2" fmla="*/ 76200 w 417195"/>
                <a:gd name="connsiteY2" fmla="*/ 831215 h 831215"/>
                <a:gd name="connsiteX0" fmla="*/ 0 w 417195"/>
                <a:gd name="connsiteY0" fmla="*/ 0 h 831215"/>
                <a:gd name="connsiteX1" fmla="*/ 417195 w 417195"/>
                <a:gd name="connsiteY1" fmla="*/ 417195 h 831215"/>
                <a:gd name="connsiteX2" fmla="*/ 76200 w 417195"/>
                <a:gd name="connsiteY2" fmla="*/ 831215 h 831215"/>
              </a:gdLst>
              <a:ahLst/>
              <a:cxnLst>
                <a:cxn ang="0">
                  <a:pos x="connsiteX0" y="connsiteY0"/>
                </a:cxn>
                <a:cxn ang="0">
                  <a:pos x="connsiteX1" y="connsiteY1"/>
                </a:cxn>
                <a:cxn ang="0">
                  <a:pos x="connsiteX2" y="connsiteY2"/>
                </a:cxn>
              </a:cxnLst>
              <a:rect l="l" t="t" r="r" b="b"/>
              <a:pathLst>
                <a:path w="417195" h="831215">
                  <a:moveTo>
                    <a:pt x="0" y="0"/>
                  </a:moveTo>
                  <a:cubicBezTo>
                    <a:pt x="230410" y="0"/>
                    <a:pt x="417195" y="186785"/>
                    <a:pt x="417195" y="417195"/>
                  </a:cubicBezTo>
                  <a:cubicBezTo>
                    <a:pt x="417195" y="647605"/>
                    <a:pt x="249460" y="831215"/>
                    <a:pt x="76200" y="831215"/>
                  </a:cubicBezTo>
                </a:path>
              </a:pathLst>
            </a:custGeom>
            <a:noFill/>
            <a:ln w="22225" cap="rnd">
              <a:solidFill>
                <a:schemeClr val="accent1"/>
              </a:solidFill>
              <a:miter lim="800000"/>
              <a:headEnd/>
              <a:tailEnd/>
            </a:ln>
            <a:effectLst/>
          </p:spPr>
          <p:txBody>
            <a:bodyPr wrap="none" rtlCol="0" anchor="ctr"/>
            <a:lstStyle/>
            <a:p>
              <a:pPr defTabSz="932597">
                <a:defRPr/>
              </a:pPr>
              <a:endParaRPr lang="en-US" sz="1836">
                <a:solidFill>
                  <a:prstClr val="black"/>
                </a:solidFill>
                <a:latin typeface="Arial" charset="0"/>
                <a:ea typeface="Arial" charset="0"/>
                <a:cs typeface="Arial" charset="0"/>
              </a:endParaRPr>
            </a:p>
          </p:txBody>
        </p:sp>
        <p:sp>
          <p:nvSpPr>
            <p:cNvPr id="19" name="Oval 225">
              <a:extLst>
                <a:ext uri="{FF2B5EF4-FFF2-40B4-BE49-F238E27FC236}">
                  <a16:creationId xmlns:a16="http://schemas.microsoft.com/office/drawing/2014/main" id="{1AB36197-408F-4C58-B88D-910A4A3DF049}"/>
                </a:ext>
              </a:extLst>
            </p:cNvPr>
            <p:cNvSpPr/>
            <p:nvPr/>
          </p:nvSpPr>
          <p:spPr bwMode="auto">
            <a:xfrm rot="10800000">
              <a:off x="3903345" y="4217670"/>
              <a:ext cx="417195" cy="834390"/>
            </a:xfrm>
            <a:custGeom>
              <a:avLst/>
              <a:gdLst>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0 w 834390"/>
                <a:gd name="connsiteY4" fmla="*/ 41719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91440 w 834390"/>
                <a:gd name="connsiteY4" fmla="*/ 50863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0" fmla="*/ 0 w 417195"/>
                <a:gd name="connsiteY0" fmla="*/ 0 h 834390"/>
                <a:gd name="connsiteX1" fmla="*/ 417195 w 417195"/>
                <a:gd name="connsiteY1" fmla="*/ 417195 h 834390"/>
                <a:gd name="connsiteX2" fmla="*/ 0 w 417195"/>
                <a:gd name="connsiteY2" fmla="*/ 834390 h 834390"/>
              </a:gdLst>
              <a:ahLst/>
              <a:cxnLst>
                <a:cxn ang="0">
                  <a:pos x="connsiteX0" y="connsiteY0"/>
                </a:cxn>
                <a:cxn ang="0">
                  <a:pos x="connsiteX1" y="connsiteY1"/>
                </a:cxn>
                <a:cxn ang="0">
                  <a:pos x="connsiteX2" y="connsiteY2"/>
                </a:cxn>
              </a:cxnLst>
              <a:rect l="l" t="t" r="r" b="b"/>
              <a:pathLst>
                <a:path w="417195" h="834390">
                  <a:moveTo>
                    <a:pt x="0" y="0"/>
                  </a:moveTo>
                  <a:cubicBezTo>
                    <a:pt x="230410" y="0"/>
                    <a:pt x="417195" y="186785"/>
                    <a:pt x="417195" y="417195"/>
                  </a:cubicBezTo>
                  <a:cubicBezTo>
                    <a:pt x="417195" y="647605"/>
                    <a:pt x="230410" y="834390"/>
                    <a:pt x="0" y="834390"/>
                  </a:cubicBezTo>
                </a:path>
              </a:pathLst>
            </a:custGeom>
            <a:noFill/>
            <a:ln w="22225" cap="rnd">
              <a:solidFill>
                <a:schemeClr val="accent1"/>
              </a:solidFill>
              <a:miter lim="800000"/>
              <a:headEnd/>
              <a:tailEnd/>
            </a:ln>
            <a:effectLst/>
          </p:spPr>
          <p:txBody>
            <a:bodyPr wrap="none" rtlCol="0" anchor="ctr"/>
            <a:lstStyle/>
            <a:p>
              <a:pPr defTabSz="932597">
                <a:defRPr/>
              </a:pPr>
              <a:endParaRPr lang="en-US" sz="1836">
                <a:solidFill>
                  <a:prstClr val="black"/>
                </a:solidFill>
                <a:latin typeface="Arial" charset="0"/>
                <a:ea typeface="Arial" charset="0"/>
                <a:cs typeface="Arial" charset="0"/>
              </a:endParaRPr>
            </a:p>
          </p:txBody>
        </p:sp>
        <p:sp>
          <p:nvSpPr>
            <p:cNvPr id="20" name="Oval 225">
              <a:extLst>
                <a:ext uri="{FF2B5EF4-FFF2-40B4-BE49-F238E27FC236}">
                  <a16:creationId xmlns:a16="http://schemas.microsoft.com/office/drawing/2014/main" id="{3BAC4B91-7820-4149-A5A6-D58EC5F7EEFC}"/>
                </a:ext>
              </a:extLst>
            </p:cNvPr>
            <p:cNvSpPr/>
            <p:nvPr/>
          </p:nvSpPr>
          <p:spPr bwMode="auto">
            <a:xfrm rot="10800000">
              <a:off x="3903345" y="2571750"/>
              <a:ext cx="417195" cy="834390"/>
            </a:xfrm>
            <a:custGeom>
              <a:avLst/>
              <a:gdLst>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0 w 834390"/>
                <a:gd name="connsiteY4" fmla="*/ 41719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91440 w 834390"/>
                <a:gd name="connsiteY4" fmla="*/ 50863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0" fmla="*/ 0 w 417195"/>
                <a:gd name="connsiteY0" fmla="*/ 0 h 834390"/>
                <a:gd name="connsiteX1" fmla="*/ 417195 w 417195"/>
                <a:gd name="connsiteY1" fmla="*/ 417195 h 834390"/>
                <a:gd name="connsiteX2" fmla="*/ 0 w 417195"/>
                <a:gd name="connsiteY2" fmla="*/ 834390 h 834390"/>
              </a:gdLst>
              <a:ahLst/>
              <a:cxnLst>
                <a:cxn ang="0">
                  <a:pos x="connsiteX0" y="connsiteY0"/>
                </a:cxn>
                <a:cxn ang="0">
                  <a:pos x="connsiteX1" y="connsiteY1"/>
                </a:cxn>
                <a:cxn ang="0">
                  <a:pos x="connsiteX2" y="connsiteY2"/>
                </a:cxn>
              </a:cxnLst>
              <a:rect l="l" t="t" r="r" b="b"/>
              <a:pathLst>
                <a:path w="417195" h="834390">
                  <a:moveTo>
                    <a:pt x="0" y="0"/>
                  </a:moveTo>
                  <a:cubicBezTo>
                    <a:pt x="230410" y="0"/>
                    <a:pt x="417195" y="186785"/>
                    <a:pt x="417195" y="417195"/>
                  </a:cubicBezTo>
                  <a:cubicBezTo>
                    <a:pt x="417195" y="647605"/>
                    <a:pt x="230410" y="834390"/>
                    <a:pt x="0" y="834390"/>
                  </a:cubicBezTo>
                </a:path>
              </a:pathLst>
            </a:custGeom>
            <a:noFill/>
            <a:ln w="22225" cap="rnd">
              <a:solidFill>
                <a:schemeClr val="accent1"/>
              </a:solidFill>
              <a:miter lim="800000"/>
              <a:headEnd/>
              <a:tailEnd/>
            </a:ln>
            <a:effectLst/>
          </p:spPr>
          <p:txBody>
            <a:bodyPr wrap="none" rtlCol="0" anchor="ctr"/>
            <a:lstStyle/>
            <a:p>
              <a:pPr defTabSz="932597">
                <a:defRPr/>
              </a:pPr>
              <a:endParaRPr lang="en-US" sz="1836">
                <a:solidFill>
                  <a:prstClr val="black"/>
                </a:solidFill>
                <a:latin typeface="Arial" charset="0"/>
                <a:ea typeface="Arial" charset="0"/>
                <a:cs typeface="Arial" charset="0"/>
              </a:endParaRPr>
            </a:p>
          </p:txBody>
        </p:sp>
        <p:cxnSp>
          <p:nvCxnSpPr>
            <p:cNvPr id="21" name="Straight Connector 20">
              <a:extLst>
                <a:ext uri="{FF2B5EF4-FFF2-40B4-BE49-F238E27FC236}">
                  <a16:creationId xmlns:a16="http://schemas.microsoft.com/office/drawing/2014/main" id="{3D45DFB7-8A9F-41EB-B7E3-85E9F1AE63A9}"/>
                </a:ext>
              </a:extLst>
            </p:cNvPr>
            <p:cNvCxnSpPr>
              <a:endCxn id="20" idx="2"/>
            </p:cNvCxnSpPr>
            <p:nvPr/>
          </p:nvCxnSpPr>
          <p:spPr>
            <a:xfrm flipH="1" flipV="1">
              <a:off x="4320540" y="2571750"/>
              <a:ext cx="1162173" cy="7866"/>
            </a:xfrm>
            <a:prstGeom prst="line">
              <a:avLst/>
            </a:prstGeom>
            <a:ln w="2222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C1091BC-A1B1-43FF-8F48-500D1BA40EB2}"/>
                </a:ext>
              </a:extLst>
            </p:cNvPr>
            <p:cNvCxnSpPr>
              <a:endCxn id="20" idx="0"/>
            </p:cNvCxnSpPr>
            <p:nvPr/>
          </p:nvCxnSpPr>
          <p:spPr>
            <a:xfrm flipH="1">
              <a:off x="4320540" y="3406140"/>
              <a:ext cx="657860" cy="0"/>
            </a:xfrm>
            <a:prstGeom prst="line">
              <a:avLst/>
            </a:prstGeom>
            <a:ln w="222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47EF3CB-6ECF-4A1E-9985-5B0C9CB23539}"/>
                </a:ext>
              </a:extLst>
            </p:cNvPr>
            <p:cNvCxnSpPr>
              <a:endCxn id="19" idx="2"/>
            </p:cNvCxnSpPr>
            <p:nvPr/>
          </p:nvCxnSpPr>
          <p:spPr>
            <a:xfrm flipH="1">
              <a:off x="4320540" y="4213994"/>
              <a:ext cx="1041287" cy="3676"/>
            </a:xfrm>
            <a:prstGeom prst="line">
              <a:avLst/>
            </a:prstGeom>
            <a:ln w="222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EB6F6D1-263D-49BC-9FF4-D0AD339116F5}"/>
                </a:ext>
              </a:extLst>
            </p:cNvPr>
            <p:cNvCxnSpPr>
              <a:stCxn id="19" idx="0"/>
            </p:cNvCxnSpPr>
            <p:nvPr/>
          </p:nvCxnSpPr>
          <p:spPr>
            <a:xfrm>
              <a:off x="4320540" y="5052060"/>
              <a:ext cx="819785" cy="0"/>
            </a:xfrm>
            <a:prstGeom prst="line">
              <a:avLst/>
            </a:prstGeom>
            <a:ln w="2222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Freeform 23">
              <a:extLst>
                <a:ext uri="{FF2B5EF4-FFF2-40B4-BE49-F238E27FC236}">
                  <a16:creationId xmlns:a16="http://schemas.microsoft.com/office/drawing/2014/main" id="{C1ACDDF2-98AF-4BEB-AF4C-1E31EB2EFFD3}"/>
                </a:ext>
              </a:extLst>
            </p:cNvPr>
            <p:cNvSpPr/>
            <p:nvPr/>
          </p:nvSpPr>
          <p:spPr bwMode="auto">
            <a:xfrm>
              <a:off x="4756150" y="5537201"/>
              <a:ext cx="2679700" cy="469900"/>
            </a:xfrm>
            <a:custGeom>
              <a:avLst/>
              <a:gdLst>
                <a:gd name="connsiteX0" fmla="*/ 88900 w 2679700"/>
                <a:gd name="connsiteY0" fmla="*/ 0 h 463550"/>
                <a:gd name="connsiteX1" fmla="*/ 1568450 w 2679700"/>
                <a:gd name="connsiteY1" fmla="*/ 0 h 463550"/>
                <a:gd name="connsiteX2" fmla="*/ 1657350 w 2679700"/>
                <a:gd name="connsiteY2" fmla="*/ 88900 h 463550"/>
                <a:gd name="connsiteX3" fmla="*/ 1650364 w 2679700"/>
                <a:gd name="connsiteY3" fmla="*/ 123504 h 463550"/>
                <a:gd name="connsiteX4" fmla="*/ 1639444 w 2679700"/>
                <a:gd name="connsiteY4" fmla="*/ 139700 h 463550"/>
                <a:gd name="connsiteX5" fmla="*/ 2590800 w 2679700"/>
                <a:gd name="connsiteY5" fmla="*/ 139700 h 463550"/>
                <a:gd name="connsiteX6" fmla="*/ 2679700 w 2679700"/>
                <a:gd name="connsiteY6" fmla="*/ 228600 h 463550"/>
                <a:gd name="connsiteX7" fmla="*/ 2590800 w 2679700"/>
                <a:gd name="connsiteY7" fmla="*/ 317500 h 463550"/>
                <a:gd name="connsiteX8" fmla="*/ 2317788 w 2679700"/>
                <a:gd name="connsiteY8" fmla="*/ 317500 h 463550"/>
                <a:gd name="connsiteX9" fmla="*/ 2332989 w 2679700"/>
                <a:gd name="connsiteY9" fmla="*/ 340046 h 463550"/>
                <a:gd name="connsiteX10" fmla="*/ 2339975 w 2679700"/>
                <a:gd name="connsiteY10" fmla="*/ 374650 h 463550"/>
                <a:gd name="connsiteX11" fmla="*/ 2251075 w 2679700"/>
                <a:gd name="connsiteY11" fmla="*/ 463550 h 463550"/>
                <a:gd name="connsiteX12" fmla="*/ 752475 w 2679700"/>
                <a:gd name="connsiteY12" fmla="*/ 463550 h 463550"/>
                <a:gd name="connsiteX13" fmla="*/ 663575 w 2679700"/>
                <a:gd name="connsiteY13" fmla="*/ 374650 h 463550"/>
                <a:gd name="connsiteX14" fmla="*/ 670561 w 2679700"/>
                <a:gd name="connsiteY14" fmla="*/ 340046 h 463550"/>
                <a:gd name="connsiteX15" fmla="*/ 685763 w 2679700"/>
                <a:gd name="connsiteY15" fmla="*/ 317500 h 463550"/>
                <a:gd name="connsiteX16" fmla="*/ 412750 w 2679700"/>
                <a:gd name="connsiteY16" fmla="*/ 317500 h 463550"/>
                <a:gd name="connsiteX17" fmla="*/ 323850 w 2679700"/>
                <a:gd name="connsiteY17" fmla="*/ 228600 h 463550"/>
                <a:gd name="connsiteX18" fmla="*/ 330836 w 2679700"/>
                <a:gd name="connsiteY18" fmla="*/ 193996 h 463550"/>
                <a:gd name="connsiteX19" fmla="*/ 341756 w 2679700"/>
                <a:gd name="connsiteY19" fmla="*/ 177800 h 463550"/>
                <a:gd name="connsiteX20" fmla="*/ 88900 w 2679700"/>
                <a:gd name="connsiteY20" fmla="*/ 177800 h 463550"/>
                <a:gd name="connsiteX21" fmla="*/ 0 w 2679700"/>
                <a:gd name="connsiteY21" fmla="*/ 88900 h 463550"/>
                <a:gd name="connsiteX22" fmla="*/ 88900 w 2679700"/>
                <a:gd name="connsiteY22" fmla="*/ 0 h 463550"/>
                <a:gd name="connsiteX0" fmla="*/ 88900 w 2679700"/>
                <a:gd name="connsiteY0" fmla="*/ 0 h 466725"/>
                <a:gd name="connsiteX1" fmla="*/ 1568450 w 2679700"/>
                <a:gd name="connsiteY1" fmla="*/ 0 h 466725"/>
                <a:gd name="connsiteX2" fmla="*/ 1657350 w 2679700"/>
                <a:gd name="connsiteY2" fmla="*/ 88900 h 466725"/>
                <a:gd name="connsiteX3" fmla="*/ 1650364 w 2679700"/>
                <a:gd name="connsiteY3" fmla="*/ 123504 h 466725"/>
                <a:gd name="connsiteX4" fmla="*/ 1639444 w 2679700"/>
                <a:gd name="connsiteY4" fmla="*/ 139700 h 466725"/>
                <a:gd name="connsiteX5" fmla="*/ 2590800 w 2679700"/>
                <a:gd name="connsiteY5" fmla="*/ 139700 h 466725"/>
                <a:gd name="connsiteX6" fmla="*/ 2679700 w 2679700"/>
                <a:gd name="connsiteY6" fmla="*/ 228600 h 466725"/>
                <a:gd name="connsiteX7" fmla="*/ 2590800 w 2679700"/>
                <a:gd name="connsiteY7" fmla="*/ 317500 h 466725"/>
                <a:gd name="connsiteX8" fmla="*/ 2317788 w 2679700"/>
                <a:gd name="connsiteY8" fmla="*/ 317500 h 466725"/>
                <a:gd name="connsiteX9" fmla="*/ 2332989 w 2679700"/>
                <a:gd name="connsiteY9" fmla="*/ 340046 h 466725"/>
                <a:gd name="connsiteX10" fmla="*/ 2339975 w 2679700"/>
                <a:gd name="connsiteY10" fmla="*/ 374650 h 466725"/>
                <a:gd name="connsiteX11" fmla="*/ 2251075 w 2679700"/>
                <a:gd name="connsiteY11" fmla="*/ 463550 h 466725"/>
                <a:gd name="connsiteX12" fmla="*/ 1685925 w 2679700"/>
                <a:gd name="connsiteY12" fmla="*/ 466725 h 466725"/>
                <a:gd name="connsiteX13" fmla="*/ 752475 w 2679700"/>
                <a:gd name="connsiteY13" fmla="*/ 463550 h 466725"/>
                <a:gd name="connsiteX14" fmla="*/ 663575 w 2679700"/>
                <a:gd name="connsiteY14" fmla="*/ 374650 h 466725"/>
                <a:gd name="connsiteX15" fmla="*/ 670561 w 2679700"/>
                <a:gd name="connsiteY15" fmla="*/ 340046 h 466725"/>
                <a:gd name="connsiteX16" fmla="*/ 685763 w 2679700"/>
                <a:gd name="connsiteY16" fmla="*/ 317500 h 466725"/>
                <a:gd name="connsiteX17" fmla="*/ 412750 w 2679700"/>
                <a:gd name="connsiteY17" fmla="*/ 317500 h 466725"/>
                <a:gd name="connsiteX18" fmla="*/ 323850 w 2679700"/>
                <a:gd name="connsiteY18" fmla="*/ 228600 h 466725"/>
                <a:gd name="connsiteX19" fmla="*/ 330836 w 2679700"/>
                <a:gd name="connsiteY19" fmla="*/ 193996 h 466725"/>
                <a:gd name="connsiteX20" fmla="*/ 341756 w 2679700"/>
                <a:gd name="connsiteY20" fmla="*/ 177800 h 466725"/>
                <a:gd name="connsiteX21" fmla="*/ 88900 w 2679700"/>
                <a:gd name="connsiteY21" fmla="*/ 177800 h 466725"/>
                <a:gd name="connsiteX22" fmla="*/ 0 w 2679700"/>
                <a:gd name="connsiteY22" fmla="*/ 88900 h 466725"/>
                <a:gd name="connsiteX23" fmla="*/ 88900 w 2679700"/>
                <a:gd name="connsiteY23" fmla="*/ 0 h 466725"/>
                <a:gd name="connsiteX0" fmla="*/ 88900 w 2679700"/>
                <a:gd name="connsiteY0" fmla="*/ 0 h 466725"/>
                <a:gd name="connsiteX1" fmla="*/ 1568450 w 2679700"/>
                <a:gd name="connsiteY1" fmla="*/ 0 h 466725"/>
                <a:gd name="connsiteX2" fmla="*/ 1657350 w 2679700"/>
                <a:gd name="connsiteY2" fmla="*/ 88900 h 466725"/>
                <a:gd name="connsiteX3" fmla="*/ 1650364 w 2679700"/>
                <a:gd name="connsiteY3" fmla="*/ 123504 h 466725"/>
                <a:gd name="connsiteX4" fmla="*/ 1639444 w 2679700"/>
                <a:gd name="connsiteY4" fmla="*/ 139700 h 466725"/>
                <a:gd name="connsiteX5" fmla="*/ 2590800 w 2679700"/>
                <a:gd name="connsiteY5" fmla="*/ 139700 h 466725"/>
                <a:gd name="connsiteX6" fmla="*/ 2679700 w 2679700"/>
                <a:gd name="connsiteY6" fmla="*/ 228600 h 466725"/>
                <a:gd name="connsiteX7" fmla="*/ 2590800 w 2679700"/>
                <a:gd name="connsiteY7" fmla="*/ 317500 h 466725"/>
                <a:gd name="connsiteX8" fmla="*/ 2317788 w 2679700"/>
                <a:gd name="connsiteY8" fmla="*/ 317500 h 466725"/>
                <a:gd name="connsiteX9" fmla="*/ 2332989 w 2679700"/>
                <a:gd name="connsiteY9" fmla="*/ 340046 h 466725"/>
                <a:gd name="connsiteX10" fmla="*/ 2339975 w 2679700"/>
                <a:gd name="connsiteY10" fmla="*/ 374650 h 466725"/>
                <a:gd name="connsiteX11" fmla="*/ 2251075 w 2679700"/>
                <a:gd name="connsiteY11" fmla="*/ 463550 h 466725"/>
                <a:gd name="connsiteX12" fmla="*/ 1685925 w 2679700"/>
                <a:gd name="connsiteY12" fmla="*/ 466725 h 466725"/>
                <a:gd name="connsiteX13" fmla="*/ 1082675 w 2679700"/>
                <a:gd name="connsiteY13" fmla="*/ 466725 h 466725"/>
                <a:gd name="connsiteX14" fmla="*/ 752475 w 2679700"/>
                <a:gd name="connsiteY14" fmla="*/ 463550 h 466725"/>
                <a:gd name="connsiteX15" fmla="*/ 663575 w 2679700"/>
                <a:gd name="connsiteY15" fmla="*/ 374650 h 466725"/>
                <a:gd name="connsiteX16" fmla="*/ 670561 w 2679700"/>
                <a:gd name="connsiteY16" fmla="*/ 340046 h 466725"/>
                <a:gd name="connsiteX17" fmla="*/ 685763 w 2679700"/>
                <a:gd name="connsiteY17" fmla="*/ 317500 h 466725"/>
                <a:gd name="connsiteX18" fmla="*/ 412750 w 2679700"/>
                <a:gd name="connsiteY18" fmla="*/ 317500 h 466725"/>
                <a:gd name="connsiteX19" fmla="*/ 323850 w 2679700"/>
                <a:gd name="connsiteY19" fmla="*/ 228600 h 466725"/>
                <a:gd name="connsiteX20" fmla="*/ 330836 w 2679700"/>
                <a:gd name="connsiteY20" fmla="*/ 193996 h 466725"/>
                <a:gd name="connsiteX21" fmla="*/ 341756 w 2679700"/>
                <a:gd name="connsiteY21" fmla="*/ 177800 h 466725"/>
                <a:gd name="connsiteX22" fmla="*/ 88900 w 2679700"/>
                <a:gd name="connsiteY22" fmla="*/ 177800 h 466725"/>
                <a:gd name="connsiteX23" fmla="*/ 0 w 2679700"/>
                <a:gd name="connsiteY23" fmla="*/ 88900 h 466725"/>
                <a:gd name="connsiteX24" fmla="*/ 88900 w 2679700"/>
                <a:gd name="connsiteY24" fmla="*/ 0 h 466725"/>
                <a:gd name="connsiteX0" fmla="*/ 88900 w 2679700"/>
                <a:gd name="connsiteY0" fmla="*/ 0 h 466725"/>
                <a:gd name="connsiteX1" fmla="*/ 1568450 w 2679700"/>
                <a:gd name="connsiteY1" fmla="*/ 0 h 466725"/>
                <a:gd name="connsiteX2" fmla="*/ 1657350 w 2679700"/>
                <a:gd name="connsiteY2" fmla="*/ 88900 h 466725"/>
                <a:gd name="connsiteX3" fmla="*/ 1650364 w 2679700"/>
                <a:gd name="connsiteY3" fmla="*/ 123504 h 466725"/>
                <a:gd name="connsiteX4" fmla="*/ 1639444 w 2679700"/>
                <a:gd name="connsiteY4" fmla="*/ 139700 h 466725"/>
                <a:gd name="connsiteX5" fmla="*/ 2590800 w 2679700"/>
                <a:gd name="connsiteY5" fmla="*/ 139700 h 466725"/>
                <a:gd name="connsiteX6" fmla="*/ 2679700 w 2679700"/>
                <a:gd name="connsiteY6" fmla="*/ 228600 h 466725"/>
                <a:gd name="connsiteX7" fmla="*/ 2590800 w 2679700"/>
                <a:gd name="connsiteY7" fmla="*/ 317500 h 466725"/>
                <a:gd name="connsiteX8" fmla="*/ 2317788 w 2679700"/>
                <a:gd name="connsiteY8" fmla="*/ 317500 h 466725"/>
                <a:gd name="connsiteX9" fmla="*/ 2332989 w 2679700"/>
                <a:gd name="connsiteY9" fmla="*/ 340046 h 466725"/>
                <a:gd name="connsiteX10" fmla="*/ 2339975 w 2679700"/>
                <a:gd name="connsiteY10" fmla="*/ 374650 h 466725"/>
                <a:gd name="connsiteX11" fmla="*/ 2251075 w 2679700"/>
                <a:gd name="connsiteY11" fmla="*/ 463550 h 466725"/>
                <a:gd name="connsiteX12" fmla="*/ 1685925 w 2679700"/>
                <a:gd name="connsiteY12" fmla="*/ 466725 h 466725"/>
                <a:gd name="connsiteX13" fmla="*/ 1384300 w 2679700"/>
                <a:gd name="connsiteY13" fmla="*/ 466725 h 466725"/>
                <a:gd name="connsiteX14" fmla="*/ 1082675 w 2679700"/>
                <a:gd name="connsiteY14" fmla="*/ 466725 h 466725"/>
                <a:gd name="connsiteX15" fmla="*/ 752475 w 2679700"/>
                <a:gd name="connsiteY15" fmla="*/ 463550 h 466725"/>
                <a:gd name="connsiteX16" fmla="*/ 663575 w 2679700"/>
                <a:gd name="connsiteY16" fmla="*/ 374650 h 466725"/>
                <a:gd name="connsiteX17" fmla="*/ 670561 w 2679700"/>
                <a:gd name="connsiteY17" fmla="*/ 340046 h 466725"/>
                <a:gd name="connsiteX18" fmla="*/ 685763 w 2679700"/>
                <a:gd name="connsiteY18" fmla="*/ 317500 h 466725"/>
                <a:gd name="connsiteX19" fmla="*/ 412750 w 2679700"/>
                <a:gd name="connsiteY19" fmla="*/ 317500 h 466725"/>
                <a:gd name="connsiteX20" fmla="*/ 323850 w 2679700"/>
                <a:gd name="connsiteY20" fmla="*/ 228600 h 466725"/>
                <a:gd name="connsiteX21" fmla="*/ 330836 w 2679700"/>
                <a:gd name="connsiteY21" fmla="*/ 193996 h 466725"/>
                <a:gd name="connsiteX22" fmla="*/ 341756 w 2679700"/>
                <a:gd name="connsiteY22" fmla="*/ 177800 h 466725"/>
                <a:gd name="connsiteX23" fmla="*/ 88900 w 2679700"/>
                <a:gd name="connsiteY23" fmla="*/ 177800 h 466725"/>
                <a:gd name="connsiteX24" fmla="*/ 0 w 2679700"/>
                <a:gd name="connsiteY24" fmla="*/ 88900 h 466725"/>
                <a:gd name="connsiteX25" fmla="*/ 88900 w 2679700"/>
                <a:gd name="connsiteY25" fmla="*/ 0 h 466725"/>
                <a:gd name="connsiteX0" fmla="*/ 88900 w 2679700"/>
                <a:gd name="connsiteY0" fmla="*/ 0 h 466725"/>
                <a:gd name="connsiteX1" fmla="*/ 1568450 w 2679700"/>
                <a:gd name="connsiteY1" fmla="*/ 0 h 466725"/>
                <a:gd name="connsiteX2" fmla="*/ 1657350 w 2679700"/>
                <a:gd name="connsiteY2" fmla="*/ 88900 h 466725"/>
                <a:gd name="connsiteX3" fmla="*/ 1650364 w 2679700"/>
                <a:gd name="connsiteY3" fmla="*/ 123504 h 466725"/>
                <a:gd name="connsiteX4" fmla="*/ 1639444 w 2679700"/>
                <a:gd name="connsiteY4" fmla="*/ 139700 h 466725"/>
                <a:gd name="connsiteX5" fmla="*/ 2590800 w 2679700"/>
                <a:gd name="connsiteY5" fmla="*/ 139700 h 466725"/>
                <a:gd name="connsiteX6" fmla="*/ 2679700 w 2679700"/>
                <a:gd name="connsiteY6" fmla="*/ 228600 h 466725"/>
                <a:gd name="connsiteX7" fmla="*/ 2590800 w 2679700"/>
                <a:gd name="connsiteY7" fmla="*/ 317500 h 466725"/>
                <a:gd name="connsiteX8" fmla="*/ 2317788 w 2679700"/>
                <a:gd name="connsiteY8" fmla="*/ 317500 h 466725"/>
                <a:gd name="connsiteX9" fmla="*/ 2332989 w 2679700"/>
                <a:gd name="connsiteY9" fmla="*/ 340046 h 466725"/>
                <a:gd name="connsiteX10" fmla="*/ 2339975 w 2679700"/>
                <a:gd name="connsiteY10" fmla="*/ 374650 h 466725"/>
                <a:gd name="connsiteX11" fmla="*/ 2251075 w 2679700"/>
                <a:gd name="connsiteY11" fmla="*/ 463550 h 466725"/>
                <a:gd name="connsiteX12" fmla="*/ 1685925 w 2679700"/>
                <a:gd name="connsiteY12" fmla="*/ 466725 h 466725"/>
                <a:gd name="connsiteX13" fmla="*/ 1384300 w 2679700"/>
                <a:gd name="connsiteY13" fmla="*/ 466725 h 466725"/>
                <a:gd name="connsiteX14" fmla="*/ 1257300 w 2679700"/>
                <a:gd name="connsiteY14" fmla="*/ 466725 h 466725"/>
                <a:gd name="connsiteX15" fmla="*/ 1082675 w 2679700"/>
                <a:gd name="connsiteY15" fmla="*/ 466725 h 466725"/>
                <a:gd name="connsiteX16" fmla="*/ 752475 w 2679700"/>
                <a:gd name="connsiteY16" fmla="*/ 463550 h 466725"/>
                <a:gd name="connsiteX17" fmla="*/ 663575 w 2679700"/>
                <a:gd name="connsiteY17" fmla="*/ 374650 h 466725"/>
                <a:gd name="connsiteX18" fmla="*/ 670561 w 2679700"/>
                <a:gd name="connsiteY18" fmla="*/ 340046 h 466725"/>
                <a:gd name="connsiteX19" fmla="*/ 685763 w 2679700"/>
                <a:gd name="connsiteY19" fmla="*/ 317500 h 466725"/>
                <a:gd name="connsiteX20" fmla="*/ 412750 w 2679700"/>
                <a:gd name="connsiteY20" fmla="*/ 317500 h 466725"/>
                <a:gd name="connsiteX21" fmla="*/ 323850 w 2679700"/>
                <a:gd name="connsiteY21" fmla="*/ 228600 h 466725"/>
                <a:gd name="connsiteX22" fmla="*/ 330836 w 2679700"/>
                <a:gd name="connsiteY22" fmla="*/ 193996 h 466725"/>
                <a:gd name="connsiteX23" fmla="*/ 341756 w 2679700"/>
                <a:gd name="connsiteY23" fmla="*/ 177800 h 466725"/>
                <a:gd name="connsiteX24" fmla="*/ 88900 w 2679700"/>
                <a:gd name="connsiteY24" fmla="*/ 177800 h 466725"/>
                <a:gd name="connsiteX25" fmla="*/ 0 w 2679700"/>
                <a:gd name="connsiteY25" fmla="*/ 88900 h 466725"/>
                <a:gd name="connsiteX26" fmla="*/ 88900 w 2679700"/>
                <a:gd name="connsiteY26" fmla="*/ 0 h 466725"/>
                <a:gd name="connsiteX0" fmla="*/ 1384300 w 2679700"/>
                <a:gd name="connsiteY0" fmla="*/ 466725 h 558165"/>
                <a:gd name="connsiteX1" fmla="*/ 1257300 w 2679700"/>
                <a:gd name="connsiteY1" fmla="*/ 466725 h 558165"/>
                <a:gd name="connsiteX2" fmla="*/ 1082675 w 2679700"/>
                <a:gd name="connsiteY2" fmla="*/ 466725 h 558165"/>
                <a:gd name="connsiteX3" fmla="*/ 752475 w 2679700"/>
                <a:gd name="connsiteY3" fmla="*/ 463550 h 558165"/>
                <a:gd name="connsiteX4" fmla="*/ 663575 w 2679700"/>
                <a:gd name="connsiteY4" fmla="*/ 374650 h 558165"/>
                <a:gd name="connsiteX5" fmla="*/ 670561 w 2679700"/>
                <a:gd name="connsiteY5" fmla="*/ 340046 h 558165"/>
                <a:gd name="connsiteX6" fmla="*/ 685763 w 2679700"/>
                <a:gd name="connsiteY6" fmla="*/ 317500 h 558165"/>
                <a:gd name="connsiteX7" fmla="*/ 412750 w 2679700"/>
                <a:gd name="connsiteY7" fmla="*/ 317500 h 558165"/>
                <a:gd name="connsiteX8" fmla="*/ 323850 w 2679700"/>
                <a:gd name="connsiteY8" fmla="*/ 228600 h 558165"/>
                <a:gd name="connsiteX9" fmla="*/ 330836 w 2679700"/>
                <a:gd name="connsiteY9" fmla="*/ 193996 h 558165"/>
                <a:gd name="connsiteX10" fmla="*/ 341756 w 2679700"/>
                <a:gd name="connsiteY10" fmla="*/ 177800 h 558165"/>
                <a:gd name="connsiteX11" fmla="*/ 88900 w 2679700"/>
                <a:gd name="connsiteY11" fmla="*/ 177800 h 558165"/>
                <a:gd name="connsiteX12" fmla="*/ 0 w 2679700"/>
                <a:gd name="connsiteY12" fmla="*/ 88900 h 558165"/>
                <a:gd name="connsiteX13" fmla="*/ 88900 w 2679700"/>
                <a:gd name="connsiteY13" fmla="*/ 0 h 558165"/>
                <a:gd name="connsiteX14" fmla="*/ 1568450 w 2679700"/>
                <a:gd name="connsiteY14" fmla="*/ 0 h 558165"/>
                <a:gd name="connsiteX15" fmla="*/ 1657350 w 2679700"/>
                <a:gd name="connsiteY15" fmla="*/ 88900 h 558165"/>
                <a:gd name="connsiteX16" fmla="*/ 1650364 w 2679700"/>
                <a:gd name="connsiteY16" fmla="*/ 123504 h 558165"/>
                <a:gd name="connsiteX17" fmla="*/ 1639444 w 2679700"/>
                <a:gd name="connsiteY17" fmla="*/ 139700 h 558165"/>
                <a:gd name="connsiteX18" fmla="*/ 2590800 w 2679700"/>
                <a:gd name="connsiteY18" fmla="*/ 139700 h 558165"/>
                <a:gd name="connsiteX19" fmla="*/ 2679700 w 2679700"/>
                <a:gd name="connsiteY19" fmla="*/ 228600 h 558165"/>
                <a:gd name="connsiteX20" fmla="*/ 2590800 w 2679700"/>
                <a:gd name="connsiteY20" fmla="*/ 317500 h 558165"/>
                <a:gd name="connsiteX21" fmla="*/ 2317788 w 2679700"/>
                <a:gd name="connsiteY21" fmla="*/ 317500 h 558165"/>
                <a:gd name="connsiteX22" fmla="*/ 2332989 w 2679700"/>
                <a:gd name="connsiteY22" fmla="*/ 340046 h 558165"/>
                <a:gd name="connsiteX23" fmla="*/ 2339975 w 2679700"/>
                <a:gd name="connsiteY23" fmla="*/ 374650 h 558165"/>
                <a:gd name="connsiteX24" fmla="*/ 2251075 w 2679700"/>
                <a:gd name="connsiteY24" fmla="*/ 463550 h 558165"/>
                <a:gd name="connsiteX25" fmla="*/ 1685925 w 2679700"/>
                <a:gd name="connsiteY25" fmla="*/ 466725 h 558165"/>
                <a:gd name="connsiteX26" fmla="*/ 1475740 w 2679700"/>
                <a:gd name="connsiteY26" fmla="*/ 558165 h 558165"/>
                <a:gd name="connsiteX0" fmla="*/ 1384300 w 2679700"/>
                <a:gd name="connsiteY0" fmla="*/ 466725 h 466725"/>
                <a:gd name="connsiteX1" fmla="*/ 1257300 w 2679700"/>
                <a:gd name="connsiteY1" fmla="*/ 466725 h 466725"/>
                <a:gd name="connsiteX2" fmla="*/ 1082675 w 2679700"/>
                <a:gd name="connsiteY2" fmla="*/ 466725 h 466725"/>
                <a:gd name="connsiteX3" fmla="*/ 752475 w 2679700"/>
                <a:gd name="connsiteY3" fmla="*/ 463550 h 466725"/>
                <a:gd name="connsiteX4" fmla="*/ 663575 w 2679700"/>
                <a:gd name="connsiteY4" fmla="*/ 374650 h 466725"/>
                <a:gd name="connsiteX5" fmla="*/ 670561 w 2679700"/>
                <a:gd name="connsiteY5" fmla="*/ 340046 h 466725"/>
                <a:gd name="connsiteX6" fmla="*/ 685763 w 2679700"/>
                <a:gd name="connsiteY6" fmla="*/ 317500 h 466725"/>
                <a:gd name="connsiteX7" fmla="*/ 412750 w 2679700"/>
                <a:gd name="connsiteY7" fmla="*/ 317500 h 466725"/>
                <a:gd name="connsiteX8" fmla="*/ 323850 w 2679700"/>
                <a:gd name="connsiteY8" fmla="*/ 228600 h 466725"/>
                <a:gd name="connsiteX9" fmla="*/ 330836 w 2679700"/>
                <a:gd name="connsiteY9" fmla="*/ 193996 h 466725"/>
                <a:gd name="connsiteX10" fmla="*/ 341756 w 2679700"/>
                <a:gd name="connsiteY10" fmla="*/ 177800 h 466725"/>
                <a:gd name="connsiteX11" fmla="*/ 88900 w 2679700"/>
                <a:gd name="connsiteY11" fmla="*/ 177800 h 466725"/>
                <a:gd name="connsiteX12" fmla="*/ 0 w 2679700"/>
                <a:gd name="connsiteY12" fmla="*/ 88900 h 466725"/>
                <a:gd name="connsiteX13" fmla="*/ 88900 w 2679700"/>
                <a:gd name="connsiteY13" fmla="*/ 0 h 466725"/>
                <a:gd name="connsiteX14" fmla="*/ 1568450 w 2679700"/>
                <a:gd name="connsiteY14" fmla="*/ 0 h 466725"/>
                <a:gd name="connsiteX15" fmla="*/ 1657350 w 2679700"/>
                <a:gd name="connsiteY15" fmla="*/ 88900 h 466725"/>
                <a:gd name="connsiteX16" fmla="*/ 1650364 w 2679700"/>
                <a:gd name="connsiteY16" fmla="*/ 123504 h 466725"/>
                <a:gd name="connsiteX17" fmla="*/ 1639444 w 2679700"/>
                <a:gd name="connsiteY17" fmla="*/ 139700 h 466725"/>
                <a:gd name="connsiteX18" fmla="*/ 2590800 w 2679700"/>
                <a:gd name="connsiteY18" fmla="*/ 139700 h 466725"/>
                <a:gd name="connsiteX19" fmla="*/ 2679700 w 2679700"/>
                <a:gd name="connsiteY19" fmla="*/ 228600 h 466725"/>
                <a:gd name="connsiteX20" fmla="*/ 2590800 w 2679700"/>
                <a:gd name="connsiteY20" fmla="*/ 317500 h 466725"/>
                <a:gd name="connsiteX21" fmla="*/ 2317788 w 2679700"/>
                <a:gd name="connsiteY21" fmla="*/ 317500 h 466725"/>
                <a:gd name="connsiteX22" fmla="*/ 2332989 w 2679700"/>
                <a:gd name="connsiteY22" fmla="*/ 340046 h 466725"/>
                <a:gd name="connsiteX23" fmla="*/ 2339975 w 2679700"/>
                <a:gd name="connsiteY23" fmla="*/ 374650 h 466725"/>
                <a:gd name="connsiteX24" fmla="*/ 2251075 w 2679700"/>
                <a:gd name="connsiteY24" fmla="*/ 463550 h 466725"/>
                <a:gd name="connsiteX25" fmla="*/ 1685925 w 2679700"/>
                <a:gd name="connsiteY25" fmla="*/ 466725 h 466725"/>
                <a:gd name="connsiteX0" fmla="*/ 1384300 w 2679700"/>
                <a:gd name="connsiteY0" fmla="*/ 466725 h 466725"/>
                <a:gd name="connsiteX1" fmla="*/ 1257300 w 2679700"/>
                <a:gd name="connsiteY1" fmla="*/ 466725 h 466725"/>
                <a:gd name="connsiteX2" fmla="*/ 1082675 w 2679700"/>
                <a:gd name="connsiteY2" fmla="*/ 466725 h 466725"/>
                <a:gd name="connsiteX3" fmla="*/ 752475 w 2679700"/>
                <a:gd name="connsiteY3" fmla="*/ 463550 h 466725"/>
                <a:gd name="connsiteX4" fmla="*/ 663575 w 2679700"/>
                <a:gd name="connsiteY4" fmla="*/ 374650 h 466725"/>
                <a:gd name="connsiteX5" fmla="*/ 670561 w 2679700"/>
                <a:gd name="connsiteY5" fmla="*/ 340046 h 466725"/>
                <a:gd name="connsiteX6" fmla="*/ 685763 w 2679700"/>
                <a:gd name="connsiteY6" fmla="*/ 317500 h 466725"/>
                <a:gd name="connsiteX7" fmla="*/ 412750 w 2679700"/>
                <a:gd name="connsiteY7" fmla="*/ 317500 h 466725"/>
                <a:gd name="connsiteX8" fmla="*/ 323850 w 2679700"/>
                <a:gd name="connsiteY8" fmla="*/ 228600 h 466725"/>
                <a:gd name="connsiteX9" fmla="*/ 330836 w 2679700"/>
                <a:gd name="connsiteY9" fmla="*/ 193996 h 466725"/>
                <a:gd name="connsiteX10" fmla="*/ 341756 w 2679700"/>
                <a:gd name="connsiteY10" fmla="*/ 177800 h 466725"/>
                <a:gd name="connsiteX11" fmla="*/ 88900 w 2679700"/>
                <a:gd name="connsiteY11" fmla="*/ 177800 h 466725"/>
                <a:gd name="connsiteX12" fmla="*/ 0 w 2679700"/>
                <a:gd name="connsiteY12" fmla="*/ 88900 h 466725"/>
                <a:gd name="connsiteX13" fmla="*/ 88900 w 2679700"/>
                <a:gd name="connsiteY13" fmla="*/ 0 h 466725"/>
                <a:gd name="connsiteX14" fmla="*/ 1568450 w 2679700"/>
                <a:gd name="connsiteY14" fmla="*/ 0 h 466725"/>
                <a:gd name="connsiteX15" fmla="*/ 1657350 w 2679700"/>
                <a:gd name="connsiteY15" fmla="*/ 88900 h 466725"/>
                <a:gd name="connsiteX16" fmla="*/ 1650364 w 2679700"/>
                <a:gd name="connsiteY16" fmla="*/ 123504 h 466725"/>
                <a:gd name="connsiteX17" fmla="*/ 1639444 w 2679700"/>
                <a:gd name="connsiteY17" fmla="*/ 139700 h 466725"/>
                <a:gd name="connsiteX18" fmla="*/ 2590800 w 2679700"/>
                <a:gd name="connsiteY18" fmla="*/ 139700 h 466725"/>
                <a:gd name="connsiteX19" fmla="*/ 2679700 w 2679700"/>
                <a:gd name="connsiteY19" fmla="*/ 228600 h 466725"/>
                <a:gd name="connsiteX20" fmla="*/ 2590800 w 2679700"/>
                <a:gd name="connsiteY20" fmla="*/ 317500 h 466725"/>
                <a:gd name="connsiteX21" fmla="*/ 2317788 w 2679700"/>
                <a:gd name="connsiteY21" fmla="*/ 317500 h 466725"/>
                <a:gd name="connsiteX22" fmla="*/ 2332989 w 2679700"/>
                <a:gd name="connsiteY22" fmla="*/ 340046 h 466725"/>
                <a:gd name="connsiteX23" fmla="*/ 2339975 w 2679700"/>
                <a:gd name="connsiteY23" fmla="*/ 374650 h 466725"/>
                <a:gd name="connsiteX24" fmla="*/ 2251075 w 2679700"/>
                <a:gd name="connsiteY24" fmla="*/ 463550 h 466725"/>
                <a:gd name="connsiteX25" fmla="*/ 1590675 w 2679700"/>
                <a:gd name="connsiteY25" fmla="*/ 463550 h 466725"/>
                <a:gd name="connsiteX0" fmla="*/ 1257300 w 2679700"/>
                <a:gd name="connsiteY0" fmla="*/ 466725 h 466725"/>
                <a:gd name="connsiteX1" fmla="*/ 1082675 w 2679700"/>
                <a:gd name="connsiteY1" fmla="*/ 466725 h 466725"/>
                <a:gd name="connsiteX2" fmla="*/ 752475 w 2679700"/>
                <a:gd name="connsiteY2" fmla="*/ 463550 h 466725"/>
                <a:gd name="connsiteX3" fmla="*/ 663575 w 2679700"/>
                <a:gd name="connsiteY3" fmla="*/ 374650 h 466725"/>
                <a:gd name="connsiteX4" fmla="*/ 670561 w 2679700"/>
                <a:gd name="connsiteY4" fmla="*/ 340046 h 466725"/>
                <a:gd name="connsiteX5" fmla="*/ 685763 w 2679700"/>
                <a:gd name="connsiteY5" fmla="*/ 317500 h 466725"/>
                <a:gd name="connsiteX6" fmla="*/ 412750 w 2679700"/>
                <a:gd name="connsiteY6" fmla="*/ 317500 h 466725"/>
                <a:gd name="connsiteX7" fmla="*/ 323850 w 2679700"/>
                <a:gd name="connsiteY7" fmla="*/ 228600 h 466725"/>
                <a:gd name="connsiteX8" fmla="*/ 330836 w 2679700"/>
                <a:gd name="connsiteY8" fmla="*/ 193996 h 466725"/>
                <a:gd name="connsiteX9" fmla="*/ 341756 w 2679700"/>
                <a:gd name="connsiteY9" fmla="*/ 177800 h 466725"/>
                <a:gd name="connsiteX10" fmla="*/ 88900 w 2679700"/>
                <a:gd name="connsiteY10" fmla="*/ 177800 h 466725"/>
                <a:gd name="connsiteX11" fmla="*/ 0 w 2679700"/>
                <a:gd name="connsiteY11" fmla="*/ 88900 h 466725"/>
                <a:gd name="connsiteX12" fmla="*/ 88900 w 2679700"/>
                <a:gd name="connsiteY12" fmla="*/ 0 h 466725"/>
                <a:gd name="connsiteX13" fmla="*/ 1568450 w 2679700"/>
                <a:gd name="connsiteY13" fmla="*/ 0 h 466725"/>
                <a:gd name="connsiteX14" fmla="*/ 1657350 w 2679700"/>
                <a:gd name="connsiteY14" fmla="*/ 88900 h 466725"/>
                <a:gd name="connsiteX15" fmla="*/ 1650364 w 2679700"/>
                <a:gd name="connsiteY15" fmla="*/ 123504 h 466725"/>
                <a:gd name="connsiteX16" fmla="*/ 1639444 w 2679700"/>
                <a:gd name="connsiteY16" fmla="*/ 139700 h 466725"/>
                <a:gd name="connsiteX17" fmla="*/ 2590800 w 2679700"/>
                <a:gd name="connsiteY17" fmla="*/ 139700 h 466725"/>
                <a:gd name="connsiteX18" fmla="*/ 2679700 w 2679700"/>
                <a:gd name="connsiteY18" fmla="*/ 228600 h 466725"/>
                <a:gd name="connsiteX19" fmla="*/ 2590800 w 2679700"/>
                <a:gd name="connsiteY19" fmla="*/ 317500 h 466725"/>
                <a:gd name="connsiteX20" fmla="*/ 2317788 w 2679700"/>
                <a:gd name="connsiteY20" fmla="*/ 317500 h 466725"/>
                <a:gd name="connsiteX21" fmla="*/ 2332989 w 2679700"/>
                <a:gd name="connsiteY21" fmla="*/ 340046 h 466725"/>
                <a:gd name="connsiteX22" fmla="*/ 2339975 w 2679700"/>
                <a:gd name="connsiteY22" fmla="*/ 374650 h 466725"/>
                <a:gd name="connsiteX23" fmla="*/ 2251075 w 2679700"/>
                <a:gd name="connsiteY23" fmla="*/ 463550 h 466725"/>
                <a:gd name="connsiteX24" fmla="*/ 1590675 w 2679700"/>
                <a:gd name="connsiteY24" fmla="*/ 463550 h 466725"/>
                <a:gd name="connsiteX0" fmla="*/ 1082675 w 2679700"/>
                <a:gd name="connsiteY0" fmla="*/ 466725 h 466725"/>
                <a:gd name="connsiteX1" fmla="*/ 752475 w 2679700"/>
                <a:gd name="connsiteY1" fmla="*/ 463550 h 466725"/>
                <a:gd name="connsiteX2" fmla="*/ 663575 w 2679700"/>
                <a:gd name="connsiteY2" fmla="*/ 374650 h 466725"/>
                <a:gd name="connsiteX3" fmla="*/ 670561 w 2679700"/>
                <a:gd name="connsiteY3" fmla="*/ 340046 h 466725"/>
                <a:gd name="connsiteX4" fmla="*/ 685763 w 2679700"/>
                <a:gd name="connsiteY4" fmla="*/ 317500 h 466725"/>
                <a:gd name="connsiteX5" fmla="*/ 412750 w 2679700"/>
                <a:gd name="connsiteY5" fmla="*/ 317500 h 466725"/>
                <a:gd name="connsiteX6" fmla="*/ 323850 w 2679700"/>
                <a:gd name="connsiteY6" fmla="*/ 228600 h 466725"/>
                <a:gd name="connsiteX7" fmla="*/ 330836 w 2679700"/>
                <a:gd name="connsiteY7" fmla="*/ 193996 h 466725"/>
                <a:gd name="connsiteX8" fmla="*/ 341756 w 2679700"/>
                <a:gd name="connsiteY8" fmla="*/ 177800 h 466725"/>
                <a:gd name="connsiteX9" fmla="*/ 88900 w 2679700"/>
                <a:gd name="connsiteY9" fmla="*/ 177800 h 466725"/>
                <a:gd name="connsiteX10" fmla="*/ 0 w 2679700"/>
                <a:gd name="connsiteY10" fmla="*/ 88900 h 466725"/>
                <a:gd name="connsiteX11" fmla="*/ 88900 w 2679700"/>
                <a:gd name="connsiteY11" fmla="*/ 0 h 466725"/>
                <a:gd name="connsiteX12" fmla="*/ 1568450 w 2679700"/>
                <a:gd name="connsiteY12" fmla="*/ 0 h 466725"/>
                <a:gd name="connsiteX13" fmla="*/ 1657350 w 2679700"/>
                <a:gd name="connsiteY13" fmla="*/ 88900 h 466725"/>
                <a:gd name="connsiteX14" fmla="*/ 1650364 w 2679700"/>
                <a:gd name="connsiteY14" fmla="*/ 123504 h 466725"/>
                <a:gd name="connsiteX15" fmla="*/ 1639444 w 2679700"/>
                <a:gd name="connsiteY15" fmla="*/ 139700 h 466725"/>
                <a:gd name="connsiteX16" fmla="*/ 2590800 w 2679700"/>
                <a:gd name="connsiteY16" fmla="*/ 139700 h 466725"/>
                <a:gd name="connsiteX17" fmla="*/ 2679700 w 2679700"/>
                <a:gd name="connsiteY17" fmla="*/ 228600 h 466725"/>
                <a:gd name="connsiteX18" fmla="*/ 2590800 w 2679700"/>
                <a:gd name="connsiteY18" fmla="*/ 317500 h 466725"/>
                <a:gd name="connsiteX19" fmla="*/ 2317788 w 2679700"/>
                <a:gd name="connsiteY19" fmla="*/ 317500 h 466725"/>
                <a:gd name="connsiteX20" fmla="*/ 2332989 w 2679700"/>
                <a:gd name="connsiteY20" fmla="*/ 340046 h 466725"/>
                <a:gd name="connsiteX21" fmla="*/ 2339975 w 2679700"/>
                <a:gd name="connsiteY21" fmla="*/ 374650 h 466725"/>
                <a:gd name="connsiteX22" fmla="*/ 2251075 w 2679700"/>
                <a:gd name="connsiteY22" fmla="*/ 463550 h 466725"/>
                <a:gd name="connsiteX23" fmla="*/ 1590675 w 2679700"/>
                <a:gd name="connsiteY23" fmla="*/ 463550 h 466725"/>
                <a:gd name="connsiteX0" fmla="*/ 1174750 w 2679700"/>
                <a:gd name="connsiteY0" fmla="*/ 466725 h 466725"/>
                <a:gd name="connsiteX1" fmla="*/ 752475 w 2679700"/>
                <a:gd name="connsiteY1" fmla="*/ 463550 h 466725"/>
                <a:gd name="connsiteX2" fmla="*/ 663575 w 2679700"/>
                <a:gd name="connsiteY2" fmla="*/ 374650 h 466725"/>
                <a:gd name="connsiteX3" fmla="*/ 670561 w 2679700"/>
                <a:gd name="connsiteY3" fmla="*/ 340046 h 466725"/>
                <a:gd name="connsiteX4" fmla="*/ 685763 w 2679700"/>
                <a:gd name="connsiteY4" fmla="*/ 317500 h 466725"/>
                <a:gd name="connsiteX5" fmla="*/ 412750 w 2679700"/>
                <a:gd name="connsiteY5" fmla="*/ 317500 h 466725"/>
                <a:gd name="connsiteX6" fmla="*/ 323850 w 2679700"/>
                <a:gd name="connsiteY6" fmla="*/ 228600 h 466725"/>
                <a:gd name="connsiteX7" fmla="*/ 330836 w 2679700"/>
                <a:gd name="connsiteY7" fmla="*/ 193996 h 466725"/>
                <a:gd name="connsiteX8" fmla="*/ 341756 w 2679700"/>
                <a:gd name="connsiteY8" fmla="*/ 177800 h 466725"/>
                <a:gd name="connsiteX9" fmla="*/ 88900 w 2679700"/>
                <a:gd name="connsiteY9" fmla="*/ 177800 h 466725"/>
                <a:gd name="connsiteX10" fmla="*/ 0 w 2679700"/>
                <a:gd name="connsiteY10" fmla="*/ 88900 h 466725"/>
                <a:gd name="connsiteX11" fmla="*/ 88900 w 2679700"/>
                <a:gd name="connsiteY11" fmla="*/ 0 h 466725"/>
                <a:gd name="connsiteX12" fmla="*/ 1568450 w 2679700"/>
                <a:gd name="connsiteY12" fmla="*/ 0 h 466725"/>
                <a:gd name="connsiteX13" fmla="*/ 1657350 w 2679700"/>
                <a:gd name="connsiteY13" fmla="*/ 88900 h 466725"/>
                <a:gd name="connsiteX14" fmla="*/ 1650364 w 2679700"/>
                <a:gd name="connsiteY14" fmla="*/ 123504 h 466725"/>
                <a:gd name="connsiteX15" fmla="*/ 1639444 w 2679700"/>
                <a:gd name="connsiteY15" fmla="*/ 139700 h 466725"/>
                <a:gd name="connsiteX16" fmla="*/ 2590800 w 2679700"/>
                <a:gd name="connsiteY16" fmla="*/ 139700 h 466725"/>
                <a:gd name="connsiteX17" fmla="*/ 2679700 w 2679700"/>
                <a:gd name="connsiteY17" fmla="*/ 228600 h 466725"/>
                <a:gd name="connsiteX18" fmla="*/ 2590800 w 2679700"/>
                <a:gd name="connsiteY18" fmla="*/ 317500 h 466725"/>
                <a:gd name="connsiteX19" fmla="*/ 2317788 w 2679700"/>
                <a:gd name="connsiteY19" fmla="*/ 317500 h 466725"/>
                <a:gd name="connsiteX20" fmla="*/ 2332989 w 2679700"/>
                <a:gd name="connsiteY20" fmla="*/ 340046 h 466725"/>
                <a:gd name="connsiteX21" fmla="*/ 2339975 w 2679700"/>
                <a:gd name="connsiteY21" fmla="*/ 374650 h 466725"/>
                <a:gd name="connsiteX22" fmla="*/ 2251075 w 2679700"/>
                <a:gd name="connsiteY22" fmla="*/ 463550 h 466725"/>
                <a:gd name="connsiteX23" fmla="*/ 1590675 w 2679700"/>
                <a:gd name="connsiteY23" fmla="*/ 463550 h 466725"/>
                <a:gd name="connsiteX0" fmla="*/ 1174750 w 2679700"/>
                <a:gd name="connsiteY0" fmla="*/ 466725 h 466725"/>
                <a:gd name="connsiteX1" fmla="*/ 752475 w 2679700"/>
                <a:gd name="connsiteY1" fmla="*/ 463550 h 466725"/>
                <a:gd name="connsiteX2" fmla="*/ 663575 w 2679700"/>
                <a:gd name="connsiteY2" fmla="*/ 374650 h 466725"/>
                <a:gd name="connsiteX3" fmla="*/ 670561 w 2679700"/>
                <a:gd name="connsiteY3" fmla="*/ 340046 h 466725"/>
                <a:gd name="connsiteX4" fmla="*/ 685763 w 2679700"/>
                <a:gd name="connsiteY4" fmla="*/ 317500 h 466725"/>
                <a:gd name="connsiteX5" fmla="*/ 412750 w 2679700"/>
                <a:gd name="connsiteY5" fmla="*/ 317500 h 466725"/>
                <a:gd name="connsiteX6" fmla="*/ 323850 w 2679700"/>
                <a:gd name="connsiteY6" fmla="*/ 228600 h 466725"/>
                <a:gd name="connsiteX7" fmla="*/ 330836 w 2679700"/>
                <a:gd name="connsiteY7" fmla="*/ 193996 h 466725"/>
                <a:gd name="connsiteX8" fmla="*/ 341756 w 2679700"/>
                <a:gd name="connsiteY8" fmla="*/ 177800 h 466725"/>
                <a:gd name="connsiteX9" fmla="*/ 88900 w 2679700"/>
                <a:gd name="connsiteY9" fmla="*/ 177800 h 466725"/>
                <a:gd name="connsiteX10" fmla="*/ 0 w 2679700"/>
                <a:gd name="connsiteY10" fmla="*/ 88900 h 466725"/>
                <a:gd name="connsiteX11" fmla="*/ 88900 w 2679700"/>
                <a:gd name="connsiteY11" fmla="*/ 0 h 466725"/>
                <a:gd name="connsiteX12" fmla="*/ 1568450 w 2679700"/>
                <a:gd name="connsiteY12" fmla="*/ 0 h 466725"/>
                <a:gd name="connsiteX13" fmla="*/ 1657350 w 2679700"/>
                <a:gd name="connsiteY13" fmla="*/ 88900 h 466725"/>
                <a:gd name="connsiteX14" fmla="*/ 1650364 w 2679700"/>
                <a:gd name="connsiteY14" fmla="*/ 123504 h 466725"/>
                <a:gd name="connsiteX15" fmla="*/ 1639444 w 2679700"/>
                <a:gd name="connsiteY15" fmla="*/ 139700 h 466725"/>
                <a:gd name="connsiteX16" fmla="*/ 2590800 w 2679700"/>
                <a:gd name="connsiteY16" fmla="*/ 139700 h 466725"/>
                <a:gd name="connsiteX17" fmla="*/ 2679700 w 2679700"/>
                <a:gd name="connsiteY17" fmla="*/ 228600 h 466725"/>
                <a:gd name="connsiteX18" fmla="*/ 2590800 w 2679700"/>
                <a:gd name="connsiteY18" fmla="*/ 317500 h 466725"/>
                <a:gd name="connsiteX19" fmla="*/ 2317788 w 2679700"/>
                <a:gd name="connsiteY19" fmla="*/ 317500 h 466725"/>
                <a:gd name="connsiteX20" fmla="*/ 2332989 w 2679700"/>
                <a:gd name="connsiteY20" fmla="*/ 340046 h 466725"/>
                <a:gd name="connsiteX21" fmla="*/ 2339975 w 2679700"/>
                <a:gd name="connsiteY21" fmla="*/ 374650 h 466725"/>
                <a:gd name="connsiteX22" fmla="*/ 2251075 w 2679700"/>
                <a:gd name="connsiteY22" fmla="*/ 463550 h 466725"/>
                <a:gd name="connsiteX23" fmla="*/ 1619250 w 2679700"/>
                <a:gd name="connsiteY23" fmla="*/ 463550 h 466725"/>
                <a:gd name="connsiteX0" fmla="*/ 1155700 w 2679700"/>
                <a:gd name="connsiteY0" fmla="*/ 469900 h 469900"/>
                <a:gd name="connsiteX1" fmla="*/ 752475 w 2679700"/>
                <a:gd name="connsiteY1" fmla="*/ 463550 h 469900"/>
                <a:gd name="connsiteX2" fmla="*/ 663575 w 2679700"/>
                <a:gd name="connsiteY2" fmla="*/ 374650 h 469900"/>
                <a:gd name="connsiteX3" fmla="*/ 670561 w 2679700"/>
                <a:gd name="connsiteY3" fmla="*/ 340046 h 469900"/>
                <a:gd name="connsiteX4" fmla="*/ 685763 w 2679700"/>
                <a:gd name="connsiteY4" fmla="*/ 317500 h 469900"/>
                <a:gd name="connsiteX5" fmla="*/ 412750 w 2679700"/>
                <a:gd name="connsiteY5" fmla="*/ 317500 h 469900"/>
                <a:gd name="connsiteX6" fmla="*/ 323850 w 2679700"/>
                <a:gd name="connsiteY6" fmla="*/ 228600 h 469900"/>
                <a:gd name="connsiteX7" fmla="*/ 330836 w 2679700"/>
                <a:gd name="connsiteY7" fmla="*/ 193996 h 469900"/>
                <a:gd name="connsiteX8" fmla="*/ 341756 w 2679700"/>
                <a:gd name="connsiteY8" fmla="*/ 177800 h 469900"/>
                <a:gd name="connsiteX9" fmla="*/ 88900 w 2679700"/>
                <a:gd name="connsiteY9" fmla="*/ 177800 h 469900"/>
                <a:gd name="connsiteX10" fmla="*/ 0 w 2679700"/>
                <a:gd name="connsiteY10" fmla="*/ 88900 h 469900"/>
                <a:gd name="connsiteX11" fmla="*/ 88900 w 2679700"/>
                <a:gd name="connsiteY11" fmla="*/ 0 h 469900"/>
                <a:gd name="connsiteX12" fmla="*/ 1568450 w 2679700"/>
                <a:gd name="connsiteY12" fmla="*/ 0 h 469900"/>
                <a:gd name="connsiteX13" fmla="*/ 1657350 w 2679700"/>
                <a:gd name="connsiteY13" fmla="*/ 88900 h 469900"/>
                <a:gd name="connsiteX14" fmla="*/ 1650364 w 2679700"/>
                <a:gd name="connsiteY14" fmla="*/ 123504 h 469900"/>
                <a:gd name="connsiteX15" fmla="*/ 1639444 w 2679700"/>
                <a:gd name="connsiteY15" fmla="*/ 139700 h 469900"/>
                <a:gd name="connsiteX16" fmla="*/ 2590800 w 2679700"/>
                <a:gd name="connsiteY16" fmla="*/ 139700 h 469900"/>
                <a:gd name="connsiteX17" fmla="*/ 2679700 w 2679700"/>
                <a:gd name="connsiteY17" fmla="*/ 228600 h 469900"/>
                <a:gd name="connsiteX18" fmla="*/ 2590800 w 2679700"/>
                <a:gd name="connsiteY18" fmla="*/ 317500 h 469900"/>
                <a:gd name="connsiteX19" fmla="*/ 2317788 w 2679700"/>
                <a:gd name="connsiteY19" fmla="*/ 317500 h 469900"/>
                <a:gd name="connsiteX20" fmla="*/ 2332989 w 2679700"/>
                <a:gd name="connsiteY20" fmla="*/ 340046 h 469900"/>
                <a:gd name="connsiteX21" fmla="*/ 2339975 w 2679700"/>
                <a:gd name="connsiteY21" fmla="*/ 374650 h 469900"/>
                <a:gd name="connsiteX22" fmla="*/ 2251075 w 2679700"/>
                <a:gd name="connsiteY22" fmla="*/ 463550 h 469900"/>
                <a:gd name="connsiteX23" fmla="*/ 1619250 w 2679700"/>
                <a:gd name="connsiteY23" fmla="*/ 463550 h 4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79700" h="469900">
                  <a:moveTo>
                    <a:pt x="1155700" y="469900"/>
                  </a:moveTo>
                  <a:lnTo>
                    <a:pt x="752475" y="463550"/>
                  </a:lnTo>
                  <a:cubicBezTo>
                    <a:pt x="703377" y="463550"/>
                    <a:pt x="663575" y="423748"/>
                    <a:pt x="663575" y="374650"/>
                  </a:cubicBezTo>
                  <a:cubicBezTo>
                    <a:pt x="663575" y="362376"/>
                    <a:pt x="666063" y="350682"/>
                    <a:pt x="670561" y="340046"/>
                  </a:cubicBezTo>
                  <a:lnTo>
                    <a:pt x="685763" y="317500"/>
                  </a:lnTo>
                  <a:lnTo>
                    <a:pt x="412750" y="317500"/>
                  </a:lnTo>
                  <a:cubicBezTo>
                    <a:pt x="363652" y="317500"/>
                    <a:pt x="323850" y="277698"/>
                    <a:pt x="323850" y="228600"/>
                  </a:cubicBezTo>
                  <a:cubicBezTo>
                    <a:pt x="323850" y="216325"/>
                    <a:pt x="326337" y="204632"/>
                    <a:pt x="330836" y="193996"/>
                  </a:cubicBezTo>
                  <a:lnTo>
                    <a:pt x="341756" y="177800"/>
                  </a:lnTo>
                  <a:lnTo>
                    <a:pt x="88900" y="177800"/>
                  </a:lnTo>
                  <a:cubicBezTo>
                    <a:pt x="39802" y="177800"/>
                    <a:pt x="0" y="137998"/>
                    <a:pt x="0" y="88900"/>
                  </a:cubicBezTo>
                  <a:cubicBezTo>
                    <a:pt x="0" y="39802"/>
                    <a:pt x="39802" y="0"/>
                    <a:pt x="88900" y="0"/>
                  </a:cubicBezTo>
                  <a:lnTo>
                    <a:pt x="1568450" y="0"/>
                  </a:lnTo>
                  <a:cubicBezTo>
                    <a:pt x="1617548" y="0"/>
                    <a:pt x="1657350" y="39802"/>
                    <a:pt x="1657350" y="88900"/>
                  </a:cubicBezTo>
                  <a:cubicBezTo>
                    <a:pt x="1657350" y="101174"/>
                    <a:pt x="1654863" y="112868"/>
                    <a:pt x="1650364" y="123504"/>
                  </a:cubicBezTo>
                  <a:lnTo>
                    <a:pt x="1639444" y="139700"/>
                  </a:lnTo>
                  <a:lnTo>
                    <a:pt x="2590800" y="139700"/>
                  </a:lnTo>
                  <a:cubicBezTo>
                    <a:pt x="2639898" y="139700"/>
                    <a:pt x="2679700" y="179502"/>
                    <a:pt x="2679700" y="228600"/>
                  </a:cubicBezTo>
                  <a:cubicBezTo>
                    <a:pt x="2679700" y="277698"/>
                    <a:pt x="2639898" y="317500"/>
                    <a:pt x="2590800" y="317500"/>
                  </a:cubicBezTo>
                  <a:lnTo>
                    <a:pt x="2317788" y="317500"/>
                  </a:lnTo>
                  <a:lnTo>
                    <a:pt x="2332989" y="340046"/>
                  </a:lnTo>
                  <a:cubicBezTo>
                    <a:pt x="2337488" y="350682"/>
                    <a:pt x="2339975" y="362376"/>
                    <a:pt x="2339975" y="374650"/>
                  </a:cubicBezTo>
                  <a:cubicBezTo>
                    <a:pt x="2339975" y="423748"/>
                    <a:pt x="2300173" y="463550"/>
                    <a:pt x="2251075" y="463550"/>
                  </a:cubicBezTo>
                  <a:lnTo>
                    <a:pt x="1619250" y="463550"/>
                  </a:lnTo>
                </a:path>
              </a:pathLst>
            </a:custGeom>
            <a:noFill/>
            <a:ln w="22225" cap="rnd">
              <a:solidFill>
                <a:schemeClr val="accent1"/>
              </a:solidFill>
              <a:round/>
              <a:headEnd/>
              <a:tailEnd/>
            </a:ln>
            <a:effectLst/>
          </p:spPr>
          <p:txBody>
            <a:bodyPr wrap="square" lIns="93260" tIns="46630" rIns="93260" bIns="46630" numCol="1" spcCol="0" rtlCol="0" fromWordArt="0" anchor="ctr" anchorCtr="0" forceAA="0" compatLnSpc="1"/>
            <a:lstStyle/>
            <a:p>
              <a:pPr defTabSz="932597">
                <a:defRPr/>
              </a:pPr>
              <a:endParaRPr lang="en-US" sz="1836">
                <a:solidFill>
                  <a:prstClr val="black"/>
                </a:solidFill>
                <a:latin typeface="Arial" charset="0"/>
                <a:ea typeface="Arial" charset="0"/>
                <a:cs typeface="Arial" charset="0"/>
              </a:endParaRPr>
            </a:p>
          </p:txBody>
        </p:sp>
        <p:sp>
          <p:nvSpPr>
            <p:cNvPr id="26" name="Trapezoid 25">
              <a:extLst>
                <a:ext uri="{FF2B5EF4-FFF2-40B4-BE49-F238E27FC236}">
                  <a16:creationId xmlns:a16="http://schemas.microsoft.com/office/drawing/2014/main" id="{AA3BD532-9E35-415E-827C-444C40B79D9C}"/>
                </a:ext>
              </a:extLst>
            </p:cNvPr>
            <p:cNvSpPr/>
            <p:nvPr/>
          </p:nvSpPr>
          <p:spPr bwMode="auto">
            <a:xfrm>
              <a:off x="7359650" y="3803563"/>
              <a:ext cx="527050" cy="1241425"/>
            </a:xfrm>
            <a:prstGeom prst="trapezoid">
              <a:avLst>
                <a:gd name="adj" fmla="val 40663"/>
              </a:avLst>
            </a:prstGeom>
            <a:noFill/>
            <a:ln w="22225" cap="rnd">
              <a:solidFill>
                <a:schemeClr val="accent1"/>
              </a:solidFill>
              <a:round/>
              <a:headEnd/>
              <a:tailEnd/>
            </a:ln>
            <a:effectLst/>
          </p:spPr>
          <p:txBody>
            <a:bodyPr wrap="none" rtlCol="0" anchor="ctr"/>
            <a:lstStyle/>
            <a:p>
              <a:pPr defTabSz="932597">
                <a:defRPr/>
              </a:pPr>
              <a:endParaRPr lang="en-US" sz="1836">
                <a:solidFill>
                  <a:prstClr val="black"/>
                </a:solidFill>
                <a:latin typeface="Arial" charset="0"/>
                <a:ea typeface="Arial" charset="0"/>
                <a:cs typeface="Arial" charset="0"/>
              </a:endParaRPr>
            </a:p>
          </p:txBody>
        </p:sp>
        <p:sp>
          <p:nvSpPr>
            <p:cNvPr id="27" name="Freeform 25">
              <a:extLst>
                <a:ext uri="{FF2B5EF4-FFF2-40B4-BE49-F238E27FC236}">
                  <a16:creationId xmlns:a16="http://schemas.microsoft.com/office/drawing/2014/main" id="{56A8D6AF-CC90-47C2-BFA9-D1A95288125F}"/>
                </a:ext>
              </a:extLst>
            </p:cNvPr>
            <p:cNvSpPr/>
            <p:nvPr/>
          </p:nvSpPr>
          <p:spPr bwMode="auto">
            <a:xfrm>
              <a:off x="7521575" y="3803563"/>
              <a:ext cx="203200" cy="320675"/>
            </a:xfrm>
            <a:custGeom>
              <a:avLst/>
              <a:gdLst>
                <a:gd name="connsiteX0" fmla="*/ 152400 w 203200"/>
                <a:gd name="connsiteY0" fmla="*/ 0 h 320675"/>
                <a:gd name="connsiteX1" fmla="*/ 0 w 203200"/>
                <a:gd name="connsiteY1" fmla="*/ 320675 h 320675"/>
                <a:gd name="connsiteX2" fmla="*/ 203200 w 203200"/>
                <a:gd name="connsiteY2" fmla="*/ 320675 h 320675"/>
              </a:gdLst>
              <a:ahLst/>
              <a:cxnLst>
                <a:cxn ang="0">
                  <a:pos x="connsiteX0" y="connsiteY0"/>
                </a:cxn>
                <a:cxn ang="0">
                  <a:pos x="connsiteX1" y="connsiteY1"/>
                </a:cxn>
                <a:cxn ang="0">
                  <a:pos x="connsiteX2" y="connsiteY2"/>
                </a:cxn>
              </a:cxnLst>
              <a:rect l="l" t="t" r="r" b="b"/>
              <a:pathLst>
                <a:path w="203200" h="320675">
                  <a:moveTo>
                    <a:pt x="152400" y="0"/>
                  </a:moveTo>
                  <a:lnTo>
                    <a:pt x="0" y="320675"/>
                  </a:lnTo>
                  <a:lnTo>
                    <a:pt x="203200" y="320675"/>
                  </a:lnTo>
                </a:path>
              </a:pathLst>
            </a:custGeom>
            <a:noFill/>
            <a:ln w="22225" cap="rnd">
              <a:solidFill>
                <a:schemeClr val="accent1"/>
              </a:solidFill>
              <a:round/>
              <a:headEnd/>
              <a:tailEnd/>
            </a:ln>
            <a:effectLst/>
          </p:spPr>
          <p:txBody>
            <a:bodyPr rtlCol="0" anchor="ctr"/>
            <a:lstStyle/>
            <a:p>
              <a:pPr algn="ctr" defTabSz="932597">
                <a:defRPr/>
              </a:pPr>
              <a:endParaRPr lang="en-US" sz="1836">
                <a:solidFill>
                  <a:srgbClr val="000000"/>
                </a:solidFill>
                <a:latin typeface="Segoe UI"/>
              </a:endParaRPr>
            </a:p>
          </p:txBody>
        </p:sp>
        <p:sp>
          <p:nvSpPr>
            <p:cNvPr id="28" name="Freeform 26">
              <a:extLst>
                <a:ext uri="{FF2B5EF4-FFF2-40B4-BE49-F238E27FC236}">
                  <a16:creationId xmlns:a16="http://schemas.microsoft.com/office/drawing/2014/main" id="{6A52EAE9-20F2-456B-BAF4-06387908162B}"/>
                </a:ext>
              </a:extLst>
            </p:cNvPr>
            <p:cNvSpPr/>
            <p:nvPr/>
          </p:nvSpPr>
          <p:spPr bwMode="auto">
            <a:xfrm flipH="1">
              <a:off x="7477125" y="4130588"/>
              <a:ext cx="292100" cy="288925"/>
            </a:xfrm>
            <a:custGeom>
              <a:avLst/>
              <a:gdLst>
                <a:gd name="connsiteX0" fmla="*/ 152400 w 203200"/>
                <a:gd name="connsiteY0" fmla="*/ 0 h 320675"/>
                <a:gd name="connsiteX1" fmla="*/ 0 w 203200"/>
                <a:gd name="connsiteY1" fmla="*/ 320675 h 320675"/>
                <a:gd name="connsiteX2" fmla="*/ 203200 w 203200"/>
                <a:gd name="connsiteY2" fmla="*/ 320675 h 320675"/>
                <a:gd name="connsiteX0" fmla="*/ 174487 w 203200"/>
                <a:gd name="connsiteY0" fmla="*/ 0 h 320675"/>
                <a:gd name="connsiteX1" fmla="*/ 0 w 203200"/>
                <a:gd name="connsiteY1" fmla="*/ 320675 h 320675"/>
                <a:gd name="connsiteX2" fmla="*/ 203200 w 203200"/>
                <a:gd name="connsiteY2" fmla="*/ 320675 h 320675"/>
              </a:gdLst>
              <a:ahLst/>
              <a:cxnLst>
                <a:cxn ang="0">
                  <a:pos x="connsiteX0" y="connsiteY0"/>
                </a:cxn>
                <a:cxn ang="0">
                  <a:pos x="connsiteX1" y="connsiteY1"/>
                </a:cxn>
                <a:cxn ang="0">
                  <a:pos x="connsiteX2" y="connsiteY2"/>
                </a:cxn>
              </a:cxnLst>
              <a:rect l="l" t="t" r="r" b="b"/>
              <a:pathLst>
                <a:path w="203200" h="320675">
                  <a:moveTo>
                    <a:pt x="174487" y="0"/>
                  </a:moveTo>
                  <a:lnTo>
                    <a:pt x="0" y="320675"/>
                  </a:lnTo>
                  <a:lnTo>
                    <a:pt x="203200" y="320675"/>
                  </a:lnTo>
                </a:path>
              </a:pathLst>
            </a:custGeom>
            <a:noFill/>
            <a:ln w="22225" cap="rnd">
              <a:solidFill>
                <a:schemeClr val="accent1"/>
              </a:solidFill>
              <a:round/>
              <a:headEnd/>
              <a:tailEnd/>
            </a:ln>
            <a:effectLst/>
          </p:spPr>
          <p:txBody>
            <a:bodyPr rtlCol="0" anchor="ctr"/>
            <a:lstStyle/>
            <a:p>
              <a:pPr algn="ctr" defTabSz="932597">
                <a:defRPr/>
              </a:pPr>
              <a:endParaRPr lang="en-US" sz="1836">
                <a:solidFill>
                  <a:srgbClr val="000000"/>
                </a:solidFill>
                <a:latin typeface="Segoe UI"/>
              </a:endParaRPr>
            </a:p>
          </p:txBody>
        </p:sp>
        <p:sp>
          <p:nvSpPr>
            <p:cNvPr id="29" name="Freeform 27">
              <a:extLst>
                <a:ext uri="{FF2B5EF4-FFF2-40B4-BE49-F238E27FC236}">
                  <a16:creationId xmlns:a16="http://schemas.microsoft.com/office/drawing/2014/main" id="{10838191-D07D-4D76-A2E2-EB1C16449633}"/>
                </a:ext>
              </a:extLst>
            </p:cNvPr>
            <p:cNvSpPr/>
            <p:nvPr/>
          </p:nvSpPr>
          <p:spPr bwMode="auto">
            <a:xfrm>
              <a:off x="7413625" y="4425864"/>
              <a:ext cx="406400" cy="317500"/>
            </a:xfrm>
            <a:custGeom>
              <a:avLst/>
              <a:gdLst>
                <a:gd name="connsiteX0" fmla="*/ 152400 w 203200"/>
                <a:gd name="connsiteY0" fmla="*/ 0 h 320675"/>
                <a:gd name="connsiteX1" fmla="*/ 0 w 203200"/>
                <a:gd name="connsiteY1" fmla="*/ 320675 h 320675"/>
                <a:gd name="connsiteX2" fmla="*/ 203200 w 203200"/>
                <a:gd name="connsiteY2" fmla="*/ 320675 h 320675"/>
                <a:gd name="connsiteX0" fmla="*/ 180258 w 203200"/>
                <a:gd name="connsiteY0" fmla="*/ 0 h 314325"/>
                <a:gd name="connsiteX1" fmla="*/ 0 w 203200"/>
                <a:gd name="connsiteY1" fmla="*/ 314325 h 314325"/>
                <a:gd name="connsiteX2" fmla="*/ 203200 w 203200"/>
                <a:gd name="connsiteY2" fmla="*/ 314325 h 314325"/>
                <a:gd name="connsiteX0" fmla="*/ 186813 w 209755"/>
                <a:gd name="connsiteY0" fmla="*/ 0 h 317500"/>
                <a:gd name="connsiteX1" fmla="*/ 0 w 209755"/>
                <a:gd name="connsiteY1" fmla="*/ 317500 h 317500"/>
                <a:gd name="connsiteX2" fmla="*/ 209755 w 209755"/>
                <a:gd name="connsiteY2" fmla="*/ 314325 h 317500"/>
              </a:gdLst>
              <a:ahLst/>
              <a:cxnLst>
                <a:cxn ang="0">
                  <a:pos x="connsiteX0" y="connsiteY0"/>
                </a:cxn>
                <a:cxn ang="0">
                  <a:pos x="connsiteX1" y="connsiteY1"/>
                </a:cxn>
                <a:cxn ang="0">
                  <a:pos x="connsiteX2" y="connsiteY2"/>
                </a:cxn>
              </a:cxnLst>
              <a:rect l="l" t="t" r="r" b="b"/>
              <a:pathLst>
                <a:path w="209755" h="317500">
                  <a:moveTo>
                    <a:pt x="186813" y="0"/>
                  </a:moveTo>
                  <a:lnTo>
                    <a:pt x="0" y="317500"/>
                  </a:lnTo>
                  <a:lnTo>
                    <a:pt x="209755" y="314325"/>
                  </a:lnTo>
                </a:path>
              </a:pathLst>
            </a:custGeom>
            <a:noFill/>
            <a:ln w="22225" cap="rnd">
              <a:solidFill>
                <a:schemeClr val="accent1"/>
              </a:solidFill>
              <a:round/>
              <a:headEnd/>
              <a:tailEnd/>
            </a:ln>
            <a:effectLst/>
          </p:spPr>
          <p:txBody>
            <a:bodyPr rtlCol="0" anchor="ctr"/>
            <a:lstStyle/>
            <a:p>
              <a:pPr algn="ctr" defTabSz="932597">
                <a:defRPr/>
              </a:pPr>
              <a:endParaRPr lang="en-US" sz="1836">
                <a:solidFill>
                  <a:srgbClr val="000000"/>
                </a:solidFill>
                <a:latin typeface="Segoe UI"/>
              </a:endParaRPr>
            </a:p>
          </p:txBody>
        </p:sp>
        <p:sp>
          <p:nvSpPr>
            <p:cNvPr id="30" name="Freeform 28">
              <a:extLst>
                <a:ext uri="{FF2B5EF4-FFF2-40B4-BE49-F238E27FC236}">
                  <a16:creationId xmlns:a16="http://schemas.microsoft.com/office/drawing/2014/main" id="{F0D3B609-CEE2-499A-A61F-A149EA0BE5A6}"/>
                </a:ext>
              </a:extLst>
            </p:cNvPr>
            <p:cNvSpPr/>
            <p:nvPr/>
          </p:nvSpPr>
          <p:spPr bwMode="auto">
            <a:xfrm>
              <a:off x="7416800" y="4746538"/>
              <a:ext cx="460375" cy="298450"/>
            </a:xfrm>
            <a:custGeom>
              <a:avLst/>
              <a:gdLst>
                <a:gd name="connsiteX0" fmla="*/ 0 w 460375"/>
                <a:gd name="connsiteY0" fmla="*/ 0 h 298450"/>
                <a:gd name="connsiteX1" fmla="*/ 460375 w 460375"/>
                <a:gd name="connsiteY1" fmla="*/ 298450 h 298450"/>
              </a:gdLst>
              <a:ahLst/>
              <a:cxnLst>
                <a:cxn ang="0">
                  <a:pos x="connsiteX0" y="connsiteY0"/>
                </a:cxn>
                <a:cxn ang="0">
                  <a:pos x="connsiteX1" y="connsiteY1"/>
                </a:cxn>
              </a:cxnLst>
              <a:rect l="l" t="t" r="r" b="b"/>
              <a:pathLst>
                <a:path w="460375" h="298450">
                  <a:moveTo>
                    <a:pt x="0" y="0"/>
                  </a:moveTo>
                  <a:lnTo>
                    <a:pt x="460375" y="298450"/>
                  </a:lnTo>
                </a:path>
              </a:pathLst>
            </a:custGeom>
            <a:noFill/>
            <a:ln w="22225" cap="rnd">
              <a:solidFill>
                <a:schemeClr val="accent1"/>
              </a:solidFill>
              <a:round/>
              <a:headEnd/>
              <a:tailEnd/>
            </a:ln>
            <a:effectLst/>
          </p:spPr>
          <p:txBody>
            <a:bodyPr rtlCol="0" anchor="ctr"/>
            <a:lstStyle/>
            <a:p>
              <a:pPr algn="ctr" defTabSz="932597">
                <a:defRPr/>
              </a:pPr>
              <a:endParaRPr lang="en-US" sz="1836">
                <a:solidFill>
                  <a:srgbClr val="000000"/>
                </a:solidFill>
                <a:latin typeface="Segoe UI"/>
              </a:endParaRPr>
            </a:p>
          </p:txBody>
        </p:sp>
        <p:grpSp>
          <p:nvGrpSpPr>
            <p:cNvPr id="31" name="Group 30">
              <a:extLst>
                <a:ext uri="{FF2B5EF4-FFF2-40B4-BE49-F238E27FC236}">
                  <a16:creationId xmlns:a16="http://schemas.microsoft.com/office/drawing/2014/main" id="{54B20ABA-78C1-4F3B-85A5-6D5A20FC2328}"/>
                </a:ext>
              </a:extLst>
            </p:cNvPr>
            <p:cNvGrpSpPr/>
            <p:nvPr/>
          </p:nvGrpSpPr>
          <p:grpSpPr>
            <a:xfrm>
              <a:off x="4942355" y="1671586"/>
              <a:ext cx="269408" cy="301012"/>
              <a:chOff x="709535" y="3658062"/>
              <a:chExt cx="1430415" cy="1598221"/>
            </a:xfrm>
          </p:grpSpPr>
          <p:sp>
            <p:nvSpPr>
              <p:cNvPr id="114" name="Freeform 5">
                <a:extLst>
                  <a:ext uri="{FF2B5EF4-FFF2-40B4-BE49-F238E27FC236}">
                    <a16:creationId xmlns:a16="http://schemas.microsoft.com/office/drawing/2014/main" id="{42BE991B-380E-482E-B8AE-523C766AD038}"/>
                  </a:ext>
                </a:extLst>
              </p:cNvPr>
              <p:cNvSpPr>
                <a:spLocks noEditPoints="1"/>
              </p:cNvSpPr>
              <p:nvPr/>
            </p:nvSpPr>
            <p:spPr bwMode="auto">
              <a:xfrm>
                <a:off x="709535" y="3658062"/>
                <a:ext cx="1430415" cy="159822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sp>
            <p:nvSpPr>
              <p:cNvPr id="115" name="Trapezoid 22">
                <a:extLst>
                  <a:ext uri="{FF2B5EF4-FFF2-40B4-BE49-F238E27FC236}">
                    <a16:creationId xmlns:a16="http://schemas.microsoft.com/office/drawing/2014/main" id="{1652CBCF-0D4D-470B-BD8D-8D1F32E3C201}"/>
                  </a:ext>
                </a:extLst>
              </p:cNvPr>
              <p:cNvSpPr/>
              <p:nvPr/>
            </p:nvSpPr>
            <p:spPr bwMode="auto">
              <a:xfrm rot="10800000">
                <a:off x="1301681" y="4559299"/>
                <a:ext cx="246123" cy="193606"/>
              </a:xfrm>
              <a:custGeom>
                <a:avLst/>
                <a:gdLst>
                  <a:gd name="connsiteX0" fmla="*/ 0 w 240408"/>
                  <a:gd name="connsiteY0" fmla="*/ 199956 h 199956"/>
                  <a:gd name="connsiteX1" fmla="*/ 75981 w 240408"/>
                  <a:gd name="connsiteY1" fmla="*/ 0 h 199956"/>
                  <a:gd name="connsiteX2" fmla="*/ 164427 w 240408"/>
                  <a:gd name="connsiteY2" fmla="*/ 0 h 199956"/>
                  <a:gd name="connsiteX3" fmla="*/ 240408 w 240408"/>
                  <a:gd name="connsiteY3" fmla="*/ 199956 h 199956"/>
                  <a:gd name="connsiteX4" fmla="*/ 0 w 240408"/>
                  <a:gd name="connsiteY4" fmla="*/ 199956 h 199956"/>
                  <a:gd name="connsiteX0" fmla="*/ 240408 w 331848"/>
                  <a:gd name="connsiteY0" fmla="*/ 199956 h 291396"/>
                  <a:gd name="connsiteX1" fmla="*/ 0 w 331848"/>
                  <a:gd name="connsiteY1" fmla="*/ 199956 h 291396"/>
                  <a:gd name="connsiteX2" fmla="*/ 75981 w 331848"/>
                  <a:gd name="connsiteY2" fmla="*/ 0 h 291396"/>
                  <a:gd name="connsiteX3" fmla="*/ 164427 w 331848"/>
                  <a:gd name="connsiteY3" fmla="*/ 0 h 291396"/>
                  <a:gd name="connsiteX4" fmla="*/ 331848 w 331848"/>
                  <a:gd name="connsiteY4" fmla="*/ 291396 h 291396"/>
                  <a:gd name="connsiteX0" fmla="*/ 240408 w 258823"/>
                  <a:gd name="connsiteY0" fmla="*/ 199956 h 199956"/>
                  <a:gd name="connsiteX1" fmla="*/ 0 w 258823"/>
                  <a:gd name="connsiteY1" fmla="*/ 199956 h 199956"/>
                  <a:gd name="connsiteX2" fmla="*/ 75981 w 258823"/>
                  <a:gd name="connsiteY2" fmla="*/ 0 h 199956"/>
                  <a:gd name="connsiteX3" fmla="*/ 164427 w 258823"/>
                  <a:gd name="connsiteY3" fmla="*/ 0 h 199956"/>
                  <a:gd name="connsiteX4" fmla="*/ 258823 w 258823"/>
                  <a:gd name="connsiteY4" fmla="*/ 196146 h 199956"/>
                  <a:gd name="connsiteX0" fmla="*/ 161033 w 258823"/>
                  <a:gd name="connsiteY0" fmla="*/ 292031 h 292031"/>
                  <a:gd name="connsiteX1" fmla="*/ 0 w 258823"/>
                  <a:gd name="connsiteY1" fmla="*/ 199956 h 292031"/>
                  <a:gd name="connsiteX2" fmla="*/ 75981 w 258823"/>
                  <a:gd name="connsiteY2" fmla="*/ 0 h 292031"/>
                  <a:gd name="connsiteX3" fmla="*/ 164427 w 258823"/>
                  <a:gd name="connsiteY3" fmla="*/ 0 h 292031"/>
                  <a:gd name="connsiteX4" fmla="*/ 258823 w 258823"/>
                  <a:gd name="connsiteY4" fmla="*/ 196146 h 292031"/>
                  <a:gd name="connsiteX0" fmla="*/ 0 w 258823"/>
                  <a:gd name="connsiteY0" fmla="*/ 199956 h 199956"/>
                  <a:gd name="connsiteX1" fmla="*/ 75981 w 258823"/>
                  <a:gd name="connsiteY1" fmla="*/ 0 h 199956"/>
                  <a:gd name="connsiteX2" fmla="*/ 164427 w 258823"/>
                  <a:gd name="connsiteY2" fmla="*/ 0 h 199956"/>
                  <a:gd name="connsiteX3" fmla="*/ 258823 w 258823"/>
                  <a:gd name="connsiteY3" fmla="*/ 196146 h 199956"/>
                  <a:gd name="connsiteX0" fmla="*/ 0 w 249298"/>
                  <a:gd name="connsiteY0" fmla="*/ 199956 h 199956"/>
                  <a:gd name="connsiteX1" fmla="*/ 75981 w 249298"/>
                  <a:gd name="connsiteY1" fmla="*/ 0 h 199956"/>
                  <a:gd name="connsiteX2" fmla="*/ 164427 w 249298"/>
                  <a:gd name="connsiteY2" fmla="*/ 0 h 199956"/>
                  <a:gd name="connsiteX3" fmla="*/ 249298 w 249298"/>
                  <a:gd name="connsiteY3" fmla="*/ 192971 h 199956"/>
                  <a:gd name="connsiteX0" fmla="*/ 0 w 246123"/>
                  <a:gd name="connsiteY0" fmla="*/ 193606 h 193606"/>
                  <a:gd name="connsiteX1" fmla="*/ 72806 w 246123"/>
                  <a:gd name="connsiteY1" fmla="*/ 0 h 193606"/>
                  <a:gd name="connsiteX2" fmla="*/ 161252 w 246123"/>
                  <a:gd name="connsiteY2" fmla="*/ 0 h 193606"/>
                  <a:gd name="connsiteX3" fmla="*/ 246123 w 246123"/>
                  <a:gd name="connsiteY3" fmla="*/ 192971 h 193606"/>
                </a:gdLst>
                <a:ahLst/>
                <a:cxnLst>
                  <a:cxn ang="0">
                    <a:pos x="connsiteX0" y="connsiteY0"/>
                  </a:cxn>
                  <a:cxn ang="0">
                    <a:pos x="connsiteX1" y="connsiteY1"/>
                  </a:cxn>
                  <a:cxn ang="0">
                    <a:pos x="connsiteX2" y="connsiteY2"/>
                  </a:cxn>
                  <a:cxn ang="0">
                    <a:pos x="connsiteX3" y="connsiteY3"/>
                  </a:cxn>
                </a:cxnLst>
                <a:rect l="l" t="t" r="r" b="b"/>
                <a:pathLst>
                  <a:path w="246123" h="193606">
                    <a:moveTo>
                      <a:pt x="0" y="193606"/>
                    </a:moveTo>
                    <a:lnTo>
                      <a:pt x="72806" y="0"/>
                    </a:lnTo>
                    <a:lnTo>
                      <a:pt x="161252" y="0"/>
                    </a:lnTo>
                    <a:cubicBezTo>
                      <a:pt x="186579" y="66652"/>
                      <a:pt x="246123" y="192971"/>
                      <a:pt x="246123" y="192971"/>
                    </a:cubicBezTo>
                  </a:path>
                </a:pathLst>
              </a:cu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Trapezoid 115">
                <a:extLst>
                  <a:ext uri="{FF2B5EF4-FFF2-40B4-BE49-F238E27FC236}">
                    <a16:creationId xmlns:a16="http://schemas.microsoft.com/office/drawing/2014/main" id="{949C8FB4-C3FF-4B8A-AB1D-8F3B279F2BB2}"/>
                  </a:ext>
                </a:extLst>
              </p:cNvPr>
              <p:cNvSpPr/>
              <p:nvPr/>
            </p:nvSpPr>
            <p:spPr bwMode="auto">
              <a:xfrm>
                <a:off x="1304538" y="4754251"/>
                <a:ext cx="240408" cy="498694"/>
              </a:xfrm>
              <a:prstGeom prst="trapezoid">
                <a:avLst>
                  <a:gd name="adj" fmla="val 31603"/>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3278F111-9A26-4CEC-AA67-FFBDF2DC6417}"/>
                </a:ext>
              </a:extLst>
            </p:cNvPr>
            <p:cNvGrpSpPr/>
            <p:nvPr/>
          </p:nvGrpSpPr>
          <p:grpSpPr>
            <a:xfrm>
              <a:off x="7291575" y="3584222"/>
              <a:ext cx="606338" cy="466542"/>
              <a:chOff x="9301121" y="2380131"/>
              <a:chExt cx="1057358" cy="813582"/>
            </a:xfrm>
          </p:grpSpPr>
          <p:sp>
            <p:nvSpPr>
              <p:cNvPr id="109" name="Freeform 107">
                <a:extLst>
                  <a:ext uri="{FF2B5EF4-FFF2-40B4-BE49-F238E27FC236}">
                    <a16:creationId xmlns:a16="http://schemas.microsoft.com/office/drawing/2014/main" id="{2214B524-6B7B-4ADD-A346-8650B7097658}"/>
                  </a:ext>
                </a:extLst>
              </p:cNvPr>
              <p:cNvSpPr/>
              <p:nvPr/>
            </p:nvSpPr>
            <p:spPr bwMode="auto">
              <a:xfrm rot="10800000">
                <a:off x="9474200" y="2523616"/>
                <a:ext cx="158464" cy="547230"/>
              </a:xfrm>
              <a:custGeom>
                <a:avLst/>
                <a:gdLst>
                  <a:gd name="connsiteX0" fmla="*/ 137005 w 295469"/>
                  <a:gd name="connsiteY0" fmla="*/ 589601 h 589601"/>
                  <a:gd name="connsiteX1" fmla="*/ 0 w 295469"/>
                  <a:gd name="connsiteY1" fmla="*/ 297947 h 589601"/>
                  <a:gd name="connsiteX2" fmla="*/ 139962 w 295469"/>
                  <a:gd name="connsiteY2" fmla="*/ 0 h 589601"/>
                  <a:gd name="connsiteX3" fmla="*/ 191316 w 295469"/>
                  <a:gd name="connsiteY3" fmla="*/ 42371 h 589601"/>
                  <a:gd name="connsiteX4" fmla="*/ 295469 w 295469"/>
                  <a:gd name="connsiteY4" fmla="*/ 293818 h 589601"/>
                  <a:gd name="connsiteX5" fmla="*/ 138688 w 295469"/>
                  <a:gd name="connsiteY5" fmla="*/ 588687 h 589601"/>
                  <a:gd name="connsiteX6" fmla="*/ 137005 w 295469"/>
                  <a:gd name="connsiteY6" fmla="*/ 589601 h 589601"/>
                  <a:gd name="connsiteX0" fmla="*/ 0 w 295469"/>
                  <a:gd name="connsiteY0" fmla="*/ 297947 h 589601"/>
                  <a:gd name="connsiteX1" fmla="*/ 139962 w 295469"/>
                  <a:gd name="connsiteY1" fmla="*/ 0 h 589601"/>
                  <a:gd name="connsiteX2" fmla="*/ 191316 w 295469"/>
                  <a:gd name="connsiteY2" fmla="*/ 42371 h 589601"/>
                  <a:gd name="connsiteX3" fmla="*/ 295469 w 295469"/>
                  <a:gd name="connsiteY3" fmla="*/ 293818 h 589601"/>
                  <a:gd name="connsiteX4" fmla="*/ 138688 w 295469"/>
                  <a:gd name="connsiteY4" fmla="*/ 588687 h 589601"/>
                  <a:gd name="connsiteX5" fmla="*/ 137005 w 295469"/>
                  <a:gd name="connsiteY5" fmla="*/ 589601 h 589601"/>
                  <a:gd name="connsiteX6" fmla="*/ 91440 w 295469"/>
                  <a:gd name="connsiteY6" fmla="*/ 389387 h 589601"/>
                  <a:gd name="connsiteX0" fmla="*/ 48523 w 204030"/>
                  <a:gd name="connsiteY0" fmla="*/ 0 h 589601"/>
                  <a:gd name="connsiteX1" fmla="*/ 99877 w 204030"/>
                  <a:gd name="connsiteY1" fmla="*/ 42371 h 589601"/>
                  <a:gd name="connsiteX2" fmla="*/ 204030 w 204030"/>
                  <a:gd name="connsiteY2" fmla="*/ 293818 h 589601"/>
                  <a:gd name="connsiteX3" fmla="*/ 47249 w 204030"/>
                  <a:gd name="connsiteY3" fmla="*/ 588687 h 589601"/>
                  <a:gd name="connsiteX4" fmla="*/ 45566 w 204030"/>
                  <a:gd name="connsiteY4" fmla="*/ 589601 h 589601"/>
                  <a:gd name="connsiteX5" fmla="*/ 1 w 204030"/>
                  <a:gd name="connsiteY5" fmla="*/ 389387 h 589601"/>
                  <a:gd name="connsiteX0" fmla="*/ 2957 w 158464"/>
                  <a:gd name="connsiteY0" fmla="*/ 0 h 589601"/>
                  <a:gd name="connsiteX1" fmla="*/ 54311 w 158464"/>
                  <a:gd name="connsiteY1" fmla="*/ 42371 h 589601"/>
                  <a:gd name="connsiteX2" fmla="*/ 158464 w 158464"/>
                  <a:gd name="connsiteY2" fmla="*/ 293818 h 589601"/>
                  <a:gd name="connsiteX3" fmla="*/ 1683 w 158464"/>
                  <a:gd name="connsiteY3" fmla="*/ 588687 h 589601"/>
                  <a:gd name="connsiteX4" fmla="*/ 0 w 158464"/>
                  <a:gd name="connsiteY4" fmla="*/ 589601 h 589601"/>
                  <a:gd name="connsiteX0" fmla="*/ 54311 w 158464"/>
                  <a:gd name="connsiteY0" fmla="*/ 0 h 547230"/>
                  <a:gd name="connsiteX1" fmla="*/ 158464 w 158464"/>
                  <a:gd name="connsiteY1" fmla="*/ 251447 h 547230"/>
                  <a:gd name="connsiteX2" fmla="*/ 1683 w 158464"/>
                  <a:gd name="connsiteY2" fmla="*/ 546316 h 547230"/>
                  <a:gd name="connsiteX3" fmla="*/ 0 w 158464"/>
                  <a:gd name="connsiteY3" fmla="*/ 547230 h 547230"/>
                </a:gdLst>
                <a:ahLst/>
                <a:cxnLst>
                  <a:cxn ang="0">
                    <a:pos x="connsiteX0" y="connsiteY0"/>
                  </a:cxn>
                  <a:cxn ang="0">
                    <a:pos x="connsiteX1" y="connsiteY1"/>
                  </a:cxn>
                  <a:cxn ang="0">
                    <a:pos x="connsiteX2" y="connsiteY2"/>
                  </a:cxn>
                  <a:cxn ang="0">
                    <a:pos x="connsiteX3" y="connsiteY3"/>
                  </a:cxn>
                </a:cxnLst>
                <a:rect l="l" t="t" r="r" b="b"/>
                <a:pathLst>
                  <a:path w="158464" h="547230">
                    <a:moveTo>
                      <a:pt x="54311" y="0"/>
                    </a:moveTo>
                    <a:cubicBezTo>
                      <a:pt x="118662" y="64351"/>
                      <a:pt x="158464" y="153251"/>
                      <a:pt x="158464" y="251447"/>
                    </a:cubicBezTo>
                    <a:cubicBezTo>
                      <a:pt x="158464" y="374192"/>
                      <a:pt x="96273" y="482412"/>
                      <a:pt x="1683" y="546316"/>
                    </a:cubicBezTo>
                    <a:lnTo>
                      <a:pt x="0" y="547230"/>
                    </a:lnTo>
                  </a:path>
                </a:pathLst>
              </a:custGeom>
              <a:noFill/>
              <a:ln w="22225"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 name="Freeform 108">
                <a:extLst>
                  <a:ext uri="{FF2B5EF4-FFF2-40B4-BE49-F238E27FC236}">
                    <a16:creationId xmlns:a16="http://schemas.microsoft.com/office/drawing/2014/main" id="{9ECC6D77-B0B0-459A-8F04-924BE52E3889}"/>
                  </a:ext>
                </a:extLst>
              </p:cNvPr>
              <p:cNvSpPr/>
              <p:nvPr/>
            </p:nvSpPr>
            <p:spPr bwMode="auto">
              <a:xfrm rot="10800000">
                <a:off x="10054690" y="2546041"/>
                <a:ext cx="130710" cy="524806"/>
              </a:xfrm>
              <a:custGeom>
                <a:avLst/>
                <a:gdLst>
                  <a:gd name="connsiteX0" fmla="*/ 130710 w 257182"/>
                  <a:gd name="connsiteY0" fmla="*/ 544411 h 544411"/>
                  <a:gd name="connsiteX1" fmla="*/ 104153 w 257182"/>
                  <a:gd name="connsiteY1" fmla="*/ 522499 h 544411"/>
                  <a:gd name="connsiteX2" fmla="*/ 0 w 257182"/>
                  <a:gd name="connsiteY2" fmla="*/ 271052 h 544411"/>
                  <a:gd name="connsiteX3" fmla="*/ 104153 w 257182"/>
                  <a:gd name="connsiteY3" fmla="*/ 19605 h 544411"/>
                  <a:gd name="connsiteX4" fmla="*/ 127914 w 257182"/>
                  <a:gd name="connsiteY4" fmla="*/ 0 h 544411"/>
                  <a:gd name="connsiteX5" fmla="*/ 257182 w 257182"/>
                  <a:gd name="connsiteY5" fmla="*/ 275181 h 544411"/>
                  <a:gd name="connsiteX6" fmla="*/ 130710 w 257182"/>
                  <a:gd name="connsiteY6" fmla="*/ 544411 h 544411"/>
                  <a:gd name="connsiteX0" fmla="*/ 257182 w 348622"/>
                  <a:gd name="connsiteY0" fmla="*/ 275181 h 544411"/>
                  <a:gd name="connsiteX1" fmla="*/ 130710 w 348622"/>
                  <a:gd name="connsiteY1" fmla="*/ 544411 h 544411"/>
                  <a:gd name="connsiteX2" fmla="*/ 104153 w 348622"/>
                  <a:gd name="connsiteY2" fmla="*/ 522499 h 544411"/>
                  <a:gd name="connsiteX3" fmla="*/ 0 w 348622"/>
                  <a:gd name="connsiteY3" fmla="*/ 271052 h 544411"/>
                  <a:gd name="connsiteX4" fmla="*/ 104153 w 348622"/>
                  <a:gd name="connsiteY4" fmla="*/ 19605 h 544411"/>
                  <a:gd name="connsiteX5" fmla="*/ 127914 w 348622"/>
                  <a:gd name="connsiteY5" fmla="*/ 0 h 544411"/>
                  <a:gd name="connsiteX6" fmla="*/ 348622 w 348622"/>
                  <a:gd name="connsiteY6" fmla="*/ 366621 h 544411"/>
                  <a:gd name="connsiteX0" fmla="*/ 257182 w 257182"/>
                  <a:gd name="connsiteY0" fmla="*/ 275181 h 544411"/>
                  <a:gd name="connsiteX1" fmla="*/ 130710 w 257182"/>
                  <a:gd name="connsiteY1" fmla="*/ 544411 h 544411"/>
                  <a:gd name="connsiteX2" fmla="*/ 104153 w 257182"/>
                  <a:gd name="connsiteY2" fmla="*/ 522499 h 544411"/>
                  <a:gd name="connsiteX3" fmla="*/ 0 w 257182"/>
                  <a:gd name="connsiteY3" fmla="*/ 271052 h 544411"/>
                  <a:gd name="connsiteX4" fmla="*/ 104153 w 257182"/>
                  <a:gd name="connsiteY4" fmla="*/ 19605 h 544411"/>
                  <a:gd name="connsiteX5" fmla="*/ 127914 w 257182"/>
                  <a:gd name="connsiteY5" fmla="*/ 0 h 544411"/>
                  <a:gd name="connsiteX0" fmla="*/ 130710 w 130710"/>
                  <a:gd name="connsiteY0" fmla="*/ 544411 h 544411"/>
                  <a:gd name="connsiteX1" fmla="*/ 104153 w 130710"/>
                  <a:gd name="connsiteY1" fmla="*/ 522499 h 544411"/>
                  <a:gd name="connsiteX2" fmla="*/ 0 w 130710"/>
                  <a:gd name="connsiteY2" fmla="*/ 271052 h 544411"/>
                  <a:gd name="connsiteX3" fmla="*/ 104153 w 130710"/>
                  <a:gd name="connsiteY3" fmla="*/ 19605 h 544411"/>
                  <a:gd name="connsiteX4" fmla="*/ 127914 w 130710"/>
                  <a:gd name="connsiteY4" fmla="*/ 0 h 544411"/>
                  <a:gd name="connsiteX0" fmla="*/ 130710 w 130710"/>
                  <a:gd name="connsiteY0" fmla="*/ 524806 h 524806"/>
                  <a:gd name="connsiteX1" fmla="*/ 104153 w 130710"/>
                  <a:gd name="connsiteY1" fmla="*/ 502894 h 524806"/>
                  <a:gd name="connsiteX2" fmla="*/ 0 w 130710"/>
                  <a:gd name="connsiteY2" fmla="*/ 251447 h 524806"/>
                  <a:gd name="connsiteX3" fmla="*/ 104153 w 130710"/>
                  <a:gd name="connsiteY3" fmla="*/ 0 h 524806"/>
                </a:gdLst>
                <a:ahLst/>
                <a:cxnLst>
                  <a:cxn ang="0">
                    <a:pos x="connsiteX0" y="connsiteY0"/>
                  </a:cxn>
                  <a:cxn ang="0">
                    <a:pos x="connsiteX1" y="connsiteY1"/>
                  </a:cxn>
                  <a:cxn ang="0">
                    <a:pos x="connsiteX2" y="connsiteY2"/>
                  </a:cxn>
                  <a:cxn ang="0">
                    <a:pos x="connsiteX3" y="connsiteY3"/>
                  </a:cxn>
                </a:cxnLst>
                <a:rect l="l" t="t" r="r" b="b"/>
                <a:pathLst>
                  <a:path w="130710" h="524806">
                    <a:moveTo>
                      <a:pt x="130710" y="524806"/>
                    </a:moveTo>
                    <a:lnTo>
                      <a:pt x="104153" y="502894"/>
                    </a:lnTo>
                    <a:cubicBezTo>
                      <a:pt x="39802" y="438543"/>
                      <a:pt x="0" y="349643"/>
                      <a:pt x="0" y="251447"/>
                    </a:cubicBezTo>
                    <a:cubicBezTo>
                      <a:pt x="0" y="153251"/>
                      <a:pt x="39802" y="64351"/>
                      <a:pt x="104153" y="0"/>
                    </a:cubicBezTo>
                  </a:path>
                </a:pathLst>
              </a:custGeom>
              <a:noFill/>
              <a:ln w="22225"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1" name="Group 110">
                <a:extLst>
                  <a:ext uri="{FF2B5EF4-FFF2-40B4-BE49-F238E27FC236}">
                    <a16:creationId xmlns:a16="http://schemas.microsoft.com/office/drawing/2014/main" id="{466551BB-958C-4994-8F85-C0D348197EDA}"/>
                  </a:ext>
                </a:extLst>
              </p:cNvPr>
              <p:cNvGrpSpPr/>
              <p:nvPr/>
            </p:nvGrpSpPr>
            <p:grpSpPr>
              <a:xfrm>
                <a:off x="9301121" y="2380131"/>
                <a:ext cx="1057358" cy="813582"/>
                <a:chOff x="9474200" y="2523617"/>
                <a:chExt cx="711200" cy="547230"/>
              </a:xfrm>
            </p:grpSpPr>
            <p:sp>
              <p:nvSpPr>
                <p:cNvPr id="112" name="Freeform 110">
                  <a:extLst>
                    <a:ext uri="{FF2B5EF4-FFF2-40B4-BE49-F238E27FC236}">
                      <a16:creationId xmlns:a16="http://schemas.microsoft.com/office/drawing/2014/main" id="{12E5E905-FF1A-465E-8DA4-E799AE3A2039}"/>
                    </a:ext>
                  </a:extLst>
                </p:cNvPr>
                <p:cNvSpPr/>
                <p:nvPr/>
              </p:nvSpPr>
              <p:spPr bwMode="auto">
                <a:xfrm rot="10800000">
                  <a:off x="9474200" y="2523617"/>
                  <a:ext cx="158464" cy="547230"/>
                </a:xfrm>
                <a:custGeom>
                  <a:avLst/>
                  <a:gdLst>
                    <a:gd name="connsiteX0" fmla="*/ 137005 w 295469"/>
                    <a:gd name="connsiteY0" fmla="*/ 589601 h 589601"/>
                    <a:gd name="connsiteX1" fmla="*/ 0 w 295469"/>
                    <a:gd name="connsiteY1" fmla="*/ 297947 h 589601"/>
                    <a:gd name="connsiteX2" fmla="*/ 139962 w 295469"/>
                    <a:gd name="connsiteY2" fmla="*/ 0 h 589601"/>
                    <a:gd name="connsiteX3" fmla="*/ 191316 w 295469"/>
                    <a:gd name="connsiteY3" fmla="*/ 42371 h 589601"/>
                    <a:gd name="connsiteX4" fmla="*/ 295469 w 295469"/>
                    <a:gd name="connsiteY4" fmla="*/ 293818 h 589601"/>
                    <a:gd name="connsiteX5" fmla="*/ 138688 w 295469"/>
                    <a:gd name="connsiteY5" fmla="*/ 588687 h 589601"/>
                    <a:gd name="connsiteX6" fmla="*/ 137005 w 295469"/>
                    <a:gd name="connsiteY6" fmla="*/ 589601 h 589601"/>
                    <a:gd name="connsiteX0" fmla="*/ 0 w 295469"/>
                    <a:gd name="connsiteY0" fmla="*/ 297947 h 589601"/>
                    <a:gd name="connsiteX1" fmla="*/ 139962 w 295469"/>
                    <a:gd name="connsiteY1" fmla="*/ 0 h 589601"/>
                    <a:gd name="connsiteX2" fmla="*/ 191316 w 295469"/>
                    <a:gd name="connsiteY2" fmla="*/ 42371 h 589601"/>
                    <a:gd name="connsiteX3" fmla="*/ 295469 w 295469"/>
                    <a:gd name="connsiteY3" fmla="*/ 293818 h 589601"/>
                    <a:gd name="connsiteX4" fmla="*/ 138688 w 295469"/>
                    <a:gd name="connsiteY4" fmla="*/ 588687 h 589601"/>
                    <a:gd name="connsiteX5" fmla="*/ 137005 w 295469"/>
                    <a:gd name="connsiteY5" fmla="*/ 589601 h 589601"/>
                    <a:gd name="connsiteX6" fmla="*/ 91440 w 295469"/>
                    <a:gd name="connsiteY6" fmla="*/ 389387 h 589601"/>
                    <a:gd name="connsiteX0" fmla="*/ 48523 w 204030"/>
                    <a:gd name="connsiteY0" fmla="*/ 0 h 589601"/>
                    <a:gd name="connsiteX1" fmla="*/ 99877 w 204030"/>
                    <a:gd name="connsiteY1" fmla="*/ 42371 h 589601"/>
                    <a:gd name="connsiteX2" fmla="*/ 204030 w 204030"/>
                    <a:gd name="connsiteY2" fmla="*/ 293818 h 589601"/>
                    <a:gd name="connsiteX3" fmla="*/ 47249 w 204030"/>
                    <a:gd name="connsiteY3" fmla="*/ 588687 h 589601"/>
                    <a:gd name="connsiteX4" fmla="*/ 45566 w 204030"/>
                    <a:gd name="connsiteY4" fmla="*/ 589601 h 589601"/>
                    <a:gd name="connsiteX5" fmla="*/ 1 w 204030"/>
                    <a:gd name="connsiteY5" fmla="*/ 389387 h 589601"/>
                    <a:gd name="connsiteX0" fmla="*/ 2957 w 158464"/>
                    <a:gd name="connsiteY0" fmla="*/ 0 h 589601"/>
                    <a:gd name="connsiteX1" fmla="*/ 54311 w 158464"/>
                    <a:gd name="connsiteY1" fmla="*/ 42371 h 589601"/>
                    <a:gd name="connsiteX2" fmla="*/ 158464 w 158464"/>
                    <a:gd name="connsiteY2" fmla="*/ 293818 h 589601"/>
                    <a:gd name="connsiteX3" fmla="*/ 1683 w 158464"/>
                    <a:gd name="connsiteY3" fmla="*/ 588687 h 589601"/>
                    <a:gd name="connsiteX4" fmla="*/ 0 w 158464"/>
                    <a:gd name="connsiteY4" fmla="*/ 589601 h 589601"/>
                    <a:gd name="connsiteX0" fmla="*/ 54311 w 158464"/>
                    <a:gd name="connsiteY0" fmla="*/ 0 h 547230"/>
                    <a:gd name="connsiteX1" fmla="*/ 158464 w 158464"/>
                    <a:gd name="connsiteY1" fmla="*/ 251447 h 547230"/>
                    <a:gd name="connsiteX2" fmla="*/ 1683 w 158464"/>
                    <a:gd name="connsiteY2" fmla="*/ 546316 h 547230"/>
                    <a:gd name="connsiteX3" fmla="*/ 0 w 158464"/>
                    <a:gd name="connsiteY3" fmla="*/ 547230 h 547230"/>
                  </a:gdLst>
                  <a:ahLst/>
                  <a:cxnLst>
                    <a:cxn ang="0">
                      <a:pos x="connsiteX0" y="connsiteY0"/>
                    </a:cxn>
                    <a:cxn ang="0">
                      <a:pos x="connsiteX1" y="connsiteY1"/>
                    </a:cxn>
                    <a:cxn ang="0">
                      <a:pos x="connsiteX2" y="connsiteY2"/>
                    </a:cxn>
                    <a:cxn ang="0">
                      <a:pos x="connsiteX3" y="connsiteY3"/>
                    </a:cxn>
                  </a:cxnLst>
                  <a:rect l="l" t="t" r="r" b="b"/>
                  <a:pathLst>
                    <a:path w="158464" h="547230">
                      <a:moveTo>
                        <a:pt x="54311" y="0"/>
                      </a:moveTo>
                      <a:cubicBezTo>
                        <a:pt x="118662" y="64351"/>
                        <a:pt x="158464" y="153251"/>
                        <a:pt x="158464" y="251447"/>
                      </a:cubicBezTo>
                      <a:cubicBezTo>
                        <a:pt x="158464" y="374192"/>
                        <a:pt x="96273" y="482412"/>
                        <a:pt x="1683" y="546316"/>
                      </a:cubicBezTo>
                      <a:lnTo>
                        <a:pt x="0" y="547230"/>
                      </a:lnTo>
                    </a:path>
                  </a:pathLst>
                </a:custGeom>
                <a:noFill/>
                <a:ln w="22225"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Freeform 111">
                  <a:extLst>
                    <a:ext uri="{FF2B5EF4-FFF2-40B4-BE49-F238E27FC236}">
                      <a16:creationId xmlns:a16="http://schemas.microsoft.com/office/drawing/2014/main" id="{A263DB4C-2F29-4E61-8FA1-A82BBF7ADB5B}"/>
                    </a:ext>
                  </a:extLst>
                </p:cNvPr>
                <p:cNvSpPr/>
                <p:nvPr/>
              </p:nvSpPr>
              <p:spPr bwMode="auto">
                <a:xfrm rot="10800000">
                  <a:off x="10054690" y="2546040"/>
                  <a:ext cx="130710" cy="524806"/>
                </a:xfrm>
                <a:custGeom>
                  <a:avLst/>
                  <a:gdLst>
                    <a:gd name="connsiteX0" fmla="*/ 130710 w 257182"/>
                    <a:gd name="connsiteY0" fmla="*/ 544411 h 544411"/>
                    <a:gd name="connsiteX1" fmla="*/ 104153 w 257182"/>
                    <a:gd name="connsiteY1" fmla="*/ 522499 h 544411"/>
                    <a:gd name="connsiteX2" fmla="*/ 0 w 257182"/>
                    <a:gd name="connsiteY2" fmla="*/ 271052 h 544411"/>
                    <a:gd name="connsiteX3" fmla="*/ 104153 w 257182"/>
                    <a:gd name="connsiteY3" fmla="*/ 19605 h 544411"/>
                    <a:gd name="connsiteX4" fmla="*/ 127914 w 257182"/>
                    <a:gd name="connsiteY4" fmla="*/ 0 h 544411"/>
                    <a:gd name="connsiteX5" fmla="*/ 257182 w 257182"/>
                    <a:gd name="connsiteY5" fmla="*/ 275181 h 544411"/>
                    <a:gd name="connsiteX6" fmla="*/ 130710 w 257182"/>
                    <a:gd name="connsiteY6" fmla="*/ 544411 h 544411"/>
                    <a:gd name="connsiteX0" fmla="*/ 257182 w 348622"/>
                    <a:gd name="connsiteY0" fmla="*/ 275181 h 544411"/>
                    <a:gd name="connsiteX1" fmla="*/ 130710 w 348622"/>
                    <a:gd name="connsiteY1" fmla="*/ 544411 h 544411"/>
                    <a:gd name="connsiteX2" fmla="*/ 104153 w 348622"/>
                    <a:gd name="connsiteY2" fmla="*/ 522499 h 544411"/>
                    <a:gd name="connsiteX3" fmla="*/ 0 w 348622"/>
                    <a:gd name="connsiteY3" fmla="*/ 271052 h 544411"/>
                    <a:gd name="connsiteX4" fmla="*/ 104153 w 348622"/>
                    <a:gd name="connsiteY4" fmla="*/ 19605 h 544411"/>
                    <a:gd name="connsiteX5" fmla="*/ 127914 w 348622"/>
                    <a:gd name="connsiteY5" fmla="*/ 0 h 544411"/>
                    <a:gd name="connsiteX6" fmla="*/ 348622 w 348622"/>
                    <a:gd name="connsiteY6" fmla="*/ 366621 h 544411"/>
                    <a:gd name="connsiteX0" fmla="*/ 257182 w 257182"/>
                    <a:gd name="connsiteY0" fmla="*/ 275181 h 544411"/>
                    <a:gd name="connsiteX1" fmla="*/ 130710 w 257182"/>
                    <a:gd name="connsiteY1" fmla="*/ 544411 h 544411"/>
                    <a:gd name="connsiteX2" fmla="*/ 104153 w 257182"/>
                    <a:gd name="connsiteY2" fmla="*/ 522499 h 544411"/>
                    <a:gd name="connsiteX3" fmla="*/ 0 w 257182"/>
                    <a:gd name="connsiteY3" fmla="*/ 271052 h 544411"/>
                    <a:gd name="connsiteX4" fmla="*/ 104153 w 257182"/>
                    <a:gd name="connsiteY4" fmla="*/ 19605 h 544411"/>
                    <a:gd name="connsiteX5" fmla="*/ 127914 w 257182"/>
                    <a:gd name="connsiteY5" fmla="*/ 0 h 544411"/>
                    <a:gd name="connsiteX0" fmla="*/ 130710 w 130710"/>
                    <a:gd name="connsiteY0" fmla="*/ 544411 h 544411"/>
                    <a:gd name="connsiteX1" fmla="*/ 104153 w 130710"/>
                    <a:gd name="connsiteY1" fmla="*/ 522499 h 544411"/>
                    <a:gd name="connsiteX2" fmla="*/ 0 w 130710"/>
                    <a:gd name="connsiteY2" fmla="*/ 271052 h 544411"/>
                    <a:gd name="connsiteX3" fmla="*/ 104153 w 130710"/>
                    <a:gd name="connsiteY3" fmla="*/ 19605 h 544411"/>
                    <a:gd name="connsiteX4" fmla="*/ 127914 w 130710"/>
                    <a:gd name="connsiteY4" fmla="*/ 0 h 544411"/>
                    <a:gd name="connsiteX0" fmla="*/ 130710 w 130710"/>
                    <a:gd name="connsiteY0" fmla="*/ 524806 h 524806"/>
                    <a:gd name="connsiteX1" fmla="*/ 104153 w 130710"/>
                    <a:gd name="connsiteY1" fmla="*/ 502894 h 524806"/>
                    <a:gd name="connsiteX2" fmla="*/ 0 w 130710"/>
                    <a:gd name="connsiteY2" fmla="*/ 251447 h 524806"/>
                    <a:gd name="connsiteX3" fmla="*/ 104153 w 130710"/>
                    <a:gd name="connsiteY3" fmla="*/ 0 h 524806"/>
                  </a:gdLst>
                  <a:ahLst/>
                  <a:cxnLst>
                    <a:cxn ang="0">
                      <a:pos x="connsiteX0" y="connsiteY0"/>
                    </a:cxn>
                    <a:cxn ang="0">
                      <a:pos x="connsiteX1" y="connsiteY1"/>
                    </a:cxn>
                    <a:cxn ang="0">
                      <a:pos x="connsiteX2" y="connsiteY2"/>
                    </a:cxn>
                    <a:cxn ang="0">
                      <a:pos x="connsiteX3" y="connsiteY3"/>
                    </a:cxn>
                  </a:cxnLst>
                  <a:rect l="l" t="t" r="r" b="b"/>
                  <a:pathLst>
                    <a:path w="130710" h="524806">
                      <a:moveTo>
                        <a:pt x="130710" y="524806"/>
                      </a:moveTo>
                      <a:lnTo>
                        <a:pt x="104153" y="502894"/>
                      </a:lnTo>
                      <a:cubicBezTo>
                        <a:pt x="39802" y="438543"/>
                        <a:pt x="0" y="349643"/>
                        <a:pt x="0" y="251447"/>
                      </a:cubicBezTo>
                      <a:cubicBezTo>
                        <a:pt x="0" y="153251"/>
                        <a:pt x="39802" y="64351"/>
                        <a:pt x="104153" y="0"/>
                      </a:cubicBezTo>
                    </a:path>
                  </a:pathLst>
                </a:custGeom>
                <a:noFill/>
                <a:ln w="22225"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33" name="Group 32">
              <a:extLst>
                <a:ext uri="{FF2B5EF4-FFF2-40B4-BE49-F238E27FC236}">
                  <a16:creationId xmlns:a16="http://schemas.microsoft.com/office/drawing/2014/main" id="{87651AC2-0511-4AA7-BBD2-4C30A400246A}"/>
                </a:ext>
              </a:extLst>
            </p:cNvPr>
            <p:cNvGrpSpPr/>
            <p:nvPr/>
          </p:nvGrpSpPr>
          <p:grpSpPr>
            <a:xfrm>
              <a:off x="7805921" y="2780935"/>
              <a:ext cx="460889" cy="453331"/>
              <a:chOff x="6567891" y="1644651"/>
              <a:chExt cx="1191570" cy="1172030"/>
            </a:xfrm>
          </p:grpSpPr>
          <p:sp>
            <p:nvSpPr>
              <p:cNvPr id="105" name="Freeform 103">
                <a:extLst>
                  <a:ext uri="{FF2B5EF4-FFF2-40B4-BE49-F238E27FC236}">
                    <a16:creationId xmlns:a16="http://schemas.microsoft.com/office/drawing/2014/main" id="{19B5DB7F-059C-4B95-A35E-9F67F0BB3718}"/>
                  </a:ext>
                </a:extLst>
              </p:cNvPr>
              <p:cNvSpPr/>
              <p:nvPr/>
            </p:nvSpPr>
            <p:spPr bwMode="auto">
              <a:xfrm>
                <a:off x="6567891" y="1644651"/>
                <a:ext cx="1191570" cy="705629"/>
              </a:xfrm>
              <a:custGeom>
                <a:avLst/>
                <a:gdLst>
                  <a:gd name="connsiteX0" fmla="*/ 670372 w 1194890"/>
                  <a:gd name="connsiteY0" fmla="*/ 0 h 701228"/>
                  <a:gd name="connsiteX1" fmla="*/ 1020986 w 1194890"/>
                  <a:gd name="connsiteY1" fmla="*/ 350614 h 701228"/>
                  <a:gd name="connsiteX2" fmla="*/ 1013863 w 1194890"/>
                  <a:gd name="connsiteY2" fmla="*/ 421275 h 701228"/>
                  <a:gd name="connsiteX3" fmla="*/ 1000099 w 1194890"/>
                  <a:gd name="connsiteY3" fmla="*/ 465615 h 701228"/>
                  <a:gd name="connsiteX4" fmla="*/ 1077084 w 1194890"/>
                  <a:gd name="connsiteY4" fmla="*/ 465615 h 701228"/>
                  <a:gd name="connsiteX5" fmla="*/ 1194890 w 1194890"/>
                  <a:gd name="connsiteY5" fmla="*/ 583421 h 701228"/>
                  <a:gd name="connsiteX6" fmla="*/ 1077084 w 1194890"/>
                  <a:gd name="connsiteY6" fmla="*/ 701227 h 701228"/>
                  <a:gd name="connsiteX7" fmla="*/ 670382 w 1194890"/>
                  <a:gd name="connsiteY7" fmla="*/ 701227 h 701228"/>
                  <a:gd name="connsiteX8" fmla="*/ 670372 w 1194890"/>
                  <a:gd name="connsiteY8" fmla="*/ 701228 h 701228"/>
                  <a:gd name="connsiteX9" fmla="*/ 670362 w 1194890"/>
                  <a:gd name="connsiteY9" fmla="*/ 701227 h 701228"/>
                  <a:gd name="connsiteX10" fmla="*/ 370247 w 1194890"/>
                  <a:gd name="connsiteY10" fmla="*/ 701227 h 701228"/>
                  <a:gd name="connsiteX11" fmla="*/ 324392 w 1194890"/>
                  <a:gd name="connsiteY11" fmla="*/ 691969 h 701228"/>
                  <a:gd name="connsiteX12" fmla="*/ 315914 w 1194890"/>
                  <a:gd name="connsiteY12" fmla="*/ 686253 h 701228"/>
                  <a:gd name="connsiteX13" fmla="*/ 283096 w 1194890"/>
                  <a:gd name="connsiteY13" fmla="*/ 696440 h 701228"/>
                  <a:gd name="connsiteX14" fmla="*/ 235612 w 1194890"/>
                  <a:gd name="connsiteY14" fmla="*/ 701227 h 701228"/>
                  <a:gd name="connsiteX15" fmla="*/ 0 w 1194890"/>
                  <a:gd name="connsiteY15" fmla="*/ 465615 h 701228"/>
                  <a:gd name="connsiteX16" fmla="*/ 235612 w 1194890"/>
                  <a:gd name="connsiteY16" fmla="*/ 230003 h 701228"/>
                  <a:gd name="connsiteX17" fmla="*/ 327323 w 1194890"/>
                  <a:gd name="connsiteY17" fmla="*/ 248518 h 701228"/>
                  <a:gd name="connsiteX18" fmla="*/ 335296 w 1194890"/>
                  <a:gd name="connsiteY18" fmla="*/ 252846 h 701228"/>
                  <a:gd name="connsiteX19" fmla="*/ 347311 w 1194890"/>
                  <a:gd name="connsiteY19" fmla="*/ 214139 h 701228"/>
                  <a:gd name="connsiteX20" fmla="*/ 670372 w 1194890"/>
                  <a:gd name="connsiteY20" fmla="*/ 0 h 701228"/>
                  <a:gd name="connsiteX0" fmla="*/ 670372 w 1194890"/>
                  <a:gd name="connsiteY0" fmla="*/ 0 h 701228"/>
                  <a:gd name="connsiteX1" fmla="*/ 1020986 w 1194890"/>
                  <a:gd name="connsiteY1" fmla="*/ 350614 h 701228"/>
                  <a:gd name="connsiteX2" fmla="*/ 1013863 w 1194890"/>
                  <a:gd name="connsiteY2" fmla="*/ 421275 h 701228"/>
                  <a:gd name="connsiteX3" fmla="*/ 1000099 w 1194890"/>
                  <a:gd name="connsiteY3" fmla="*/ 465615 h 701228"/>
                  <a:gd name="connsiteX4" fmla="*/ 1077084 w 1194890"/>
                  <a:gd name="connsiteY4" fmla="*/ 465615 h 701228"/>
                  <a:gd name="connsiteX5" fmla="*/ 1194890 w 1194890"/>
                  <a:gd name="connsiteY5" fmla="*/ 583421 h 701228"/>
                  <a:gd name="connsiteX6" fmla="*/ 1077084 w 1194890"/>
                  <a:gd name="connsiteY6" fmla="*/ 701227 h 701228"/>
                  <a:gd name="connsiteX7" fmla="*/ 670382 w 1194890"/>
                  <a:gd name="connsiteY7" fmla="*/ 701227 h 701228"/>
                  <a:gd name="connsiteX8" fmla="*/ 670372 w 1194890"/>
                  <a:gd name="connsiteY8" fmla="*/ 701228 h 701228"/>
                  <a:gd name="connsiteX9" fmla="*/ 670362 w 1194890"/>
                  <a:gd name="connsiteY9" fmla="*/ 701227 h 701228"/>
                  <a:gd name="connsiteX10" fmla="*/ 370247 w 1194890"/>
                  <a:gd name="connsiteY10" fmla="*/ 701227 h 701228"/>
                  <a:gd name="connsiteX11" fmla="*/ 324392 w 1194890"/>
                  <a:gd name="connsiteY11" fmla="*/ 691969 h 701228"/>
                  <a:gd name="connsiteX12" fmla="*/ 283096 w 1194890"/>
                  <a:gd name="connsiteY12" fmla="*/ 696440 h 701228"/>
                  <a:gd name="connsiteX13" fmla="*/ 235612 w 1194890"/>
                  <a:gd name="connsiteY13" fmla="*/ 701227 h 701228"/>
                  <a:gd name="connsiteX14" fmla="*/ 0 w 1194890"/>
                  <a:gd name="connsiteY14" fmla="*/ 465615 h 701228"/>
                  <a:gd name="connsiteX15" fmla="*/ 235612 w 1194890"/>
                  <a:gd name="connsiteY15" fmla="*/ 230003 h 701228"/>
                  <a:gd name="connsiteX16" fmla="*/ 327323 w 1194890"/>
                  <a:gd name="connsiteY16" fmla="*/ 248518 h 701228"/>
                  <a:gd name="connsiteX17" fmla="*/ 335296 w 1194890"/>
                  <a:gd name="connsiteY17" fmla="*/ 252846 h 701228"/>
                  <a:gd name="connsiteX18" fmla="*/ 347311 w 1194890"/>
                  <a:gd name="connsiteY18" fmla="*/ 214139 h 701228"/>
                  <a:gd name="connsiteX19" fmla="*/ 670372 w 1194890"/>
                  <a:gd name="connsiteY19" fmla="*/ 0 h 701228"/>
                  <a:gd name="connsiteX0" fmla="*/ 670372 w 1194890"/>
                  <a:gd name="connsiteY0" fmla="*/ 0 h 701228"/>
                  <a:gd name="connsiteX1" fmla="*/ 1020986 w 1194890"/>
                  <a:gd name="connsiteY1" fmla="*/ 350614 h 701228"/>
                  <a:gd name="connsiteX2" fmla="*/ 1013863 w 1194890"/>
                  <a:gd name="connsiteY2" fmla="*/ 421275 h 701228"/>
                  <a:gd name="connsiteX3" fmla="*/ 1000099 w 1194890"/>
                  <a:gd name="connsiteY3" fmla="*/ 465615 h 701228"/>
                  <a:gd name="connsiteX4" fmla="*/ 1077084 w 1194890"/>
                  <a:gd name="connsiteY4" fmla="*/ 465615 h 701228"/>
                  <a:gd name="connsiteX5" fmla="*/ 1194890 w 1194890"/>
                  <a:gd name="connsiteY5" fmla="*/ 583421 h 701228"/>
                  <a:gd name="connsiteX6" fmla="*/ 1077084 w 1194890"/>
                  <a:gd name="connsiteY6" fmla="*/ 701227 h 701228"/>
                  <a:gd name="connsiteX7" fmla="*/ 670382 w 1194890"/>
                  <a:gd name="connsiteY7" fmla="*/ 701227 h 701228"/>
                  <a:gd name="connsiteX8" fmla="*/ 670372 w 1194890"/>
                  <a:gd name="connsiteY8" fmla="*/ 701228 h 701228"/>
                  <a:gd name="connsiteX9" fmla="*/ 670362 w 1194890"/>
                  <a:gd name="connsiteY9" fmla="*/ 701227 h 701228"/>
                  <a:gd name="connsiteX10" fmla="*/ 370247 w 1194890"/>
                  <a:gd name="connsiteY10" fmla="*/ 701227 h 701228"/>
                  <a:gd name="connsiteX11" fmla="*/ 283096 w 1194890"/>
                  <a:gd name="connsiteY11" fmla="*/ 696440 h 701228"/>
                  <a:gd name="connsiteX12" fmla="*/ 235612 w 1194890"/>
                  <a:gd name="connsiteY12" fmla="*/ 701227 h 701228"/>
                  <a:gd name="connsiteX13" fmla="*/ 0 w 1194890"/>
                  <a:gd name="connsiteY13" fmla="*/ 465615 h 701228"/>
                  <a:gd name="connsiteX14" fmla="*/ 235612 w 1194890"/>
                  <a:gd name="connsiteY14" fmla="*/ 230003 h 701228"/>
                  <a:gd name="connsiteX15" fmla="*/ 327323 w 1194890"/>
                  <a:gd name="connsiteY15" fmla="*/ 248518 h 701228"/>
                  <a:gd name="connsiteX16" fmla="*/ 335296 w 1194890"/>
                  <a:gd name="connsiteY16" fmla="*/ 252846 h 701228"/>
                  <a:gd name="connsiteX17" fmla="*/ 347311 w 1194890"/>
                  <a:gd name="connsiteY17" fmla="*/ 214139 h 701228"/>
                  <a:gd name="connsiteX18" fmla="*/ 670372 w 1194890"/>
                  <a:gd name="connsiteY18" fmla="*/ 0 h 701228"/>
                  <a:gd name="connsiteX0" fmla="*/ 670372 w 1194890"/>
                  <a:gd name="connsiteY0" fmla="*/ 0 h 701228"/>
                  <a:gd name="connsiteX1" fmla="*/ 1020986 w 1194890"/>
                  <a:gd name="connsiteY1" fmla="*/ 350614 h 701228"/>
                  <a:gd name="connsiteX2" fmla="*/ 1013863 w 1194890"/>
                  <a:gd name="connsiteY2" fmla="*/ 421275 h 701228"/>
                  <a:gd name="connsiteX3" fmla="*/ 1000099 w 1194890"/>
                  <a:gd name="connsiteY3" fmla="*/ 465615 h 701228"/>
                  <a:gd name="connsiteX4" fmla="*/ 1077084 w 1194890"/>
                  <a:gd name="connsiteY4" fmla="*/ 465615 h 701228"/>
                  <a:gd name="connsiteX5" fmla="*/ 1194890 w 1194890"/>
                  <a:gd name="connsiteY5" fmla="*/ 583421 h 701228"/>
                  <a:gd name="connsiteX6" fmla="*/ 1077084 w 1194890"/>
                  <a:gd name="connsiteY6" fmla="*/ 701227 h 701228"/>
                  <a:gd name="connsiteX7" fmla="*/ 670382 w 1194890"/>
                  <a:gd name="connsiteY7" fmla="*/ 701227 h 701228"/>
                  <a:gd name="connsiteX8" fmla="*/ 670372 w 1194890"/>
                  <a:gd name="connsiteY8" fmla="*/ 701228 h 701228"/>
                  <a:gd name="connsiteX9" fmla="*/ 670362 w 1194890"/>
                  <a:gd name="connsiteY9" fmla="*/ 701227 h 701228"/>
                  <a:gd name="connsiteX10" fmla="*/ 283096 w 1194890"/>
                  <a:gd name="connsiteY10" fmla="*/ 696440 h 701228"/>
                  <a:gd name="connsiteX11" fmla="*/ 235612 w 1194890"/>
                  <a:gd name="connsiteY11" fmla="*/ 701227 h 701228"/>
                  <a:gd name="connsiteX12" fmla="*/ 0 w 1194890"/>
                  <a:gd name="connsiteY12" fmla="*/ 465615 h 701228"/>
                  <a:gd name="connsiteX13" fmla="*/ 235612 w 1194890"/>
                  <a:gd name="connsiteY13" fmla="*/ 230003 h 701228"/>
                  <a:gd name="connsiteX14" fmla="*/ 327323 w 1194890"/>
                  <a:gd name="connsiteY14" fmla="*/ 248518 h 701228"/>
                  <a:gd name="connsiteX15" fmla="*/ 335296 w 1194890"/>
                  <a:gd name="connsiteY15" fmla="*/ 252846 h 701228"/>
                  <a:gd name="connsiteX16" fmla="*/ 347311 w 1194890"/>
                  <a:gd name="connsiteY16" fmla="*/ 214139 h 701228"/>
                  <a:gd name="connsiteX17" fmla="*/ 670372 w 1194890"/>
                  <a:gd name="connsiteY17" fmla="*/ 0 h 701228"/>
                  <a:gd name="connsiteX0" fmla="*/ 670372 w 1194890"/>
                  <a:gd name="connsiteY0" fmla="*/ 0 h 793558"/>
                  <a:gd name="connsiteX1" fmla="*/ 1020986 w 1194890"/>
                  <a:gd name="connsiteY1" fmla="*/ 350614 h 793558"/>
                  <a:gd name="connsiteX2" fmla="*/ 1013863 w 1194890"/>
                  <a:gd name="connsiteY2" fmla="*/ 421275 h 793558"/>
                  <a:gd name="connsiteX3" fmla="*/ 1000099 w 1194890"/>
                  <a:gd name="connsiteY3" fmla="*/ 465615 h 793558"/>
                  <a:gd name="connsiteX4" fmla="*/ 1077084 w 1194890"/>
                  <a:gd name="connsiteY4" fmla="*/ 465615 h 793558"/>
                  <a:gd name="connsiteX5" fmla="*/ 1194890 w 1194890"/>
                  <a:gd name="connsiteY5" fmla="*/ 583421 h 793558"/>
                  <a:gd name="connsiteX6" fmla="*/ 1077084 w 1194890"/>
                  <a:gd name="connsiteY6" fmla="*/ 701227 h 793558"/>
                  <a:gd name="connsiteX7" fmla="*/ 670382 w 1194890"/>
                  <a:gd name="connsiteY7" fmla="*/ 701227 h 793558"/>
                  <a:gd name="connsiteX8" fmla="*/ 670372 w 1194890"/>
                  <a:gd name="connsiteY8" fmla="*/ 701228 h 793558"/>
                  <a:gd name="connsiteX9" fmla="*/ 851841 w 1194890"/>
                  <a:gd name="connsiteY9" fmla="*/ 793558 h 793558"/>
                  <a:gd name="connsiteX10" fmla="*/ 283096 w 1194890"/>
                  <a:gd name="connsiteY10" fmla="*/ 696440 h 793558"/>
                  <a:gd name="connsiteX11" fmla="*/ 235612 w 1194890"/>
                  <a:gd name="connsiteY11" fmla="*/ 701227 h 793558"/>
                  <a:gd name="connsiteX12" fmla="*/ 0 w 1194890"/>
                  <a:gd name="connsiteY12" fmla="*/ 465615 h 793558"/>
                  <a:gd name="connsiteX13" fmla="*/ 235612 w 1194890"/>
                  <a:gd name="connsiteY13" fmla="*/ 230003 h 793558"/>
                  <a:gd name="connsiteX14" fmla="*/ 327323 w 1194890"/>
                  <a:gd name="connsiteY14" fmla="*/ 248518 h 793558"/>
                  <a:gd name="connsiteX15" fmla="*/ 335296 w 1194890"/>
                  <a:gd name="connsiteY15" fmla="*/ 252846 h 793558"/>
                  <a:gd name="connsiteX16" fmla="*/ 347311 w 1194890"/>
                  <a:gd name="connsiteY16" fmla="*/ 214139 h 793558"/>
                  <a:gd name="connsiteX17" fmla="*/ 670372 w 1194890"/>
                  <a:gd name="connsiteY17" fmla="*/ 0 h 793558"/>
                  <a:gd name="connsiteX0" fmla="*/ 670372 w 1194890"/>
                  <a:gd name="connsiteY0" fmla="*/ 0 h 793558"/>
                  <a:gd name="connsiteX1" fmla="*/ 1020986 w 1194890"/>
                  <a:gd name="connsiteY1" fmla="*/ 350614 h 793558"/>
                  <a:gd name="connsiteX2" fmla="*/ 1013863 w 1194890"/>
                  <a:gd name="connsiteY2" fmla="*/ 421275 h 793558"/>
                  <a:gd name="connsiteX3" fmla="*/ 1000099 w 1194890"/>
                  <a:gd name="connsiteY3" fmla="*/ 465615 h 793558"/>
                  <a:gd name="connsiteX4" fmla="*/ 1077084 w 1194890"/>
                  <a:gd name="connsiteY4" fmla="*/ 465615 h 793558"/>
                  <a:gd name="connsiteX5" fmla="*/ 1194890 w 1194890"/>
                  <a:gd name="connsiteY5" fmla="*/ 583421 h 793558"/>
                  <a:gd name="connsiteX6" fmla="*/ 1077084 w 1194890"/>
                  <a:gd name="connsiteY6" fmla="*/ 701227 h 793558"/>
                  <a:gd name="connsiteX7" fmla="*/ 670382 w 1194890"/>
                  <a:gd name="connsiteY7" fmla="*/ 701227 h 793558"/>
                  <a:gd name="connsiteX8" fmla="*/ 928263 w 1194890"/>
                  <a:gd name="connsiteY8" fmla="*/ 758537 h 793558"/>
                  <a:gd name="connsiteX9" fmla="*/ 851841 w 1194890"/>
                  <a:gd name="connsiteY9" fmla="*/ 793558 h 793558"/>
                  <a:gd name="connsiteX10" fmla="*/ 283096 w 1194890"/>
                  <a:gd name="connsiteY10" fmla="*/ 696440 h 793558"/>
                  <a:gd name="connsiteX11" fmla="*/ 235612 w 1194890"/>
                  <a:gd name="connsiteY11" fmla="*/ 701227 h 793558"/>
                  <a:gd name="connsiteX12" fmla="*/ 0 w 1194890"/>
                  <a:gd name="connsiteY12" fmla="*/ 465615 h 793558"/>
                  <a:gd name="connsiteX13" fmla="*/ 235612 w 1194890"/>
                  <a:gd name="connsiteY13" fmla="*/ 230003 h 793558"/>
                  <a:gd name="connsiteX14" fmla="*/ 327323 w 1194890"/>
                  <a:gd name="connsiteY14" fmla="*/ 248518 h 793558"/>
                  <a:gd name="connsiteX15" fmla="*/ 335296 w 1194890"/>
                  <a:gd name="connsiteY15" fmla="*/ 252846 h 793558"/>
                  <a:gd name="connsiteX16" fmla="*/ 347311 w 1194890"/>
                  <a:gd name="connsiteY16" fmla="*/ 214139 h 793558"/>
                  <a:gd name="connsiteX17" fmla="*/ 670372 w 1194890"/>
                  <a:gd name="connsiteY17" fmla="*/ 0 h 793558"/>
                  <a:gd name="connsiteX0" fmla="*/ 670372 w 1194890"/>
                  <a:gd name="connsiteY0" fmla="*/ 0 h 793558"/>
                  <a:gd name="connsiteX1" fmla="*/ 1020986 w 1194890"/>
                  <a:gd name="connsiteY1" fmla="*/ 350614 h 793558"/>
                  <a:gd name="connsiteX2" fmla="*/ 1013863 w 1194890"/>
                  <a:gd name="connsiteY2" fmla="*/ 421275 h 793558"/>
                  <a:gd name="connsiteX3" fmla="*/ 1000099 w 1194890"/>
                  <a:gd name="connsiteY3" fmla="*/ 465615 h 793558"/>
                  <a:gd name="connsiteX4" fmla="*/ 1077084 w 1194890"/>
                  <a:gd name="connsiteY4" fmla="*/ 465615 h 793558"/>
                  <a:gd name="connsiteX5" fmla="*/ 1194890 w 1194890"/>
                  <a:gd name="connsiteY5" fmla="*/ 583421 h 793558"/>
                  <a:gd name="connsiteX6" fmla="*/ 1077084 w 1194890"/>
                  <a:gd name="connsiteY6" fmla="*/ 701227 h 793558"/>
                  <a:gd name="connsiteX7" fmla="*/ 921906 w 1194890"/>
                  <a:gd name="connsiteY7" fmla="*/ 704410 h 793558"/>
                  <a:gd name="connsiteX8" fmla="*/ 928263 w 1194890"/>
                  <a:gd name="connsiteY8" fmla="*/ 758537 h 793558"/>
                  <a:gd name="connsiteX9" fmla="*/ 851841 w 1194890"/>
                  <a:gd name="connsiteY9" fmla="*/ 793558 h 793558"/>
                  <a:gd name="connsiteX10" fmla="*/ 283096 w 1194890"/>
                  <a:gd name="connsiteY10" fmla="*/ 696440 h 793558"/>
                  <a:gd name="connsiteX11" fmla="*/ 235612 w 1194890"/>
                  <a:gd name="connsiteY11" fmla="*/ 701227 h 793558"/>
                  <a:gd name="connsiteX12" fmla="*/ 0 w 1194890"/>
                  <a:gd name="connsiteY12" fmla="*/ 465615 h 793558"/>
                  <a:gd name="connsiteX13" fmla="*/ 235612 w 1194890"/>
                  <a:gd name="connsiteY13" fmla="*/ 230003 h 793558"/>
                  <a:gd name="connsiteX14" fmla="*/ 327323 w 1194890"/>
                  <a:gd name="connsiteY14" fmla="*/ 248518 h 793558"/>
                  <a:gd name="connsiteX15" fmla="*/ 335296 w 1194890"/>
                  <a:gd name="connsiteY15" fmla="*/ 252846 h 793558"/>
                  <a:gd name="connsiteX16" fmla="*/ 347311 w 1194890"/>
                  <a:gd name="connsiteY16" fmla="*/ 214139 h 793558"/>
                  <a:gd name="connsiteX17" fmla="*/ 670372 w 1194890"/>
                  <a:gd name="connsiteY17" fmla="*/ 0 h 793558"/>
                  <a:gd name="connsiteX0" fmla="*/ 670372 w 1194890"/>
                  <a:gd name="connsiteY0" fmla="*/ 0 h 793575"/>
                  <a:gd name="connsiteX1" fmla="*/ 1020986 w 1194890"/>
                  <a:gd name="connsiteY1" fmla="*/ 350614 h 793575"/>
                  <a:gd name="connsiteX2" fmla="*/ 1013863 w 1194890"/>
                  <a:gd name="connsiteY2" fmla="*/ 421275 h 793575"/>
                  <a:gd name="connsiteX3" fmla="*/ 1000099 w 1194890"/>
                  <a:gd name="connsiteY3" fmla="*/ 465615 h 793575"/>
                  <a:gd name="connsiteX4" fmla="*/ 1077084 w 1194890"/>
                  <a:gd name="connsiteY4" fmla="*/ 465615 h 793575"/>
                  <a:gd name="connsiteX5" fmla="*/ 1194890 w 1194890"/>
                  <a:gd name="connsiteY5" fmla="*/ 583421 h 793575"/>
                  <a:gd name="connsiteX6" fmla="*/ 1077084 w 1194890"/>
                  <a:gd name="connsiteY6" fmla="*/ 701227 h 793575"/>
                  <a:gd name="connsiteX7" fmla="*/ 921906 w 1194890"/>
                  <a:gd name="connsiteY7" fmla="*/ 704410 h 793575"/>
                  <a:gd name="connsiteX8" fmla="*/ 851841 w 1194890"/>
                  <a:gd name="connsiteY8" fmla="*/ 793558 h 793575"/>
                  <a:gd name="connsiteX9" fmla="*/ 283096 w 1194890"/>
                  <a:gd name="connsiteY9" fmla="*/ 696440 h 793575"/>
                  <a:gd name="connsiteX10" fmla="*/ 235612 w 1194890"/>
                  <a:gd name="connsiteY10" fmla="*/ 701227 h 793575"/>
                  <a:gd name="connsiteX11" fmla="*/ 0 w 1194890"/>
                  <a:gd name="connsiteY11" fmla="*/ 465615 h 793575"/>
                  <a:gd name="connsiteX12" fmla="*/ 235612 w 1194890"/>
                  <a:gd name="connsiteY12" fmla="*/ 230003 h 793575"/>
                  <a:gd name="connsiteX13" fmla="*/ 327323 w 1194890"/>
                  <a:gd name="connsiteY13" fmla="*/ 248518 h 793575"/>
                  <a:gd name="connsiteX14" fmla="*/ 335296 w 1194890"/>
                  <a:gd name="connsiteY14" fmla="*/ 252846 h 793575"/>
                  <a:gd name="connsiteX15" fmla="*/ 347311 w 1194890"/>
                  <a:gd name="connsiteY15" fmla="*/ 214139 h 793575"/>
                  <a:gd name="connsiteX16" fmla="*/ 670372 w 1194890"/>
                  <a:gd name="connsiteY16" fmla="*/ 0 h 793575"/>
                  <a:gd name="connsiteX0" fmla="*/ 851841 w 1194890"/>
                  <a:gd name="connsiteY0" fmla="*/ 793558 h 885253"/>
                  <a:gd name="connsiteX1" fmla="*/ 283096 w 1194890"/>
                  <a:gd name="connsiteY1" fmla="*/ 696440 h 885253"/>
                  <a:gd name="connsiteX2" fmla="*/ 235612 w 1194890"/>
                  <a:gd name="connsiteY2" fmla="*/ 701227 h 885253"/>
                  <a:gd name="connsiteX3" fmla="*/ 0 w 1194890"/>
                  <a:gd name="connsiteY3" fmla="*/ 465615 h 885253"/>
                  <a:gd name="connsiteX4" fmla="*/ 235612 w 1194890"/>
                  <a:gd name="connsiteY4" fmla="*/ 230003 h 885253"/>
                  <a:gd name="connsiteX5" fmla="*/ 327323 w 1194890"/>
                  <a:gd name="connsiteY5" fmla="*/ 248518 h 885253"/>
                  <a:gd name="connsiteX6" fmla="*/ 335296 w 1194890"/>
                  <a:gd name="connsiteY6" fmla="*/ 252846 h 885253"/>
                  <a:gd name="connsiteX7" fmla="*/ 347311 w 1194890"/>
                  <a:gd name="connsiteY7" fmla="*/ 214139 h 885253"/>
                  <a:gd name="connsiteX8" fmla="*/ 670372 w 1194890"/>
                  <a:gd name="connsiteY8" fmla="*/ 0 h 885253"/>
                  <a:gd name="connsiteX9" fmla="*/ 1020986 w 1194890"/>
                  <a:gd name="connsiteY9" fmla="*/ 350614 h 885253"/>
                  <a:gd name="connsiteX10" fmla="*/ 1013863 w 1194890"/>
                  <a:gd name="connsiteY10" fmla="*/ 421275 h 885253"/>
                  <a:gd name="connsiteX11" fmla="*/ 1000099 w 1194890"/>
                  <a:gd name="connsiteY11" fmla="*/ 465615 h 885253"/>
                  <a:gd name="connsiteX12" fmla="*/ 1077084 w 1194890"/>
                  <a:gd name="connsiteY12" fmla="*/ 465615 h 885253"/>
                  <a:gd name="connsiteX13" fmla="*/ 1194890 w 1194890"/>
                  <a:gd name="connsiteY13" fmla="*/ 583421 h 885253"/>
                  <a:gd name="connsiteX14" fmla="*/ 1077084 w 1194890"/>
                  <a:gd name="connsiteY14" fmla="*/ 701227 h 885253"/>
                  <a:gd name="connsiteX15" fmla="*/ 921906 w 1194890"/>
                  <a:gd name="connsiteY15" fmla="*/ 704410 h 885253"/>
                  <a:gd name="connsiteX16" fmla="*/ 943536 w 1194890"/>
                  <a:gd name="connsiteY16" fmla="*/ 885253 h 885253"/>
                  <a:gd name="connsiteX0" fmla="*/ 851841 w 1194890"/>
                  <a:gd name="connsiteY0" fmla="*/ 793558 h 793558"/>
                  <a:gd name="connsiteX1" fmla="*/ 283096 w 1194890"/>
                  <a:gd name="connsiteY1" fmla="*/ 696440 h 793558"/>
                  <a:gd name="connsiteX2" fmla="*/ 235612 w 1194890"/>
                  <a:gd name="connsiteY2" fmla="*/ 701227 h 793558"/>
                  <a:gd name="connsiteX3" fmla="*/ 0 w 1194890"/>
                  <a:gd name="connsiteY3" fmla="*/ 465615 h 793558"/>
                  <a:gd name="connsiteX4" fmla="*/ 235612 w 1194890"/>
                  <a:gd name="connsiteY4" fmla="*/ 230003 h 793558"/>
                  <a:gd name="connsiteX5" fmla="*/ 327323 w 1194890"/>
                  <a:gd name="connsiteY5" fmla="*/ 248518 h 793558"/>
                  <a:gd name="connsiteX6" fmla="*/ 335296 w 1194890"/>
                  <a:gd name="connsiteY6" fmla="*/ 252846 h 793558"/>
                  <a:gd name="connsiteX7" fmla="*/ 347311 w 1194890"/>
                  <a:gd name="connsiteY7" fmla="*/ 214139 h 793558"/>
                  <a:gd name="connsiteX8" fmla="*/ 670372 w 1194890"/>
                  <a:gd name="connsiteY8" fmla="*/ 0 h 793558"/>
                  <a:gd name="connsiteX9" fmla="*/ 1020986 w 1194890"/>
                  <a:gd name="connsiteY9" fmla="*/ 350614 h 793558"/>
                  <a:gd name="connsiteX10" fmla="*/ 1013863 w 1194890"/>
                  <a:gd name="connsiteY10" fmla="*/ 421275 h 793558"/>
                  <a:gd name="connsiteX11" fmla="*/ 1000099 w 1194890"/>
                  <a:gd name="connsiteY11" fmla="*/ 465615 h 793558"/>
                  <a:gd name="connsiteX12" fmla="*/ 1077084 w 1194890"/>
                  <a:gd name="connsiteY12" fmla="*/ 465615 h 793558"/>
                  <a:gd name="connsiteX13" fmla="*/ 1194890 w 1194890"/>
                  <a:gd name="connsiteY13" fmla="*/ 583421 h 793558"/>
                  <a:gd name="connsiteX14" fmla="*/ 1077084 w 1194890"/>
                  <a:gd name="connsiteY14" fmla="*/ 701227 h 793558"/>
                  <a:gd name="connsiteX15" fmla="*/ 921906 w 1194890"/>
                  <a:gd name="connsiteY15" fmla="*/ 704410 h 793558"/>
                  <a:gd name="connsiteX0" fmla="*/ 283096 w 1194890"/>
                  <a:gd name="connsiteY0" fmla="*/ 696440 h 704410"/>
                  <a:gd name="connsiteX1" fmla="*/ 235612 w 1194890"/>
                  <a:gd name="connsiteY1" fmla="*/ 701227 h 704410"/>
                  <a:gd name="connsiteX2" fmla="*/ 0 w 1194890"/>
                  <a:gd name="connsiteY2" fmla="*/ 465615 h 704410"/>
                  <a:gd name="connsiteX3" fmla="*/ 235612 w 1194890"/>
                  <a:gd name="connsiteY3" fmla="*/ 230003 h 704410"/>
                  <a:gd name="connsiteX4" fmla="*/ 327323 w 1194890"/>
                  <a:gd name="connsiteY4" fmla="*/ 248518 h 704410"/>
                  <a:gd name="connsiteX5" fmla="*/ 335296 w 1194890"/>
                  <a:gd name="connsiteY5" fmla="*/ 252846 h 704410"/>
                  <a:gd name="connsiteX6" fmla="*/ 347311 w 1194890"/>
                  <a:gd name="connsiteY6" fmla="*/ 214139 h 704410"/>
                  <a:gd name="connsiteX7" fmla="*/ 670372 w 1194890"/>
                  <a:gd name="connsiteY7" fmla="*/ 0 h 704410"/>
                  <a:gd name="connsiteX8" fmla="*/ 1020986 w 1194890"/>
                  <a:gd name="connsiteY8" fmla="*/ 350614 h 704410"/>
                  <a:gd name="connsiteX9" fmla="*/ 1013863 w 1194890"/>
                  <a:gd name="connsiteY9" fmla="*/ 421275 h 704410"/>
                  <a:gd name="connsiteX10" fmla="*/ 1000099 w 1194890"/>
                  <a:gd name="connsiteY10" fmla="*/ 465615 h 704410"/>
                  <a:gd name="connsiteX11" fmla="*/ 1077084 w 1194890"/>
                  <a:gd name="connsiteY11" fmla="*/ 465615 h 704410"/>
                  <a:gd name="connsiteX12" fmla="*/ 1194890 w 1194890"/>
                  <a:gd name="connsiteY12" fmla="*/ 583421 h 704410"/>
                  <a:gd name="connsiteX13" fmla="*/ 1077084 w 1194890"/>
                  <a:gd name="connsiteY13" fmla="*/ 701227 h 704410"/>
                  <a:gd name="connsiteX14" fmla="*/ 921906 w 1194890"/>
                  <a:gd name="connsiteY14" fmla="*/ 704410 h 704410"/>
                  <a:gd name="connsiteX0" fmla="*/ 283096 w 1194890"/>
                  <a:gd name="connsiteY0" fmla="*/ 696440 h 707594"/>
                  <a:gd name="connsiteX1" fmla="*/ 235612 w 1194890"/>
                  <a:gd name="connsiteY1" fmla="*/ 701227 h 707594"/>
                  <a:gd name="connsiteX2" fmla="*/ 0 w 1194890"/>
                  <a:gd name="connsiteY2" fmla="*/ 465615 h 707594"/>
                  <a:gd name="connsiteX3" fmla="*/ 235612 w 1194890"/>
                  <a:gd name="connsiteY3" fmla="*/ 230003 h 707594"/>
                  <a:gd name="connsiteX4" fmla="*/ 327323 w 1194890"/>
                  <a:gd name="connsiteY4" fmla="*/ 248518 h 707594"/>
                  <a:gd name="connsiteX5" fmla="*/ 335296 w 1194890"/>
                  <a:gd name="connsiteY5" fmla="*/ 252846 h 707594"/>
                  <a:gd name="connsiteX6" fmla="*/ 347311 w 1194890"/>
                  <a:gd name="connsiteY6" fmla="*/ 214139 h 707594"/>
                  <a:gd name="connsiteX7" fmla="*/ 670372 w 1194890"/>
                  <a:gd name="connsiteY7" fmla="*/ 0 h 707594"/>
                  <a:gd name="connsiteX8" fmla="*/ 1020986 w 1194890"/>
                  <a:gd name="connsiteY8" fmla="*/ 350614 h 707594"/>
                  <a:gd name="connsiteX9" fmla="*/ 1013863 w 1194890"/>
                  <a:gd name="connsiteY9" fmla="*/ 421275 h 707594"/>
                  <a:gd name="connsiteX10" fmla="*/ 1000099 w 1194890"/>
                  <a:gd name="connsiteY10" fmla="*/ 465615 h 707594"/>
                  <a:gd name="connsiteX11" fmla="*/ 1077084 w 1194890"/>
                  <a:gd name="connsiteY11" fmla="*/ 465615 h 707594"/>
                  <a:gd name="connsiteX12" fmla="*/ 1194890 w 1194890"/>
                  <a:gd name="connsiteY12" fmla="*/ 583421 h 707594"/>
                  <a:gd name="connsiteX13" fmla="*/ 1077084 w 1194890"/>
                  <a:gd name="connsiteY13" fmla="*/ 701227 h 707594"/>
                  <a:gd name="connsiteX14" fmla="*/ 928274 w 1194890"/>
                  <a:gd name="connsiteY14" fmla="*/ 707594 h 70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4890" h="707594">
                    <a:moveTo>
                      <a:pt x="283096" y="696440"/>
                    </a:moveTo>
                    <a:cubicBezTo>
                      <a:pt x="267759" y="699579"/>
                      <a:pt x="251877" y="701227"/>
                      <a:pt x="235612" y="701227"/>
                    </a:cubicBezTo>
                    <a:cubicBezTo>
                      <a:pt x="105487" y="701227"/>
                      <a:pt x="0" y="595740"/>
                      <a:pt x="0" y="465615"/>
                    </a:cubicBezTo>
                    <a:cubicBezTo>
                      <a:pt x="0" y="335490"/>
                      <a:pt x="105487" y="230003"/>
                      <a:pt x="235612" y="230003"/>
                    </a:cubicBezTo>
                    <a:cubicBezTo>
                      <a:pt x="268144" y="230003"/>
                      <a:pt x="299135" y="236596"/>
                      <a:pt x="327323" y="248518"/>
                    </a:cubicBezTo>
                    <a:lnTo>
                      <a:pt x="335296" y="252846"/>
                    </a:lnTo>
                    <a:lnTo>
                      <a:pt x="347311" y="214139"/>
                    </a:lnTo>
                    <a:cubicBezTo>
                      <a:pt x="400537" y="88298"/>
                      <a:pt x="525143" y="0"/>
                      <a:pt x="670372" y="0"/>
                    </a:cubicBezTo>
                    <a:cubicBezTo>
                      <a:pt x="864011" y="0"/>
                      <a:pt x="1020986" y="156975"/>
                      <a:pt x="1020986" y="350614"/>
                    </a:cubicBezTo>
                    <a:cubicBezTo>
                      <a:pt x="1020986" y="374819"/>
                      <a:pt x="1018534" y="398451"/>
                      <a:pt x="1013863" y="421275"/>
                    </a:cubicBezTo>
                    <a:lnTo>
                      <a:pt x="1000099" y="465615"/>
                    </a:lnTo>
                    <a:lnTo>
                      <a:pt x="1077084" y="465615"/>
                    </a:lnTo>
                    <a:cubicBezTo>
                      <a:pt x="1142146" y="465615"/>
                      <a:pt x="1194890" y="518359"/>
                      <a:pt x="1194890" y="583421"/>
                    </a:cubicBezTo>
                    <a:cubicBezTo>
                      <a:pt x="1194890" y="648483"/>
                      <a:pt x="1142146" y="701227"/>
                      <a:pt x="1077084" y="701227"/>
                    </a:cubicBezTo>
                    <a:lnTo>
                      <a:pt x="928274" y="707594"/>
                    </a:lnTo>
                  </a:path>
                </a:pathLst>
              </a:custGeom>
              <a:noFill/>
              <a:ln w="22225" cap="rnd">
                <a:solidFill>
                  <a:schemeClr val="accent1"/>
                </a:solidFill>
                <a:miter lim="800000"/>
                <a:headEnd/>
                <a:tailEnd/>
              </a:ln>
              <a:effectLst/>
            </p:spPr>
            <p:txBody>
              <a:bodyPr wrap="square" lIns="93260" tIns="46630" rIns="93260" bIns="46630" numCol="1" spcCol="0" rtlCol="0" fromWordArt="0" anchor="ctr" anchorCtr="0" forceAA="0" compatLnSpc="1"/>
              <a:lstStyle/>
              <a:p>
                <a:pPr defTabSz="932597">
                  <a:defRPr/>
                </a:pPr>
                <a:endParaRPr lang="en-US" sz="1836">
                  <a:solidFill>
                    <a:prstClr val="black"/>
                  </a:solidFill>
                  <a:latin typeface="Arial" charset="0"/>
                  <a:ea typeface="Arial" charset="0"/>
                  <a:cs typeface="Arial" charset="0"/>
                </a:endParaRPr>
              </a:p>
            </p:txBody>
          </p:sp>
          <p:sp>
            <p:nvSpPr>
              <p:cNvPr id="106" name="Freeform 104">
                <a:extLst>
                  <a:ext uri="{FF2B5EF4-FFF2-40B4-BE49-F238E27FC236}">
                    <a16:creationId xmlns:a16="http://schemas.microsoft.com/office/drawing/2014/main" id="{2A78E941-61E8-47CC-9D0A-56D5BC295C11}"/>
                  </a:ext>
                </a:extLst>
              </p:cNvPr>
              <p:cNvSpPr/>
              <p:nvPr/>
            </p:nvSpPr>
            <p:spPr bwMode="auto">
              <a:xfrm>
                <a:off x="6850220" y="2242240"/>
                <a:ext cx="639597" cy="574441"/>
              </a:xfrm>
              <a:custGeom>
                <a:avLst/>
                <a:gdLst>
                  <a:gd name="connsiteX0" fmla="*/ 222094 w 639597"/>
                  <a:gd name="connsiteY0" fmla="*/ 0 h 672508"/>
                  <a:gd name="connsiteX1" fmla="*/ 222094 w 639597"/>
                  <a:gd name="connsiteY1" fmla="*/ 113252 h 672508"/>
                  <a:gd name="connsiteX2" fmla="*/ 417503 w 639597"/>
                  <a:gd name="connsiteY2" fmla="*/ 113252 h 672508"/>
                  <a:gd name="connsiteX3" fmla="*/ 417503 w 639597"/>
                  <a:gd name="connsiteY3" fmla="*/ 0 h 672508"/>
                  <a:gd name="connsiteX4" fmla="*/ 444279 w 639597"/>
                  <a:gd name="connsiteY4" fmla="*/ 1767 h 672508"/>
                  <a:gd name="connsiteX5" fmla="*/ 639597 w 639597"/>
                  <a:gd name="connsiteY5" fmla="*/ 98067 h 672508"/>
                  <a:gd name="connsiteX6" fmla="*/ 639596 w 639597"/>
                  <a:gd name="connsiteY6" fmla="*/ 567995 h 672508"/>
                  <a:gd name="connsiteX7" fmla="*/ 319798 w 639597"/>
                  <a:gd name="connsiteY7" fmla="*/ 672508 h 672508"/>
                  <a:gd name="connsiteX8" fmla="*/ 0 w 639597"/>
                  <a:gd name="connsiteY8" fmla="*/ 567995 h 672508"/>
                  <a:gd name="connsiteX9" fmla="*/ 1 w 639597"/>
                  <a:gd name="connsiteY9" fmla="*/ 98070 h 672508"/>
                  <a:gd name="connsiteX10" fmla="*/ 0 w 639597"/>
                  <a:gd name="connsiteY10" fmla="*/ 98067 h 672508"/>
                  <a:gd name="connsiteX11" fmla="*/ 195318 w 639597"/>
                  <a:gd name="connsiteY11" fmla="*/ 1767 h 672508"/>
                  <a:gd name="connsiteX12" fmla="*/ 222094 w 639597"/>
                  <a:gd name="connsiteY12" fmla="*/ 0 h 672508"/>
                  <a:gd name="connsiteX0" fmla="*/ 222094 w 639597"/>
                  <a:gd name="connsiteY0" fmla="*/ 113252 h 672508"/>
                  <a:gd name="connsiteX1" fmla="*/ 417503 w 639597"/>
                  <a:gd name="connsiteY1" fmla="*/ 113252 h 672508"/>
                  <a:gd name="connsiteX2" fmla="*/ 417503 w 639597"/>
                  <a:gd name="connsiteY2" fmla="*/ 0 h 672508"/>
                  <a:gd name="connsiteX3" fmla="*/ 444279 w 639597"/>
                  <a:gd name="connsiteY3" fmla="*/ 1767 h 672508"/>
                  <a:gd name="connsiteX4" fmla="*/ 639597 w 639597"/>
                  <a:gd name="connsiteY4" fmla="*/ 98067 h 672508"/>
                  <a:gd name="connsiteX5" fmla="*/ 639596 w 639597"/>
                  <a:gd name="connsiteY5" fmla="*/ 567995 h 672508"/>
                  <a:gd name="connsiteX6" fmla="*/ 319798 w 639597"/>
                  <a:gd name="connsiteY6" fmla="*/ 672508 h 672508"/>
                  <a:gd name="connsiteX7" fmla="*/ 0 w 639597"/>
                  <a:gd name="connsiteY7" fmla="*/ 567995 h 672508"/>
                  <a:gd name="connsiteX8" fmla="*/ 1 w 639597"/>
                  <a:gd name="connsiteY8" fmla="*/ 98070 h 672508"/>
                  <a:gd name="connsiteX9" fmla="*/ 0 w 639597"/>
                  <a:gd name="connsiteY9" fmla="*/ 98067 h 672508"/>
                  <a:gd name="connsiteX10" fmla="*/ 195318 w 639597"/>
                  <a:gd name="connsiteY10" fmla="*/ 1767 h 672508"/>
                  <a:gd name="connsiteX11" fmla="*/ 222094 w 639597"/>
                  <a:gd name="connsiteY11" fmla="*/ 0 h 672508"/>
                  <a:gd name="connsiteX12" fmla="*/ 313534 w 639597"/>
                  <a:gd name="connsiteY12" fmla="*/ 204692 h 672508"/>
                  <a:gd name="connsiteX0" fmla="*/ 222094 w 639597"/>
                  <a:gd name="connsiteY0" fmla="*/ 113252 h 672508"/>
                  <a:gd name="connsiteX1" fmla="*/ 417503 w 639597"/>
                  <a:gd name="connsiteY1" fmla="*/ 113252 h 672508"/>
                  <a:gd name="connsiteX2" fmla="*/ 417503 w 639597"/>
                  <a:gd name="connsiteY2" fmla="*/ 0 h 672508"/>
                  <a:gd name="connsiteX3" fmla="*/ 444279 w 639597"/>
                  <a:gd name="connsiteY3" fmla="*/ 1767 h 672508"/>
                  <a:gd name="connsiteX4" fmla="*/ 639597 w 639597"/>
                  <a:gd name="connsiteY4" fmla="*/ 98067 h 672508"/>
                  <a:gd name="connsiteX5" fmla="*/ 639596 w 639597"/>
                  <a:gd name="connsiteY5" fmla="*/ 567995 h 672508"/>
                  <a:gd name="connsiteX6" fmla="*/ 319798 w 639597"/>
                  <a:gd name="connsiteY6" fmla="*/ 672508 h 672508"/>
                  <a:gd name="connsiteX7" fmla="*/ 0 w 639597"/>
                  <a:gd name="connsiteY7" fmla="*/ 567995 h 672508"/>
                  <a:gd name="connsiteX8" fmla="*/ 1 w 639597"/>
                  <a:gd name="connsiteY8" fmla="*/ 98070 h 672508"/>
                  <a:gd name="connsiteX9" fmla="*/ 0 w 639597"/>
                  <a:gd name="connsiteY9" fmla="*/ 98067 h 672508"/>
                  <a:gd name="connsiteX10" fmla="*/ 195318 w 639597"/>
                  <a:gd name="connsiteY10" fmla="*/ 1767 h 672508"/>
                  <a:gd name="connsiteX11" fmla="*/ 222094 w 639597"/>
                  <a:gd name="connsiteY11" fmla="*/ 0 h 672508"/>
                  <a:gd name="connsiteX0" fmla="*/ 222094 w 639597"/>
                  <a:gd name="connsiteY0" fmla="*/ 113252 h 672508"/>
                  <a:gd name="connsiteX1" fmla="*/ 417503 w 639597"/>
                  <a:gd name="connsiteY1" fmla="*/ 113252 h 672508"/>
                  <a:gd name="connsiteX2" fmla="*/ 417503 w 639597"/>
                  <a:gd name="connsiteY2" fmla="*/ 0 h 672508"/>
                  <a:gd name="connsiteX3" fmla="*/ 444279 w 639597"/>
                  <a:gd name="connsiteY3" fmla="*/ 1767 h 672508"/>
                  <a:gd name="connsiteX4" fmla="*/ 639597 w 639597"/>
                  <a:gd name="connsiteY4" fmla="*/ 98067 h 672508"/>
                  <a:gd name="connsiteX5" fmla="*/ 639596 w 639597"/>
                  <a:gd name="connsiteY5" fmla="*/ 567995 h 672508"/>
                  <a:gd name="connsiteX6" fmla="*/ 319798 w 639597"/>
                  <a:gd name="connsiteY6" fmla="*/ 672508 h 672508"/>
                  <a:gd name="connsiteX7" fmla="*/ 0 w 639597"/>
                  <a:gd name="connsiteY7" fmla="*/ 567995 h 672508"/>
                  <a:gd name="connsiteX8" fmla="*/ 1 w 639597"/>
                  <a:gd name="connsiteY8" fmla="*/ 98070 h 672508"/>
                  <a:gd name="connsiteX9" fmla="*/ 0 w 639597"/>
                  <a:gd name="connsiteY9" fmla="*/ 98067 h 672508"/>
                  <a:gd name="connsiteX10" fmla="*/ 195318 w 639597"/>
                  <a:gd name="connsiteY10" fmla="*/ 1767 h 672508"/>
                  <a:gd name="connsiteX0" fmla="*/ 222094 w 639597"/>
                  <a:gd name="connsiteY0" fmla="*/ 113252 h 672508"/>
                  <a:gd name="connsiteX1" fmla="*/ 417503 w 639597"/>
                  <a:gd name="connsiteY1" fmla="*/ 113252 h 672508"/>
                  <a:gd name="connsiteX2" fmla="*/ 417503 w 639597"/>
                  <a:gd name="connsiteY2" fmla="*/ 0 h 672508"/>
                  <a:gd name="connsiteX3" fmla="*/ 444279 w 639597"/>
                  <a:gd name="connsiteY3" fmla="*/ 1767 h 672508"/>
                  <a:gd name="connsiteX4" fmla="*/ 639597 w 639597"/>
                  <a:gd name="connsiteY4" fmla="*/ 98067 h 672508"/>
                  <a:gd name="connsiteX5" fmla="*/ 639596 w 639597"/>
                  <a:gd name="connsiteY5" fmla="*/ 567995 h 672508"/>
                  <a:gd name="connsiteX6" fmla="*/ 319798 w 639597"/>
                  <a:gd name="connsiteY6" fmla="*/ 672508 h 672508"/>
                  <a:gd name="connsiteX7" fmla="*/ 0 w 639597"/>
                  <a:gd name="connsiteY7" fmla="*/ 567995 h 672508"/>
                  <a:gd name="connsiteX8" fmla="*/ 1 w 639597"/>
                  <a:gd name="connsiteY8" fmla="*/ 98070 h 672508"/>
                  <a:gd name="connsiteX9" fmla="*/ 0 w 639597"/>
                  <a:gd name="connsiteY9" fmla="*/ 98067 h 672508"/>
                  <a:gd name="connsiteX0" fmla="*/ 417503 w 639597"/>
                  <a:gd name="connsiteY0" fmla="*/ 113252 h 672508"/>
                  <a:gd name="connsiteX1" fmla="*/ 417503 w 639597"/>
                  <a:gd name="connsiteY1" fmla="*/ 0 h 672508"/>
                  <a:gd name="connsiteX2" fmla="*/ 444279 w 639597"/>
                  <a:gd name="connsiteY2" fmla="*/ 1767 h 672508"/>
                  <a:gd name="connsiteX3" fmla="*/ 639597 w 639597"/>
                  <a:gd name="connsiteY3" fmla="*/ 98067 h 672508"/>
                  <a:gd name="connsiteX4" fmla="*/ 639596 w 639597"/>
                  <a:gd name="connsiteY4" fmla="*/ 567995 h 672508"/>
                  <a:gd name="connsiteX5" fmla="*/ 319798 w 639597"/>
                  <a:gd name="connsiteY5" fmla="*/ 672508 h 672508"/>
                  <a:gd name="connsiteX6" fmla="*/ 0 w 639597"/>
                  <a:gd name="connsiteY6" fmla="*/ 567995 h 672508"/>
                  <a:gd name="connsiteX7" fmla="*/ 1 w 639597"/>
                  <a:gd name="connsiteY7" fmla="*/ 98070 h 672508"/>
                  <a:gd name="connsiteX8" fmla="*/ 0 w 639597"/>
                  <a:gd name="connsiteY8" fmla="*/ 98067 h 672508"/>
                  <a:gd name="connsiteX0" fmla="*/ 417503 w 639597"/>
                  <a:gd name="connsiteY0" fmla="*/ 0 h 672508"/>
                  <a:gd name="connsiteX1" fmla="*/ 444279 w 639597"/>
                  <a:gd name="connsiteY1" fmla="*/ 1767 h 672508"/>
                  <a:gd name="connsiteX2" fmla="*/ 639597 w 639597"/>
                  <a:gd name="connsiteY2" fmla="*/ 98067 h 672508"/>
                  <a:gd name="connsiteX3" fmla="*/ 639596 w 639597"/>
                  <a:gd name="connsiteY3" fmla="*/ 567995 h 672508"/>
                  <a:gd name="connsiteX4" fmla="*/ 319798 w 639597"/>
                  <a:gd name="connsiteY4" fmla="*/ 672508 h 672508"/>
                  <a:gd name="connsiteX5" fmla="*/ 0 w 639597"/>
                  <a:gd name="connsiteY5" fmla="*/ 567995 h 672508"/>
                  <a:gd name="connsiteX6" fmla="*/ 1 w 639597"/>
                  <a:gd name="connsiteY6" fmla="*/ 98070 h 672508"/>
                  <a:gd name="connsiteX7" fmla="*/ 0 w 639597"/>
                  <a:gd name="connsiteY7" fmla="*/ 98067 h 672508"/>
                  <a:gd name="connsiteX0" fmla="*/ 444279 w 639597"/>
                  <a:gd name="connsiteY0" fmla="*/ 0 h 670741"/>
                  <a:gd name="connsiteX1" fmla="*/ 639597 w 639597"/>
                  <a:gd name="connsiteY1" fmla="*/ 96300 h 670741"/>
                  <a:gd name="connsiteX2" fmla="*/ 639596 w 639597"/>
                  <a:gd name="connsiteY2" fmla="*/ 566228 h 670741"/>
                  <a:gd name="connsiteX3" fmla="*/ 319798 w 639597"/>
                  <a:gd name="connsiteY3" fmla="*/ 670741 h 670741"/>
                  <a:gd name="connsiteX4" fmla="*/ 0 w 639597"/>
                  <a:gd name="connsiteY4" fmla="*/ 566228 h 670741"/>
                  <a:gd name="connsiteX5" fmla="*/ 1 w 639597"/>
                  <a:gd name="connsiteY5" fmla="*/ 96303 h 670741"/>
                  <a:gd name="connsiteX6" fmla="*/ 0 w 639597"/>
                  <a:gd name="connsiteY6" fmla="*/ 96300 h 670741"/>
                  <a:gd name="connsiteX0" fmla="*/ 639597 w 639597"/>
                  <a:gd name="connsiteY0" fmla="*/ 0 h 574441"/>
                  <a:gd name="connsiteX1" fmla="*/ 639596 w 639597"/>
                  <a:gd name="connsiteY1" fmla="*/ 469928 h 574441"/>
                  <a:gd name="connsiteX2" fmla="*/ 319798 w 639597"/>
                  <a:gd name="connsiteY2" fmla="*/ 574441 h 574441"/>
                  <a:gd name="connsiteX3" fmla="*/ 0 w 639597"/>
                  <a:gd name="connsiteY3" fmla="*/ 469928 h 574441"/>
                  <a:gd name="connsiteX4" fmla="*/ 1 w 639597"/>
                  <a:gd name="connsiteY4" fmla="*/ 3 h 574441"/>
                  <a:gd name="connsiteX5" fmla="*/ 0 w 639597"/>
                  <a:gd name="connsiteY5" fmla="*/ 0 h 57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9597" h="574441">
                    <a:moveTo>
                      <a:pt x="639597" y="0"/>
                    </a:moveTo>
                    <a:cubicBezTo>
                      <a:pt x="639597" y="156643"/>
                      <a:pt x="639596" y="313285"/>
                      <a:pt x="639596" y="469928"/>
                    </a:cubicBezTo>
                    <a:cubicBezTo>
                      <a:pt x="639596" y="527649"/>
                      <a:pt x="496418" y="574441"/>
                      <a:pt x="319798" y="574441"/>
                    </a:cubicBezTo>
                    <a:cubicBezTo>
                      <a:pt x="143178" y="574441"/>
                      <a:pt x="0" y="527649"/>
                      <a:pt x="0" y="469928"/>
                    </a:cubicBezTo>
                    <a:cubicBezTo>
                      <a:pt x="0" y="313286"/>
                      <a:pt x="1" y="156645"/>
                      <a:pt x="1" y="3"/>
                    </a:cubicBezTo>
                    <a:cubicBezTo>
                      <a:pt x="1" y="2"/>
                      <a:pt x="0" y="1"/>
                      <a:pt x="0" y="0"/>
                    </a:cubicBezTo>
                  </a:path>
                </a:pathLst>
              </a:custGeom>
              <a:solidFill>
                <a:schemeClr val="bg1"/>
              </a:solid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a:solidFill>
                    <a:srgbClr val="0078D7"/>
                  </a:solidFill>
                  <a:latin typeface="Segoe UI Light"/>
                  <a:ea typeface="Segoe UI" pitchFamily="34" charset="0"/>
                  <a:cs typeface="Segoe UI" pitchFamily="34" charset="0"/>
                </a:endParaRPr>
              </a:p>
            </p:txBody>
          </p:sp>
          <p:sp>
            <p:nvSpPr>
              <p:cNvPr id="107" name="Up Arrow 105">
                <a:extLst>
                  <a:ext uri="{FF2B5EF4-FFF2-40B4-BE49-F238E27FC236}">
                    <a16:creationId xmlns:a16="http://schemas.microsoft.com/office/drawing/2014/main" id="{5E9693B6-6091-4A72-B0B0-39D44C32785E}"/>
                  </a:ext>
                </a:extLst>
              </p:cNvPr>
              <p:cNvSpPr/>
              <p:nvPr/>
            </p:nvSpPr>
            <p:spPr bwMode="auto">
              <a:xfrm>
                <a:off x="7065029" y="1803679"/>
                <a:ext cx="209978" cy="432079"/>
              </a:xfrm>
              <a:prstGeom prst="upArrow">
                <a:avLst/>
              </a:prstGeom>
              <a:noFill/>
              <a:ln w="22225" cap="rnd">
                <a:solidFill>
                  <a:schemeClr val="accent1"/>
                </a:solidFill>
                <a:miter lim="800000"/>
                <a:headEnd/>
                <a:tailEnd/>
              </a:ln>
              <a:effectLst/>
            </p:spPr>
            <p:txBody>
              <a:bodyPr wrap="none" rtlCol="0" anchor="ctr"/>
              <a:lstStyle/>
              <a:p>
                <a:pPr defTabSz="932597">
                  <a:defRPr/>
                </a:pPr>
                <a:endParaRPr lang="en-US" sz="1836">
                  <a:solidFill>
                    <a:prstClr val="black"/>
                  </a:solidFill>
                  <a:latin typeface="Arial" charset="0"/>
                  <a:ea typeface="Arial" charset="0"/>
                  <a:cs typeface="Arial" charset="0"/>
                </a:endParaRPr>
              </a:p>
            </p:txBody>
          </p:sp>
          <p:sp>
            <p:nvSpPr>
              <p:cNvPr id="108" name="Freeform 106">
                <a:extLst>
                  <a:ext uri="{FF2B5EF4-FFF2-40B4-BE49-F238E27FC236}">
                    <a16:creationId xmlns:a16="http://schemas.microsoft.com/office/drawing/2014/main" id="{CC62A7DC-762A-43D9-A11C-CCD8E92D3005}"/>
                  </a:ext>
                </a:extLst>
              </p:cNvPr>
              <p:cNvSpPr/>
              <p:nvPr/>
            </p:nvSpPr>
            <p:spPr bwMode="auto">
              <a:xfrm>
                <a:off x="6852518" y="2140110"/>
                <a:ext cx="635000" cy="199865"/>
              </a:xfrm>
              <a:custGeom>
                <a:avLst/>
                <a:gdLst>
                  <a:gd name="connsiteX0" fmla="*/ 265874 w 635000"/>
                  <a:gd name="connsiteY0" fmla="*/ 0 h 199865"/>
                  <a:gd name="connsiteX1" fmla="*/ 265874 w 635000"/>
                  <a:gd name="connsiteY1" fmla="*/ 95648 h 199865"/>
                  <a:gd name="connsiteX2" fmla="*/ 370863 w 635000"/>
                  <a:gd name="connsiteY2" fmla="*/ 95648 h 199865"/>
                  <a:gd name="connsiteX3" fmla="*/ 370863 w 635000"/>
                  <a:gd name="connsiteY3" fmla="*/ 113 h 199865"/>
                  <a:gd name="connsiteX4" fmla="*/ 441085 w 635000"/>
                  <a:gd name="connsiteY4" fmla="*/ 4649 h 199865"/>
                  <a:gd name="connsiteX5" fmla="*/ 635000 w 635000"/>
                  <a:gd name="connsiteY5" fmla="*/ 98265 h 199865"/>
                  <a:gd name="connsiteX6" fmla="*/ 317500 w 635000"/>
                  <a:gd name="connsiteY6" fmla="*/ 199865 h 199865"/>
                  <a:gd name="connsiteX7" fmla="*/ 0 w 635000"/>
                  <a:gd name="connsiteY7" fmla="*/ 98265 h 199865"/>
                  <a:gd name="connsiteX8" fmla="*/ 193915 w 635000"/>
                  <a:gd name="connsiteY8" fmla="*/ 4649 h 199865"/>
                  <a:gd name="connsiteX9" fmla="*/ 265874 w 635000"/>
                  <a:gd name="connsiteY9" fmla="*/ 0 h 199865"/>
                  <a:gd name="connsiteX0" fmla="*/ 265874 w 635000"/>
                  <a:gd name="connsiteY0" fmla="*/ 95648 h 199865"/>
                  <a:gd name="connsiteX1" fmla="*/ 370863 w 635000"/>
                  <a:gd name="connsiteY1" fmla="*/ 95648 h 199865"/>
                  <a:gd name="connsiteX2" fmla="*/ 370863 w 635000"/>
                  <a:gd name="connsiteY2" fmla="*/ 113 h 199865"/>
                  <a:gd name="connsiteX3" fmla="*/ 441085 w 635000"/>
                  <a:gd name="connsiteY3" fmla="*/ 4649 h 199865"/>
                  <a:gd name="connsiteX4" fmla="*/ 635000 w 635000"/>
                  <a:gd name="connsiteY4" fmla="*/ 98265 h 199865"/>
                  <a:gd name="connsiteX5" fmla="*/ 317500 w 635000"/>
                  <a:gd name="connsiteY5" fmla="*/ 199865 h 199865"/>
                  <a:gd name="connsiteX6" fmla="*/ 0 w 635000"/>
                  <a:gd name="connsiteY6" fmla="*/ 98265 h 199865"/>
                  <a:gd name="connsiteX7" fmla="*/ 193915 w 635000"/>
                  <a:gd name="connsiteY7" fmla="*/ 4649 h 199865"/>
                  <a:gd name="connsiteX8" fmla="*/ 265874 w 635000"/>
                  <a:gd name="connsiteY8" fmla="*/ 0 h 199865"/>
                  <a:gd name="connsiteX9" fmla="*/ 357314 w 635000"/>
                  <a:gd name="connsiteY9" fmla="*/ 187088 h 199865"/>
                  <a:gd name="connsiteX0" fmla="*/ 265874 w 635000"/>
                  <a:gd name="connsiteY0" fmla="*/ 95648 h 199865"/>
                  <a:gd name="connsiteX1" fmla="*/ 370863 w 635000"/>
                  <a:gd name="connsiteY1" fmla="*/ 95648 h 199865"/>
                  <a:gd name="connsiteX2" fmla="*/ 370863 w 635000"/>
                  <a:gd name="connsiteY2" fmla="*/ 113 h 199865"/>
                  <a:gd name="connsiteX3" fmla="*/ 441085 w 635000"/>
                  <a:gd name="connsiteY3" fmla="*/ 4649 h 199865"/>
                  <a:gd name="connsiteX4" fmla="*/ 635000 w 635000"/>
                  <a:gd name="connsiteY4" fmla="*/ 98265 h 199865"/>
                  <a:gd name="connsiteX5" fmla="*/ 317500 w 635000"/>
                  <a:gd name="connsiteY5" fmla="*/ 199865 h 199865"/>
                  <a:gd name="connsiteX6" fmla="*/ 0 w 635000"/>
                  <a:gd name="connsiteY6" fmla="*/ 98265 h 199865"/>
                  <a:gd name="connsiteX7" fmla="*/ 193915 w 635000"/>
                  <a:gd name="connsiteY7" fmla="*/ 4649 h 199865"/>
                  <a:gd name="connsiteX8" fmla="*/ 265874 w 635000"/>
                  <a:gd name="connsiteY8" fmla="*/ 0 h 199865"/>
                  <a:gd name="connsiteX0" fmla="*/ 370863 w 635000"/>
                  <a:gd name="connsiteY0" fmla="*/ 95648 h 199865"/>
                  <a:gd name="connsiteX1" fmla="*/ 370863 w 635000"/>
                  <a:gd name="connsiteY1" fmla="*/ 113 h 199865"/>
                  <a:gd name="connsiteX2" fmla="*/ 441085 w 635000"/>
                  <a:gd name="connsiteY2" fmla="*/ 4649 h 199865"/>
                  <a:gd name="connsiteX3" fmla="*/ 635000 w 635000"/>
                  <a:gd name="connsiteY3" fmla="*/ 98265 h 199865"/>
                  <a:gd name="connsiteX4" fmla="*/ 317500 w 635000"/>
                  <a:gd name="connsiteY4" fmla="*/ 199865 h 199865"/>
                  <a:gd name="connsiteX5" fmla="*/ 0 w 635000"/>
                  <a:gd name="connsiteY5" fmla="*/ 98265 h 199865"/>
                  <a:gd name="connsiteX6" fmla="*/ 193915 w 635000"/>
                  <a:gd name="connsiteY6" fmla="*/ 4649 h 199865"/>
                  <a:gd name="connsiteX7" fmla="*/ 265874 w 635000"/>
                  <a:gd name="connsiteY7" fmla="*/ 0 h 199865"/>
                  <a:gd name="connsiteX0" fmla="*/ 370863 w 635000"/>
                  <a:gd name="connsiteY0" fmla="*/ 113 h 199865"/>
                  <a:gd name="connsiteX1" fmla="*/ 441085 w 635000"/>
                  <a:gd name="connsiteY1" fmla="*/ 4649 h 199865"/>
                  <a:gd name="connsiteX2" fmla="*/ 635000 w 635000"/>
                  <a:gd name="connsiteY2" fmla="*/ 98265 h 199865"/>
                  <a:gd name="connsiteX3" fmla="*/ 317500 w 635000"/>
                  <a:gd name="connsiteY3" fmla="*/ 199865 h 199865"/>
                  <a:gd name="connsiteX4" fmla="*/ 0 w 635000"/>
                  <a:gd name="connsiteY4" fmla="*/ 98265 h 199865"/>
                  <a:gd name="connsiteX5" fmla="*/ 193915 w 635000"/>
                  <a:gd name="connsiteY5" fmla="*/ 4649 h 199865"/>
                  <a:gd name="connsiteX6" fmla="*/ 265874 w 635000"/>
                  <a:gd name="connsiteY6" fmla="*/ 0 h 199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000" h="199865">
                    <a:moveTo>
                      <a:pt x="370863" y="113"/>
                    </a:moveTo>
                    <a:lnTo>
                      <a:pt x="441085" y="4649"/>
                    </a:lnTo>
                    <a:cubicBezTo>
                      <a:pt x="555041" y="20073"/>
                      <a:pt x="635000" y="56181"/>
                      <a:pt x="635000" y="98265"/>
                    </a:cubicBezTo>
                    <a:cubicBezTo>
                      <a:pt x="635000" y="154377"/>
                      <a:pt x="492850" y="199865"/>
                      <a:pt x="317500" y="199865"/>
                    </a:cubicBezTo>
                    <a:cubicBezTo>
                      <a:pt x="142150" y="199865"/>
                      <a:pt x="0" y="154377"/>
                      <a:pt x="0" y="98265"/>
                    </a:cubicBezTo>
                    <a:cubicBezTo>
                      <a:pt x="0" y="56181"/>
                      <a:pt x="79959" y="20073"/>
                      <a:pt x="193915" y="4649"/>
                    </a:cubicBezTo>
                    <a:lnTo>
                      <a:pt x="265874" y="0"/>
                    </a:lnTo>
                  </a:path>
                </a:pathLst>
              </a:custGeom>
              <a:noFill/>
              <a:ln w="22225" cap="rnd">
                <a:solidFill>
                  <a:schemeClr val="accent1"/>
                </a:solidFill>
                <a:miter lim="800000"/>
                <a:headEnd/>
                <a:tailEnd/>
              </a:ln>
              <a:effectLst/>
            </p:spPr>
            <p:txBody>
              <a:bodyPr wrap="square" lIns="93260" tIns="46630" rIns="93260" bIns="46630" numCol="1" spcCol="0" rtlCol="0" fromWordArt="0" anchor="ctr" anchorCtr="0" forceAA="0" compatLnSpc="1"/>
              <a:lstStyle/>
              <a:p>
                <a:pPr defTabSz="932597">
                  <a:defRPr/>
                </a:pPr>
                <a:endParaRPr lang="en-US" sz="1836">
                  <a:solidFill>
                    <a:prstClr val="black"/>
                  </a:solidFill>
                  <a:latin typeface="Arial" charset="0"/>
                  <a:ea typeface="Arial" charset="0"/>
                  <a:cs typeface="Arial" charset="0"/>
                </a:endParaRPr>
              </a:p>
            </p:txBody>
          </p:sp>
        </p:grpSp>
        <p:grpSp>
          <p:nvGrpSpPr>
            <p:cNvPr id="34" name="Group 33">
              <a:extLst>
                <a:ext uri="{FF2B5EF4-FFF2-40B4-BE49-F238E27FC236}">
                  <a16:creationId xmlns:a16="http://schemas.microsoft.com/office/drawing/2014/main" id="{4721810F-C510-46FE-B0DF-0ADFA6B05D62}"/>
                </a:ext>
              </a:extLst>
            </p:cNvPr>
            <p:cNvGrpSpPr/>
            <p:nvPr/>
          </p:nvGrpSpPr>
          <p:grpSpPr>
            <a:xfrm>
              <a:off x="6110332" y="1156122"/>
              <a:ext cx="371470" cy="310728"/>
              <a:chOff x="2070200" y="2126344"/>
              <a:chExt cx="281519" cy="235486"/>
            </a:xfrm>
          </p:grpSpPr>
          <p:sp>
            <p:nvSpPr>
              <p:cNvPr id="100" name="Oval 99">
                <a:extLst>
                  <a:ext uri="{FF2B5EF4-FFF2-40B4-BE49-F238E27FC236}">
                    <a16:creationId xmlns:a16="http://schemas.microsoft.com/office/drawing/2014/main" id="{70E08193-71E2-4351-A48E-E04F355A0D06}"/>
                  </a:ext>
                </a:extLst>
              </p:cNvPr>
              <p:cNvSpPr/>
              <p:nvPr/>
            </p:nvSpPr>
            <p:spPr>
              <a:xfrm rot="10800000" flipV="1">
                <a:off x="2167730" y="2275370"/>
                <a:ext cx="86458" cy="86460"/>
              </a:xfrm>
              <a:prstGeom prst="ellipse">
                <a:avLst/>
              </a:prstGeom>
              <a:noFill/>
              <a:ln w="22225" cap="flat" cmpd="sng" algn="ctr">
                <a:solidFill>
                  <a:schemeClr val="accent1"/>
                </a:solidFill>
                <a:prstDash val="solid"/>
              </a:ln>
              <a:effectLst/>
            </p:spPr>
            <p:txBody>
              <a:bodyPr rtlCol="0" anchor="ctr"/>
              <a:lstStyle/>
              <a:p>
                <a:pPr algn="ctr" defTabSz="932597">
                  <a:defRPr/>
                </a:pPr>
                <a:endParaRPr lang="en-US" sz="1836" kern="0">
                  <a:solidFill>
                    <a:srgbClr val="FFFFFF"/>
                  </a:solidFill>
                  <a:latin typeface="Calibri Light" panose="020F0302020204030204"/>
                  <a:ea typeface=""/>
                  <a:cs typeface=""/>
                </a:endParaRPr>
              </a:p>
            </p:txBody>
          </p:sp>
          <p:grpSp>
            <p:nvGrpSpPr>
              <p:cNvPr id="101" name="Group 100">
                <a:extLst>
                  <a:ext uri="{FF2B5EF4-FFF2-40B4-BE49-F238E27FC236}">
                    <a16:creationId xmlns:a16="http://schemas.microsoft.com/office/drawing/2014/main" id="{60A26D64-C1BD-4A07-AE77-2B1550731D90}"/>
                  </a:ext>
                </a:extLst>
              </p:cNvPr>
              <p:cNvGrpSpPr/>
              <p:nvPr/>
            </p:nvGrpSpPr>
            <p:grpSpPr>
              <a:xfrm>
                <a:off x="2070200" y="2126344"/>
                <a:ext cx="281519" cy="126591"/>
                <a:chOff x="2070200" y="2138317"/>
                <a:chExt cx="281519" cy="114618"/>
              </a:xfrm>
            </p:grpSpPr>
            <p:sp>
              <p:nvSpPr>
                <p:cNvPr id="102" name="Freeform: Shape 934">
                  <a:extLst>
                    <a:ext uri="{FF2B5EF4-FFF2-40B4-BE49-F238E27FC236}">
                      <a16:creationId xmlns:a16="http://schemas.microsoft.com/office/drawing/2014/main" id="{DFD9B7E7-6BFA-4D8C-80AD-70435C6838DE}"/>
                    </a:ext>
                  </a:extLst>
                </p:cNvPr>
                <p:cNvSpPr/>
                <p:nvPr/>
              </p:nvSpPr>
              <p:spPr bwMode="auto">
                <a:xfrm>
                  <a:off x="2070200" y="2138317"/>
                  <a:ext cx="281519" cy="58313"/>
                </a:xfrm>
                <a:custGeom>
                  <a:avLst/>
                  <a:gdLst>
                    <a:gd name="connsiteX0" fmla="*/ 140279 w 281519"/>
                    <a:gd name="connsiteY0" fmla="*/ 1 h 58313"/>
                    <a:gd name="connsiteX1" fmla="*/ 281519 w 281519"/>
                    <a:gd name="connsiteY1" fmla="*/ 58313 h 58313"/>
                    <a:gd name="connsiteX2" fmla="*/ 0 w 281519"/>
                    <a:gd name="connsiteY2" fmla="*/ 57473 h 58313"/>
                    <a:gd name="connsiteX3" fmla="*/ 140279 w 281519"/>
                    <a:gd name="connsiteY3" fmla="*/ 1 h 58313"/>
                    <a:gd name="connsiteX0" fmla="*/ 140279 w 281519"/>
                    <a:gd name="connsiteY0" fmla="*/ 1 h 60597"/>
                    <a:gd name="connsiteX1" fmla="*/ 281519 w 281519"/>
                    <a:gd name="connsiteY1" fmla="*/ 58313 h 60597"/>
                    <a:gd name="connsiteX2" fmla="*/ 165454 w 281519"/>
                    <a:gd name="connsiteY2" fmla="*/ 60597 h 60597"/>
                    <a:gd name="connsiteX3" fmla="*/ 0 w 281519"/>
                    <a:gd name="connsiteY3" fmla="*/ 57473 h 60597"/>
                    <a:gd name="connsiteX4" fmla="*/ 140279 w 281519"/>
                    <a:gd name="connsiteY4" fmla="*/ 1 h 60597"/>
                    <a:gd name="connsiteX0" fmla="*/ 165454 w 281519"/>
                    <a:gd name="connsiteY0" fmla="*/ 60597 h 152037"/>
                    <a:gd name="connsiteX1" fmla="*/ 0 w 281519"/>
                    <a:gd name="connsiteY1" fmla="*/ 57473 h 152037"/>
                    <a:gd name="connsiteX2" fmla="*/ 140279 w 281519"/>
                    <a:gd name="connsiteY2" fmla="*/ 1 h 152037"/>
                    <a:gd name="connsiteX3" fmla="*/ 281519 w 281519"/>
                    <a:gd name="connsiteY3" fmla="*/ 58313 h 152037"/>
                    <a:gd name="connsiteX4" fmla="*/ 256894 w 281519"/>
                    <a:gd name="connsiteY4" fmla="*/ 152037 h 152037"/>
                    <a:gd name="connsiteX0" fmla="*/ 165454 w 281519"/>
                    <a:gd name="connsiteY0" fmla="*/ 60597 h 60597"/>
                    <a:gd name="connsiteX1" fmla="*/ 0 w 281519"/>
                    <a:gd name="connsiteY1" fmla="*/ 57473 h 60597"/>
                    <a:gd name="connsiteX2" fmla="*/ 140279 w 281519"/>
                    <a:gd name="connsiteY2" fmla="*/ 1 h 60597"/>
                    <a:gd name="connsiteX3" fmla="*/ 281519 w 281519"/>
                    <a:gd name="connsiteY3" fmla="*/ 58313 h 60597"/>
                    <a:gd name="connsiteX0" fmla="*/ 0 w 281519"/>
                    <a:gd name="connsiteY0" fmla="*/ 57473 h 58313"/>
                    <a:gd name="connsiteX1" fmla="*/ 140279 w 281519"/>
                    <a:gd name="connsiteY1" fmla="*/ 1 h 58313"/>
                    <a:gd name="connsiteX2" fmla="*/ 281519 w 281519"/>
                    <a:gd name="connsiteY2" fmla="*/ 58313 h 58313"/>
                  </a:gdLst>
                  <a:ahLst/>
                  <a:cxnLst>
                    <a:cxn ang="0">
                      <a:pos x="connsiteX0" y="connsiteY0"/>
                    </a:cxn>
                    <a:cxn ang="0">
                      <a:pos x="connsiteX1" y="connsiteY1"/>
                    </a:cxn>
                    <a:cxn ang="0">
                      <a:pos x="connsiteX2" y="connsiteY2"/>
                    </a:cxn>
                  </a:cxnLst>
                  <a:rect l="l" t="t" r="r" b="b"/>
                  <a:pathLst>
                    <a:path w="281519" h="58313">
                      <a:moveTo>
                        <a:pt x="0" y="57473"/>
                      </a:moveTo>
                      <a:cubicBezTo>
                        <a:pt x="38274" y="19199"/>
                        <a:pt x="89197" y="-49"/>
                        <a:pt x="140279" y="1"/>
                      </a:cubicBezTo>
                      <a:cubicBezTo>
                        <a:pt x="191361" y="51"/>
                        <a:pt x="242604" y="19399"/>
                        <a:pt x="281519" y="58313"/>
                      </a:cubicBezTo>
                    </a:path>
                  </a:pathLst>
                </a:custGeom>
                <a:noFill/>
                <a:ln w="22225" cap="flat">
                  <a:solidFill>
                    <a:schemeClr val="accent1"/>
                  </a:solidFill>
                  <a:prstDash val="solid"/>
                  <a:miter lim="800000"/>
                  <a:headEnd/>
                  <a:tailEnd/>
                </a:ln>
              </p:spPr>
              <p:txBody>
                <a:bodyPr vert="horz" wrap="square" lIns="73863" tIns="36932" rIns="73863" bIns="36932" numCol="1" anchor="t" anchorCtr="0" compatLnSpc="1">
                  <a:prstTxWarp prst="textNoShape">
                    <a:avLst/>
                  </a:prstTxWarp>
                </a:bodyPr>
                <a:lstStyle/>
                <a:p>
                  <a:pPr defTabSz="914049">
                    <a:defRPr/>
                  </a:pPr>
                  <a:endParaRPr lang="en-US" sz="962" kern="0">
                    <a:solidFill>
                      <a:srgbClr val="505050"/>
                    </a:solidFill>
                    <a:latin typeface="Segoe UI Semilight"/>
                  </a:endParaRPr>
                </a:p>
              </p:txBody>
            </p:sp>
            <p:sp>
              <p:nvSpPr>
                <p:cNvPr id="103" name="Freeform: Shape 943">
                  <a:extLst>
                    <a:ext uri="{FF2B5EF4-FFF2-40B4-BE49-F238E27FC236}">
                      <a16:creationId xmlns:a16="http://schemas.microsoft.com/office/drawing/2014/main" id="{96E42054-0C14-42A0-8573-EC5206AA0BC7}"/>
                    </a:ext>
                  </a:extLst>
                </p:cNvPr>
                <p:cNvSpPr/>
                <p:nvPr/>
              </p:nvSpPr>
              <p:spPr bwMode="auto">
                <a:xfrm>
                  <a:off x="2099613" y="2177958"/>
                  <a:ext cx="224375" cy="47244"/>
                </a:xfrm>
                <a:custGeom>
                  <a:avLst/>
                  <a:gdLst>
                    <a:gd name="connsiteX0" fmla="*/ 111685 w 224375"/>
                    <a:gd name="connsiteY0" fmla="*/ 6 h 47244"/>
                    <a:gd name="connsiteX1" fmla="*/ 224375 w 224375"/>
                    <a:gd name="connsiteY1" fmla="*/ 46404 h 47244"/>
                    <a:gd name="connsiteX2" fmla="*/ 0 w 224375"/>
                    <a:gd name="connsiteY2" fmla="*/ 47244 h 47244"/>
                    <a:gd name="connsiteX3" fmla="*/ 111685 w 224375"/>
                    <a:gd name="connsiteY3" fmla="*/ 6 h 47244"/>
                    <a:gd name="connsiteX0" fmla="*/ 111685 w 224375"/>
                    <a:gd name="connsiteY0" fmla="*/ 6 h 336642"/>
                    <a:gd name="connsiteX1" fmla="*/ 224375 w 224375"/>
                    <a:gd name="connsiteY1" fmla="*/ 46404 h 336642"/>
                    <a:gd name="connsiteX2" fmla="*/ 170058 w 224375"/>
                    <a:gd name="connsiteY2" fmla="*/ 336642 h 336642"/>
                    <a:gd name="connsiteX3" fmla="*/ 0 w 224375"/>
                    <a:gd name="connsiteY3" fmla="*/ 47244 h 336642"/>
                    <a:gd name="connsiteX4" fmla="*/ 111685 w 224375"/>
                    <a:gd name="connsiteY4" fmla="*/ 6 h 336642"/>
                    <a:gd name="connsiteX0" fmla="*/ 170058 w 261498"/>
                    <a:gd name="connsiteY0" fmla="*/ 336642 h 428082"/>
                    <a:gd name="connsiteX1" fmla="*/ 0 w 261498"/>
                    <a:gd name="connsiteY1" fmla="*/ 47244 h 428082"/>
                    <a:gd name="connsiteX2" fmla="*/ 111685 w 261498"/>
                    <a:gd name="connsiteY2" fmla="*/ 6 h 428082"/>
                    <a:gd name="connsiteX3" fmla="*/ 224375 w 261498"/>
                    <a:gd name="connsiteY3" fmla="*/ 46404 h 428082"/>
                    <a:gd name="connsiteX4" fmla="*/ 261498 w 261498"/>
                    <a:gd name="connsiteY4" fmla="*/ 428082 h 428082"/>
                    <a:gd name="connsiteX0" fmla="*/ 170058 w 224375"/>
                    <a:gd name="connsiteY0" fmla="*/ 336642 h 336642"/>
                    <a:gd name="connsiteX1" fmla="*/ 0 w 224375"/>
                    <a:gd name="connsiteY1" fmla="*/ 47244 h 336642"/>
                    <a:gd name="connsiteX2" fmla="*/ 111685 w 224375"/>
                    <a:gd name="connsiteY2" fmla="*/ 6 h 336642"/>
                    <a:gd name="connsiteX3" fmla="*/ 224375 w 224375"/>
                    <a:gd name="connsiteY3" fmla="*/ 46404 h 336642"/>
                    <a:gd name="connsiteX0" fmla="*/ 0 w 224375"/>
                    <a:gd name="connsiteY0" fmla="*/ 47244 h 47244"/>
                    <a:gd name="connsiteX1" fmla="*/ 111685 w 224375"/>
                    <a:gd name="connsiteY1" fmla="*/ 6 h 47244"/>
                    <a:gd name="connsiteX2" fmla="*/ 224375 w 224375"/>
                    <a:gd name="connsiteY2" fmla="*/ 46404 h 47244"/>
                  </a:gdLst>
                  <a:ahLst/>
                  <a:cxnLst>
                    <a:cxn ang="0">
                      <a:pos x="connsiteX0" y="connsiteY0"/>
                    </a:cxn>
                    <a:cxn ang="0">
                      <a:pos x="connsiteX1" y="connsiteY1"/>
                    </a:cxn>
                    <a:cxn ang="0">
                      <a:pos x="connsiteX2" y="connsiteY2"/>
                    </a:cxn>
                  </a:cxnLst>
                  <a:rect l="l" t="t" r="r" b="b"/>
                  <a:pathLst>
                    <a:path w="224375" h="47244">
                      <a:moveTo>
                        <a:pt x="0" y="47244"/>
                      </a:moveTo>
                      <a:cubicBezTo>
                        <a:pt x="30877" y="16367"/>
                        <a:pt x="71197" y="384"/>
                        <a:pt x="111685" y="6"/>
                      </a:cubicBezTo>
                      <a:cubicBezTo>
                        <a:pt x="152173" y="-372"/>
                        <a:pt x="192828" y="14856"/>
                        <a:pt x="224375" y="46404"/>
                      </a:cubicBezTo>
                    </a:path>
                  </a:pathLst>
                </a:custGeom>
                <a:noFill/>
                <a:ln w="22225" cap="flat">
                  <a:solidFill>
                    <a:schemeClr val="accent1"/>
                  </a:solidFill>
                  <a:prstDash val="solid"/>
                  <a:miter lim="800000"/>
                  <a:headEnd/>
                  <a:tailEnd/>
                </a:ln>
              </p:spPr>
              <p:txBody>
                <a:bodyPr rot="0" spcFirstLastPara="0" vertOverflow="overflow" horzOverflow="overflow" vert="horz" wrap="square" lIns="73863" tIns="36932" rIns="73863" bIns="36932" numCol="1" spcCol="0" rtlCol="0" fromWordArt="0" anchor="t" anchorCtr="0" forceAA="0" compatLnSpc="1">
                  <a:prstTxWarp prst="textNoShape">
                    <a:avLst/>
                  </a:prstTxWarp>
                  <a:noAutofit/>
                </a:bodyPr>
                <a:lstStyle/>
                <a:p>
                  <a:pPr defTabSz="914049">
                    <a:defRPr/>
                  </a:pPr>
                  <a:endParaRPr lang="en-US" sz="962" kern="0">
                    <a:solidFill>
                      <a:srgbClr val="505050"/>
                    </a:solidFill>
                    <a:latin typeface="Segoe UI Semilight"/>
                  </a:endParaRPr>
                </a:p>
              </p:txBody>
            </p:sp>
            <p:sp>
              <p:nvSpPr>
                <p:cNvPr id="104" name="Freeform: Shape 1122">
                  <a:extLst>
                    <a:ext uri="{FF2B5EF4-FFF2-40B4-BE49-F238E27FC236}">
                      <a16:creationId xmlns:a16="http://schemas.microsoft.com/office/drawing/2014/main" id="{FD4E2B76-DA50-433F-8D9F-4CEF295D043D}"/>
                    </a:ext>
                  </a:extLst>
                </p:cNvPr>
                <p:cNvSpPr/>
                <p:nvPr/>
              </p:nvSpPr>
              <p:spPr bwMode="auto">
                <a:xfrm>
                  <a:off x="2126504" y="2217780"/>
                  <a:ext cx="168912" cy="35155"/>
                </a:xfrm>
                <a:custGeom>
                  <a:avLst/>
                  <a:gdLst>
                    <a:gd name="connsiteX0" fmla="*/ 83976 w 168912"/>
                    <a:gd name="connsiteY0" fmla="*/ 1 h 35155"/>
                    <a:gd name="connsiteX1" fmla="*/ 168912 w 168912"/>
                    <a:gd name="connsiteY1" fmla="*/ 35155 h 35155"/>
                    <a:gd name="connsiteX2" fmla="*/ 0 w 168912"/>
                    <a:gd name="connsiteY2" fmla="*/ 34314 h 35155"/>
                    <a:gd name="connsiteX3" fmla="*/ 83976 w 168912"/>
                    <a:gd name="connsiteY3" fmla="*/ 1 h 35155"/>
                    <a:gd name="connsiteX0" fmla="*/ 83976 w 168912"/>
                    <a:gd name="connsiteY0" fmla="*/ 1 h 456024"/>
                    <a:gd name="connsiteX1" fmla="*/ 168912 w 168912"/>
                    <a:gd name="connsiteY1" fmla="*/ 35155 h 456024"/>
                    <a:gd name="connsiteX2" fmla="*/ 141807 w 168912"/>
                    <a:gd name="connsiteY2" fmla="*/ 456024 h 456024"/>
                    <a:gd name="connsiteX3" fmla="*/ 0 w 168912"/>
                    <a:gd name="connsiteY3" fmla="*/ 34314 h 456024"/>
                    <a:gd name="connsiteX4" fmla="*/ 83976 w 168912"/>
                    <a:gd name="connsiteY4" fmla="*/ 1 h 456024"/>
                    <a:gd name="connsiteX0" fmla="*/ 141807 w 233247"/>
                    <a:gd name="connsiteY0" fmla="*/ 456024 h 547464"/>
                    <a:gd name="connsiteX1" fmla="*/ 0 w 233247"/>
                    <a:gd name="connsiteY1" fmla="*/ 34314 h 547464"/>
                    <a:gd name="connsiteX2" fmla="*/ 83976 w 233247"/>
                    <a:gd name="connsiteY2" fmla="*/ 1 h 547464"/>
                    <a:gd name="connsiteX3" fmla="*/ 168912 w 233247"/>
                    <a:gd name="connsiteY3" fmla="*/ 35155 h 547464"/>
                    <a:gd name="connsiteX4" fmla="*/ 233247 w 233247"/>
                    <a:gd name="connsiteY4" fmla="*/ 547464 h 547464"/>
                    <a:gd name="connsiteX0" fmla="*/ 141807 w 168912"/>
                    <a:gd name="connsiteY0" fmla="*/ 456024 h 456024"/>
                    <a:gd name="connsiteX1" fmla="*/ 0 w 168912"/>
                    <a:gd name="connsiteY1" fmla="*/ 34314 h 456024"/>
                    <a:gd name="connsiteX2" fmla="*/ 83976 w 168912"/>
                    <a:gd name="connsiteY2" fmla="*/ 1 h 456024"/>
                    <a:gd name="connsiteX3" fmla="*/ 168912 w 168912"/>
                    <a:gd name="connsiteY3" fmla="*/ 35155 h 456024"/>
                    <a:gd name="connsiteX0" fmla="*/ 0 w 168912"/>
                    <a:gd name="connsiteY0" fmla="*/ 34314 h 35155"/>
                    <a:gd name="connsiteX1" fmla="*/ 83976 w 168912"/>
                    <a:gd name="connsiteY1" fmla="*/ 1 h 35155"/>
                    <a:gd name="connsiteX2" fmla="*/ 168912 w 168912"/>
                    <a:gd name="connsiteY2" fmla="*/ 35155 h 35155"/>
                  </a:gdLst>
                  <a:ahLst/>
                  <a:cxnLst>
                    <a:cxn ang="0">
                      <a:pos x="connsiteX0" y="connsiteY0"/>
                    </a:cxn>
                    <a:cxn ang="0">
                      <a:pos x="connsiteX1" y="connsiteY1"/>
                    </a:cxn>
                    <a:cxn ang="0">
                      <a:pos x="connsiteX2" y="connsiteY2"/>
                    </a:cxn>
                  </a:cxnLst>
                  <a:rect l="l" t="t" r="r" b="b"/>
                  <a:pathLst>
                    <a:path w="168912" h="35155">
                      <a:moveTo>
                        <a:pt x="0" y="34314"/>
                      </a:moveTo>
                      <a:cubicBezTo>
                        <a:pt x="22836" y="11479"/>
                        <a:pt x="53326" y="-49"/>
                        <a:pt x="83976" y="1"/>
                      </a:cubicBezTo>
                      <a:cubicBezTo>
                        <a:pt x="114626" y="51"/>
                        <a:pt x="145436" y="11679"/>
                        <a:pt x="168912" y="35155"/>
                      </a:cubicBezTo>
                    </a:path>
                  </a:pathLst>
                </a:custGeom>
                <a:noFill/>
                <a:ln w="22225" cap="flat">
                  <a:solidFill>
                    <a:schemeClr val="accent1"/>
                  </a:solidFill>
                  <a:prstDash val="solid"/>
                  <a:miter lim="800000"/>
                  <a:headEnd/>
                  <a:tailEnd/>
                </a:ln>
              </p:spPr>
              <p:txBody>
                <a:bodyPr rot="0" spcFirstLastPara="0" vertOverflow="overflow" horzOverflow="overflow" vert="horz" wrap="square" lIns="73863" tIns="36932" rIns="73863" bIns="36932" numCol="1" spcCol="0" rtlCol="0" fromWordArt="0" anchor="t" anchorCtr="0" forceAA="0" compatLnSpc="1">
                  <a:prstTxWarp prst="textNoShape">
                    <a:avLst/>
                  </a:prstTxWarp>
                  <a:noAutofit/>
                </a:bodyPr>
                <a:lstStyle/>
                <a:p>
                  <a:pPr defTabSz="914049">
                    <a:defRPr/>
                  </a:pPr>
                  <a:endParaRPr lang="en-US" sz="962" kern="0">
                    <a:solidFill>
                      <a:srgbClr val="505050"/>
                    </a:solidFill>
                    <a:latin typeface="Segoe UI Semilight"/>
                  </a:endParaRPr>
                </a:p>
              </p:txBody>
            </p:sp>
          </p:grpSp>
        </p:grpSp>
        <p:sp>
          <p:nvSpPr>
            <p:cNvPr id="35" name="4-Point Star 33">
              <a:extLst>
                <a:ext uri="{FF2B5EF4-FFF2-40B4-BE49-F238E27FC236}">
                  <a16:creationId xmlns:a16="http://schemas.microsoft.com/office/drawing/2014/main" id="{D2174E66-4F70-40CD-8C85-FC9836DA331F}"/>
                </a:ext>
              </a:extLst>
            </p:cNvPr>
            <p:cNvSpPr/>
            <p:nvPr/>
          </p:nvSpPr>
          <p:spPr bwMode="auto">
            <a:xfrm>
              <a:off x="4165600" y="2172677"/>
              <a:ext cx="171940" cy="171940"/>
            </a:xfrm>
            <a:prstGeom prst="star4">
              <a:avLst>
                <a:gd name="adj" fmla="val 15833"/>
              </a:avLst>
            </a:prstGeom>
            <a:noFill/>
            <a:ln w="22225" cap="rnd">
              <a:solidFill>
                <a:schemeClr val="accent1"/>
              </a:solidFill>
              <a:round/>
              <a:headEnd/>
              <a:tailEnd/>
            </a:ln>
            <a:effectLst/>
          </p:spPr>
          <p:txBody>
            <a:bodyPr wrap="none" rtlCol="0" anchor="ctr"/>
            <a:lstStyle/>
            <a:p>
              <a:pPr defTabSz="932597">
                <a:defRPr/>
              </a:pPr>
              <a:endParaRPr lang="en-US" sz="1836">
                <a:solidFill>
                  <a:prstClr val="black"/>
                </a:solidFill>
                <a:latin typeface="Arial" charset="0"/>
                <a:ea typeface="Arial" charset="0"/>
                <a:cs typeface="Arial" charset="0"/>
              </a:endParaRPr>
            </a:p>
          </p:txBody>
        </p:sp>
        <p:sp>
          <p:nvSpPr>
            <p:cNvPr id="36" name="4-Point Star 34">
              <a:extLst>
                <a:ext uri="{FF2B5EF4-FFF2-40B4-BE49-F238E27FC236}">
                  <a16:creationId xmlns:a16="http://schemas.microsoft.com/office/drawing/2014/main" id="{142E8E69-B197-4872-A129-810E7C8EC7BB}"/>
                </a:ext>
              </a:extLst>
            </p:cNvPr>
            <p:cNvSpPr/>
            <p:nvPr/>
          </p:nvSpPr>
          <p:spPr bwMode="auto">
            <a:xfrm>
              <a:off x="5205048" y="1352064"/>
              <a:ext cx="125044" cy="125044"/>
            </a:xfrm>
            <a:prstGeom prst="star4">
              <a:avLst>
                <a:gd name="adj" fmla="val 15833"/>
              </a:avLst>
            </a:prstGeom>
            <a:noFill/>
            <a:ln w="22225" cap="rnd">
              <a:solidFill>
                <a:schemeClr val="accent1"/>
              </a:solidFill>
              <a:round/>
              <a:headEnd/>
              <a:tailEnd/>
            </a:ln>
            <a:effectLst/>
          </p:spPr>
          <p:txBody>
            <a:bodyPr wrap="none" rtlCol="0" anchor="ctr"/>
            <a:lstStyle/>
            <a:p>
              <a:pPr defTabSz="932597">
                <a:defRPr/>
              </a:pPr>
              <a:endParaRPr lang="en-US" sz="1836">
                <a:solidFill>
                  <a:prstClr val="black"/>
                </a:solidFill>
                <a:latin typeface="Arial" charset="0"/>
                <a:ea typeface="Arial" charset="0"/>
                <a:cs typeface="Arial" charset="0"/>
              </a:endParaRPr>
            </a:p>
          </p:txBody>
        </p:sp>
        <p:sp>
          <p:nvSpPr>
            <p:cNvPr id="37" name="4-Point Star 35">
              <a:extLst>
                <a:ext uri="{FF2B5EF4-FFF2-40B4-BE49-F238E27FC236}">
                  <a16:creationId xmlns:a16="http://schemas.microsoft.com/office/drawing/2014/main" id="{77552EC5-5481-4D73-8281-A979BDCE75F0}"/>
                </a:ext>
              </a:extLst>
            </p:cNvPr>
            <p:cNvSpPr/>
            <p:nvPr/>
          </p:nvSpPr>
          <p:spPr bwMode="auto">
            <a:xfrm>
              <a:off x="7416802" y="1250464"/>
              <a:ext cx="156306" cy="156306"/>
            </a:xfrm>
            <a:prstGeom prst="star4">
              <a:avLst>
                <a:gd name="adj" fmla="val 15833"/>
              </a:avLst>
            </a:prstGeom>
            <a:noFill/>
            <a:ln w="22225" cap="rnd">
              <a:solidFill>
                <a:schemeClr val="accent1"/>
              </a:solidFill>
              <a:round/>
              <a:headEnd/>
              <a:tailEnd/>
            </a:ln>
            <a:effectLst/>
          </p:spPr>
          <p:txBody>
            <a:bodyPr wrap="none" rtlCol="0" anchor="ctr"/>
            <a:lstStyle/>
            <a:p>
              <a:pPr defTabSz="932597">
                <a:defRPr/>
              </a:pPr>
              <a:endParaRPr lang="en-US" sz="1836">
                <a:solidFill>
                  <a:prstClr val="black"/>
                </a:solidFill>
                <a:latin typeface="Arial" charset="0"/>
                <a:ea typeface="Arial" charset="0"/>
                <a:cs typeface="Arial" charset="0"/>
              </a:endParaRPr>
            </a:p>
          </p:txBody>
        </p:sp>
        <p:sp>
          <p:nvSpPr>
            <p:cNvPr id="38" name="4-Point Star 36">
              <a:extLst>
                <a:ext uri="{FF2B5EF4-FFF2-40B4-BE49-F238E27FC236}">
                  <a16:creationId xmlns:a16="http://schemas.microsoft.com/office/drawing/2014/main" id="{ED3E72FB-6A4C-41C0-A5E0-CD465F091E22}"/>
                </a:ext>
              </a:extLst>
            </p:cNvPr>
            <p:cNvSpPr/>
            <p:nvPr/>
          </p:nvSpPr>
          <p:spPr bwMode="auto">
            <a:xfrm>
              <a:off x="8042033" y="4384433"/>
              <a:ext cx="140675" cy="140675"/>
            </a:xfrm>
            <a:prstGeom prst="star4">
              <a:avLst>
                <a:gd name="adj" fmla="val 15833"/>
              </a:avLst>
            </a:prstGeom>
            <a:noFill/>
            <a:ln w="22225" cap="rnd">
              <a:solidFill>
                <a:schemeClr val="accent1"/>
              </a:solidFill>
              <a:miter lim="800000"/>
              <a:headEnd/>
              <a:tailEnd/>
            </a:ln>
            <a:effectLst/>
          </p:spPr>
          <p:txBody>
            <a:bodyPr wrap="none" rtlCol="0" anchor="ctr"/>
            <a:lstStyle/>
            <a:p>
              <a:pPr defTabSz="932597">
                <a:defRPr/>
              </a:pPr>
              <a:endParaRPr lang="en-US" sz="1836">
                <a:solidFill>
                  <a:prstClr val="black"/>
                </a:solidFill>
                <a:latin typeface="Arial" charset="0"/>
                <a:ea typeface="Arial" charset="0"/>
                <a:cs typeface="Arial" charset="0"/>
              </a:endParaRPr>
            </a:p>
          </p:txBody>
        </p:sp>
        <p:sp>
          <p:nvSpPr>
            <p:cNvPr id="39" name="4-Point Star 37">
              <a:extLst>
                <a:ext uri="{FF2B5EF4-FFF2-40B4-BE49-F238E27FC236}">
                  <a16:creationId xmlns:a16="http://schemas.microsoft.com/office/drawing/2014/main" id="{D3D0AD6F-DA06-486C-A7E5-B3A337CA9413}"/>
                </a:ext>
              </a:extLst>
            </p:cNvPr>
            <p:cNvSpPr/>
            <p:nvPr/>
          </p:nvSpPr>
          <p:spPr bwMode="auto">
            <a:xfrm>
              <a:off x="5040925" y="4360987"/>
              <a:ext cx="140675" cy="140675"/>
            </a:xfrm>
            <a:prstGeom prst="star4">
              <a:avLst>
                <a:gd name="adj" fmla="val 15833"/>
              </a:avLst>
            </a:prstGeom>
            <a:noFill/>
            <a:ln w="22225" cap="rnd">
              <a:solidFill>
                <a:schemeClr val="accent1"/>
              </a:solidFill>
              <a:miter lim="800000"/>
              <a:headEnd/>
              <a:tailEnd/>
            </a:ln>
            <a:effectLst/>
          </p:spPr>
          <p:txBody>
            <a:bodyPr wrap="none" rtlCol="0" anchor="ctr"/>
            <a:lstStyle/>
            <a:p>
              <a:pPr defTabSz="932597">
                <a:defRPr/>
              </a:pPr>
              <a:endParaRPr lang="en-US" sz="1836">
                <a:solidFill>
                  <a:prstClr val="black"/>
                </a:solidFill>
                <a:latin typeface="Arial" charset="0"/>
                <a:ea typeface="Arial" charset="0"/>
                <a:cs typeface="Arial" charset="0"/>
              </a:endParaRPr>
            </a:p>
          </p:txBody>
        </p:sp>
        <p:sp>
          <p:nvSpPr>
            <p:cNvPr id="40" name="4-Point Star 38">
              <a:extLst>
                <a:ext uri="{FF2B5EF4-FFF2-40B4-BE49-F238E27FC236}">
                  <a16:creationId xmlns:a16="http://schemas.microsoft.com/office/drawing/2014/main" id="{6C48F060-8DDD-477F-8D5D-5F1CEEB931ED}"/>
                </a:ext>
              </a:extLst>
            </p:cNvPr>
            <p:cNvSpPr/>
            <p:nvPr/>
          </p:nvSpPr>
          <p:spPr bwMode="auto">
            <a:xfrm>
              <a:off x="3915509" y="3704495"/>
              <a:ext cx="140675" cy="140675"/>
            </a:xfrm>
            <a:prstGeom prst="star4">
              <a:avLst>
                <a:gd name="adj" fmla="val 15833"/>
              </a:avLst>
            </a:prstGeom>
            <a:noFill/>
            <a:ln w="22225" cap="rnd">
              <a:solidFill>
                <a:schemeClr val="accent1"/>
              </a:solidFill>
              <a:miter lim="800000"/>
              <a:headEnd/>
              <a:tailEnd/>
            </a:ln>
            <a:effectLst/>
          </p:spPr>
          <p:txBody>
            <a:bodyPr wrap="none" rtlCol="0" anchor="ctr"/>
            <a:lstStyle/>
            <a:p>
              <a:pPr defTabSz="932597">
                <a:defRPr/>
              </a:pPr>
              <a:endParaRPr lang="en-US" sz="1836">
                <a:solidFill>
                  <a:prstClr val="black"/>
                </a:solidFill>
                <a:latin typeface="Arial" charset="0"/>
                <a:ea typeface="Arial" charset="0"/>
                <a:cs typeface="Arial" charset="0"/>
              </a:endParaRPr>
            </a:p>
          </p:txBody>
        </p:sp>
        <p:cxnSp>
          <p:nvCxnSpPr>
            <p:cNvPr id="41" name="Straight Connector 40">
              <a:extLst>
                <a:ext uri="{FF2B5EF4-FFF2-40B4-BE49-F238E27FC236}">
                  <a16:creationId xmlns:a16="http://schemas.microsoft.com/office/drawing/2014/main" id="{2581641A-DBD7-46DC-B81D-E05B9F64B85A}"/>
                </a:ext>
              </a:extLst>
            </p:cNvPr>
            <p:cNvCxnSpPr>
              <a:stCxn id="17" idx="0"/>
            </p:cNvCxnSpPr>
            <p:nvPr/>
          </p:nvCxnSpPr>
          <p:spPr>
            <a:xfrm flipH="1">
              <a:off x="6127955" y="1760220"/>
              <a:ext cx="1570150" cy="0"/>
            </a:xfrm>
            <a:prstGeom prst="line">
              <a:avLst/>
            </a:prstGeom>
            <a:ln w="2222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8D2DEC22-B208-478D-AB30-A50F7FDA74FB}"/>
                </a:ext>
              </a:extLst>
            </p:cNvPr>
            <p:cNvGrpSpPr/>
            <p:nvPr/>
          </p:nvGrpSpPr>
          <p:grpSpPr>
            <a:xfrm>
              <a:off x="5511720" y="2209165"/>
              <a:ext cx="1165076" cy="687458"/>
              <a:chOff x="1760111" y="-790754"/>
              <a:chExt cx="8156776" cy="4812936"/>
            </a:xfrm>
          </p:grpSpPr>
          <p:sp useBgFill="1">
            <p:nvSpPr>
              <p:cNvPr id="69" name="Freeform 50">
                <a:extLst>
                  <a:ext uri="{FF2B5EF4-FFF2-40B4-BE49-F238E27FC236}">
                    <a16:creationId xmlns:a16="http://schemas.microsoft.com/office/drawing/2014/main" id="{3E7DDE2E-DE3C-41FE-BAC5-FEA5CDF02D71}"/>
                  </a:ext>
                </a:extLst>
              </p:cNvPr>
              <p:cNvSpPr>
                <a:spLocks noChangeArrowheads="1"/>
              </p:cNvSpPr>
              <p:nvPr/>
            </p:nvSpPr>
            <p:spPr bwMode="auto">
              <a:xfrm>
                <a:off x="6309930" y="1533493"/>
                <a:ext cx="3606957" cy="2488689"/>
              </a:xfrm>
              <a:custGeom>
                <a:avLst/>
                <a:gdLst>
                  <a:gd name="T0" fmla="*/ 724 w 1451"/>
                  <a:gd name="T1" fmla="*/ 998 h 999"/>
                  <a:gd name="T2" fmla="*/ 0 w 1451"/>
                  <a:gd name="T3" fmla="*/ 998 h 999"/>
                  <a:gd name="T4" fmla="*/ 0 w 1451"/>
                  <a:gd name="T5" fmla="*/ 0 h 999"/>
                  <a:gd name="T6" fmla="*/ 1450 w 1451"/>
                  <a:gd name="T7" fmla="*/ 0 h 999"/>
                  <a:gd name="T8" fmla="*/ 1450 w 1451"/>
                  <a:gd name="T9" fmla="*/ 998 h 999"/>
                  <a:gd name="T10" fmla="*/ 724 w 1451"/>
                  <a:gd name="T11" fmla="*/ 998 h 999"/>
                </a:gdLst>
                <a:ahLst/>
                <a:cxnLst>
                  <a:cxn ang="0">
                    <a:pos x="T0" y="T1"/>
                  </a:cxn>
                  <a:cxn ang="0">
                    <a:pos x="T2" y="T3"/>
                  </a:cxn>
                  <a:cxn ang="0">
                    <a:pos x="T4" y="T5"/>
                  </a:cxn>
                  <a:cxn ang="0">
                    <a:pos x="T6" y="T7"/>
                  </a:cxn>
                  <a:cxn ang="0">
                    <a:pos x="T8" y="T9"/>
                  </a:cxn>
                  <a:cxn ang="0">
                    <a:pos x="T10" y="T11"/>
                  </a:cxn>
                </a:cxnLst>
                <a:rect l="0" t="0" r="r" b="b"/>
                <a:pathLst>
                  <a:path w="1451" h="999">
                    <a:moveTo>
                      <a:pt x="724" y="998"/>
                    </a:moveTo>
                    <a:lnTo>
                      <a:pt x="0" y="998"/>
                    </a:lnTo>
                    <a:lnTo>
                      <a:pt x="0" y="0"/>
                    </a:lnTo>
                    <a:lnTo>
                      <a:pt x="1450" y="0"/>
                    </a:lnTo>
                    <a:lnTo>
                      <a:pt x="1450" y="998"/>
                    </a:lnTo>
                    <a:lnTo>
                      <a:pt x="724" y="998"/>
                    </a:lnTo>
                  </a:path>
                </a:pathLst>
              </a:custGeom>
              <a:ln w="22225" cap="sq">
                <a:solidFill>
                  <a:schemeClr val="accent1"/>
                </a:solidFill>
                <a:miter lim="800000"/>
                <a:headEnd/>
                <a:tailEnd/>
              </a:ln>
              <a:effectLst/>
            </p:spPr>
            <p:txBody>
              <a:bodyPr wrap="none" anchor="ctr"/>
              <a:lstStyle/>
              <a:p>
                <a:pPr defTabSz="932597">
                  <a:defRPr/>
                </a:pPr>
                <a:endParaRPr lang="en-US" sz="1836" kern="0">
                  <a:solidFill>
                    <a:prstClr val="black"/>
                  </a:solidFill>
                  <a:latin typeface="Arial" charset="0"/>
                  <a:ea typeface="Arial" charset="0"/>
                  <a:cs typeface="Arial" charset="0"/>
                </a:endParaRPr>
              </a:p>
            </p:txBody>
          </p:sp>
          <p:sp useBgFill="1">
            <p:nvSpPr>
              <p:cNvPr id="70" name="Freeform 52">
                <a:extLst>
                  <a:ext uri="{FF2B5EF4-FFF2-40B4-BE49-F238E27FC236}">
                    <a16:creationId xmlns:a16="http://schemas.microsoft.com/office/drawing/2014/main" id="{CF240B5E-724D-4614-AB69-9635D007D2FE}"/>
                  </a:ext>
                </a:extLst>
              </p:cNvPr>
              <p:cNvSpPr>
                <a:spLocks noChangeArrowheads="1"/>
              </p:cNvSpPr>
              <p:nvPr/>
            </p:nvSpPr>
            <p:spPr bwMode="auto">
              <a:xfrm>
                <a:off x="2746816" y="-790754"/>
                <a:ext cx="6216252" cy="3924899"/>
              </a:xfrm>
              <a:custGeom>
                <a:avLst/>
                <a:gdLst>
                  <a:gd name="T0" fmla="*/ 1249 w 2500"/>
                  <a:gd name="T1" fmla="*/ 1577 h 1578"/>
                  <a:gd name="T2" fmla="*/ 0 w 2500"/>
                  <a:gd name="T3" fmla="*/ 1577 h 1578"/>
                  <a:gd name="T4" fmla="*/ 0 w 2500"/>
                  <a:gd name="T5" fmla="*/ 0 h 1578"/>
                  <a:gd name="T6" fmla="*/ 2499 w 2500"/>
                  <a:gd name="T7" fmla="*/ 0 h 1578"/>
                  <a:gd name="T8" fmla="*/ 2499 w 2500"/>
                  <a:gd name="T9" fmla="*/ 1577 h 1578"/>
                  <a:gd name="T10" fmla="*/ 1249 w 2500"/>
                  <a:gd name="T11" fmla="*/ 1577 h 1578"/>
                </a:gdLst>
                <a:ahLst/>
                <a:cxnLst>
                  <a:cxn ang="0">
                    <a:pos x="T0" y="T1"/>
                  </a:cxn>
                  <a:cxn ang="0">
                    <a:pos x="T2" y="T3"/>
                  </a:cxn>
                  <a:cxn ang="0">
                    <a:pos x="T4" y="T5"/>
                  </a:cxn>
                  <a:cxn ang="0">
                    <a:pos x="T6" y="T7"/>
                  </a:cxn>
                  <a:cxn ang="0">
                    <a:pos x="T8" y="T9"/>
                  </a:cxn>
                  <a:cxn ang="0">
                    <a:pos x="T10" y="T11"/>
                  </a:cxn>
                </a:cxnLst>
                <a:rect l="0" t="0" r="r" b="b"/>
                <a:pathLst>
                  <a:path w="2500" h="1578">
                    <a:moveTo>
                      <a:pt x="1249" y="1577"/>
                    </a:moveTo>
                    <a:lnTo>
                      <a:pt x="0" y="1577"/>
                    </a:lnTo>
                    <a:lnTo>
                      <a:pt x="0" y="0"/>
                    </a:lnTo>
                    <a:lnTo>
                      <a:pt x="2499" y="0"/>
                    </a:lnTo>
                    <a:lnTo>
                      <a:pt x="2499" y="1577"/>
                    </a:lnTo>
                    <a:lnTo>
                      <a:pt x="1249" y="1577"/>
                    </a:lnTo>
                  </a:path>
                </a:pathLst>
              </a:custGeom>
              <a:ln w="22225" cap="sq">
                <a:solidFill>
                  <a:schemeClr val="accent1"/>
                </a:solidFill>
                <a:miter lim="800000"/>
                <a:headEnd/>
                <a:tailEnd/>
              </a:ln>
              <a:effectLst/>
            </p:spPr>
            <p:txBody>
              <a:bodyPr wrap="none" anchor="ctr"/>
              <a:lstStyle/>
              <a:p>
                <a:pPr defTabSz="932597">
                  <a:defRPr/>
                </a:pPr>
                <a:endParaRPr lang="en-US" sz="1836" kern="0">
                  <a:solidFill>
                    <a:prstClr val="black"/>
                  </a:solidFill>
                  <a:latin typeface="Arial" charset="0"/>
                  <a:ea typeface="Arial" charset="0"/>
                  <a:cs typeface="Arial" charset="0"/>
                </a:endParaRPr>
              </a:p>
            </p:txBody>
          </p:sp>
          <p:sp useBgFill="1">
            <p:nvSpPr>
              <p:cNvPr id="71" name="Line 54">
                <a:extLst>
                  <a:ext uri="{FF2B5EF4-FFF2-40B4-BE49-F238E27FC236}">
                    <a16:creationId xmlns:a16="http://schemas.microsoft.com/office/drawing/2014/main" id="{364A3360-E917-4B60-93FE-D661BC2B7D96}"/>
                  </a:ext>
                </a:extLst>
              </p:cNvPr>
              <p:cNvSpPr>
                <a:spLocks noChangeShapeType="1"/>
              </p:cNvSpPr>
              <p:nvPr/>
            </p:nvSpPr>
            <p:spPr bwMode="auto">
              <a:xfrm flipH="1">
                <a:off x="6386668" y="2163884"/>
                <a:ext cx="2094017" cy="0"/>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72" name="Line 55">
                <a:extLst>
                  <a:ext uri="{FF2B5EF4-FFF2-40B4-BE49-F238E27FC236}">
                    <a16:creationId xmlns:a16="http://schemas.microsoft.com/office/drawing/2014/main" id="{16411161-EECD-4B88-8D83-F1E4238CFCB5}"/>
                  </a:ext>
                </a:extLst>
              </p:cNvPr>
              <p:cNvSpPr>
                <a:spLocks noChangeShapeType="1"/>
              </p:cNvSpPr>
              <p:nvPr/>
            </p:nvSpPr>
            <p:spPr bwMode="auto">
              <a:xfrm flipH="1">
                <a:off x="7515902" y="2607901"/>
                <a:ext cx="964783" cy="0"/>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73" name="Line 56">
                <a:extLst>
                  <a:ext uri="{FF2B5EF4-FFF2-40B4-BE49-F238E27FC236}">
                    <a16:creationId xmlns:a16="http://schemas.microsoft.com/office/drawing/2014/main" id="{638A732C-B7F5-4B6E-8216-4BC4710FDCAE}"/>
                  </a:ext>
                </a:extLst>
              </p:cNvPr>
              <p:cNvSpPr>
                <a:spLocks noChangeShapeType="1"/>
              </p:cNvSpPr>
              <p:nvPr/>
            </p:nvSpPr>
            <p:spPr bwMode="auto">
              <a:xfrm flipH="1">
                <a:off x="6386668" y="1719865"/>
                <a:ext cx="2094017" cy="0"/>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74" name="Freeform 57">
                <a:extLst>
                  <a:ext uri="{FF2B5EF4-FFF2-40B4-BE49-F238E27FC236}">
                    <a16:creationId xmlns:a16="http://schemas.microsoft.com/office/drawing/2014/main" id="{3DC519EB-8FE0-4C51-849A-BC69EA3CBB93}"/>
                  </a:ext>
                </a:extLst>
              </p:cNvPr>
              <p:cNvSpPr>
                <a:spLocks noChangeArrowheads="1"/>
              </p:cNvSpPr>
              <p:nvPr/>
            </p:nvSpPr>
            <p:spPr bwMode="auto">
              <a:xfrm>
                <a:off x="6836174" y="535814"/>
                <a:ext cx="668762" cy="668772"/>
              </a:xfrm>
              <a:prstGeom prst="ellipse">
                <a:avLst/>
              </a:prstGeom>
              <a:ln w="22225" cap="sq">
                <a:solidFill>
                  <a:schemeClr val="accent1"/>
                </a:solidFill>
                <a:miter lim="800000"/>
                <a:headEnd/>
                <a:tailEnd/>
              </a:ln>
              <a:effectLst/>
            </p:spPr>
            <p:txBody>
              <a:bodyPr wrap="none" anchor="ctr"/>
              <a:lstStyle/>
              <a:p>
                <a:pPr defTabSz="932597">
                  <a:defRPr/>
                </a:pPr>
                <a:endParaRPr lang="en-US" sz="1836" kern="0">
                  <a:solidFill>
                    <a:prstClr val="black"/>
                  </a:solidFill>
                  <a:latin typeface="Arial" charset="0"/>
                  <a:ea typeface="Arial" charset="0"/>
                  <a:cs typeface="Arial" charset="0"/>
                </a:endParaRPr>
              </a:p>
            </p:txBody>
          </p:sp>
          <p:sp useBgFill="1">
            <p:nvSpPr>
              <p:cNvPr id="75" name="Freeform 58">
                <a:extLst>
                  <a:ext uri="{FF2B5EF4-FFF2-40B4-BE49-F238E27FC236}">
                    <a16:creationId xmlns:a16="http://schemas.microsoft.com/office/drawing/2014/main" id="{D08A4BF3-8E33-484B-95E0-68A3283A8C36}"/>
                  </a:ext>
                </a:extLst>
              </p:cNvPr>
              <p:cNvSpPr>
                <a:spLocks noChangeArrowheads="1"/>
              </p:cNvSpPr>
              <p:nvPr/>
            </p:nvSpPr>
            <p:spPr bwMode="auto">
              <a:xfrm>
                <a:off x="4610594" y="1094953"/>
                <a:ext cx="668773" cy="668762"/>
              </a:xfrm>
              <a:prstGeom prst="ellipse">
                <a:avLst/>
              </a:prstGeom>
              <a:ln w="22225" cap="sq">
                <a:solidFill>
                  <a:schemeClr val="accent1"/>
                </a:solidFill>
                <a:miter lim="800000"/>
                <a:headEnd/>
                <a:tailEnd/>
              </a:ln>
              <a:effectLst/>
            </p:spPr>
            <p:txBody>
              <a:bodyPr wrap="none" anchor="ctr"/>
              <a:lstStyle/>
              <a:p>
                <a:pPr defTabSz="932597">
                  <a:defRPr/>
                </a:pPr>
                <a:endParaRPr lang="en-US" sz="1836" kern="0">
                  <a:solidFill>
                    <a:prstClr val="black"/>
                  </a:solidFill>
                  <a:latin typeface="Arial" charset="0"/>
                  <a:ea typeface="Arial" charset="0"/>
                  <a:cs typeface="Arial" charset="0"/>
                </a:endParaRPr>
              </a:p>
            </p:txBody>
          </p:sp>
          <p:sp useBgFill="1">
            <p:nvSpPr>
              <p:cNvPr id="76" name="Freeform 59">
                <a:extLst>
                  <a:ext uri="{FF2B5EF4-FFF2-40B4-BE49-F238E27FC236}">
                    <a16:creationId xmlns:a16="http://schemas.microsoft.com/office/drawing/2014/main" id="{42FAA6C8-BB4A-497C-8275-A429A6A13550}"/>
                  </a:ext>
                </a:extLst>
              </p:cNvPr>
              <p:cNvSpPr>
                <a:spLocks noChangeArrowheads="1"/>
              </p:cNvSpPr>
              <p:nvPr/>
            </p:nvSpPr>
            <p:spPr bwMode="auto">
              <a:xfrm>
                <a:off x="3492326" y="-23314"/>
                <a:ext cx="668773" cy="668762"/>
              </a:xfrm>
              <a:prstGeom prst="ellipse">
                <a:avLst/>
              </a:prstGeom>
              <a:ln w="22225" cap="sq">
                <a:solidFill>
                  <a:schemeClr val="accent1"/>
                </a:solidFill>
                <a:miter lim="800000"/>
                <a:headEnd/>
                <a:tailEnd/>
              </a:ln>
              <a:effectLst/>
            </p:spPr>
            <p:txBody>
              <a:bodyPr wrap="none" anchor="ctr"/>
              <a:lstStyle/>
              <a:p>
                <a:pPr defTabSz="932597">
                  <a:defRPr/>
                </a:pPr>
                <a:endParaRPr lang="en-US" sz="1836" kern="0">
                  <a:solidFill>
                    <a:prstClr val="black"/>
                  </a:solidFill>
                  <a:latin typeface="Arial" charset="0"/>
                  <a:ea typeface="Arial" charset="0"/>
                  <a:cs typeface="Arial" charset="0"/>
                </a:endParaRPr>
              </a:p>
            </p:txBody>
          </p:sp>
          <p:sp useBgFill="1">
            <p:nvSpPr>
              <p:cNvPr id="77" name="Freeform 60">
                <a:extLst>
                  <a:ext uri="{FF2B5EF4-FFF2-40B4-BE49-F238E27FC236}">
                    <a16:creationId xmlns:a16="http://schemas.microsoft.com/office/drawing/2014/main" id="{44EAE024-65B8-4658-94F8-9C38929AB2F2}"/>
                  </a:ext>
                </a:extLst>
              </p:cNvPr>
              <p:cNvSpPr>
                <a:spLocks noChangeArrowheads="1"/>
              </p:cNvSpPr>
              <p:nvPr/>
            </p:nvSpPr>
            <p:spPr bwMode="auto">
              <a:xfrm>
                <a:off x="6057770" y="-242581"/>
                <a:ext cx="668773" cy="668762"/>
              </a:xfrm>
              <a:prstGeom prst="ellipse">
                <a:avLst/>
              </a:prstGeom>
              <a:ln w="22225" cap="sq">
                <a:solidFill>
                  <a:schemeClr val="accent1"/>
                </a:solidFill>
                <a:miter lim="800000"/>
                <a:headEnd/>
                <a:tailEnd/>
              </a:ln>
              <a:effectLst/>
            </p:spPr>
            <p:txBody>
              <a:bodyPr wrap="none" anchor="ctr"/>
              <a:lstStyle/>
              <a:p>
                <a:pPr defTabSz="932597">
                  <a:defRPr/>
                </a:pPr>
                <a:endParaRPr lang="en-US" sz="1836" kern="0">
                  <a:solidFill>
                    <a:prstClr val="black"/>
                  </a:solidFill>
                  <a:latin typeface="Arial" charset="0"/>
                  <a:ea typeface="Arial" charset="0"/>
                  <a:cs typeface="Arial" charset="0"/>
                </a:endParaRPr>
              </a:p>
            </p:txBody>
          </p:sp>
          <p:sp useBgFill="1">
            <p:nvSpPr>
              <p:cNvPr id="78" name="Freeform 61">
                <a:extLst>
                  <a:ext uri="{FF2B5EF4-FFF2-40B4-BE49-F238E27FC236}">
                    <a16:creationId xmlns:a16="http://schemas.microsoft.com/office/drawing/2014/main" id="{60B29734-3830-494E-9352-422EDDC91FD8}"/>
                  </a:ext>
                </a:extLst>
              </p:cNvPr>
              <p:cNvSpPr>
                <a:spLocks noChangeArrowheads="1"/>
              </p:cNvSpPr>
              <p:nvPr/>
            </p:nvSpPr>
            <p:spPr bwMode="auto">
              <a:xfrm>
                <a:off x="7625535" y="-242581"/>
                <a:ext cx="668762" cy="668762"/>
              </a:xfrm>
              <a:prstGeom prst="ellipse">
                <a:avLst/>
              </a:prstGeom>
              <a:ln w="22225" cap="sq">
                <a:solidFill>
                  <a:schemeClr val="accent1"/>
                </a:solidFill>
                <a:miter lim="800000"/>
                <a:headEnd/>
                <a:tailEnd/>
              </a:ln>
              <a:effectLst/>
            </p:spPr>
            <p:txBody>
              <a:bodyPr wrap="none" anchor="ctr"/>
              <a:lstStyle/>
              <a:p>
                <a:pPr defTabSz="932597">
                  <a:defRPr/>
                </a:pPr>
                <a:endParaRPr lang="en-US" sz="1836" kern="0">
                  <a:solidFill>
                    <a:prstClr val="black"/>
                  </a:solidFill>
                  <a:latin typeface="Arial" charset="0"/>
                  <a:ea typeface="Arial" charset="0"/>
                  <a:cs typeface="Arial" charset="0"/>
                </a:endParaRPr>
              </a:p>
            </p:txBody>
          </p:sp>
          <p:sp useBgFill="1">
            <p:nvSpPr>
              <p:cNvPr id="79" name="Line 62">
                <a:extLst>
                  <a:ext uri="{FF2B5EF4-FFF2-40B4-BE49-F238E27FC236}">
                    <a16:creationId xmlns:a16="http://schemas.microsoft.com/office/drawing/2014/main" id="{31FC2BBF-28ED-40EA-953A-9ABEAE1094A0}"/>
                  </a:ext>
                </a:extLst>
              </p:cNvPr>
              <p:cNvSpPr>
                <a:spLocks noChangeShapeType="1"/>
              </p:cNvSpPr>
              <p:nvPr/>
            </p:nvSpPr>
            <p:spPr bwMode="auto">
              <a:xfrm flipV="1">
                <a:off x="7461085" y="360401"/>
                <a:ext cx="317943" cy="339872"/>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80" name="Line 63">
                <a:extLst>
                  <a:ext uri="{FF2B5EF4-FFF2-40B4-BE49-F238E27FC236}">
                    <a16:creationId xmlns:a16="http://schemas.microsoft.com/office/drawing/2014/main" id="{B3DBFAD3-5710-486B-AD65-4ACB0D979541}"/>
                  </a:ext>
                </a:extLst>
              </p:cNvPr>
              <p:cNvSpPr>
                <a:spLocks noChangeShapeType="1"/>
              </p:cNvSpPr>
              <p:nvPr/>
            </p:nvSpPr>
            <p:spPr bwMode="auto">
              <a:xfrm>
                <a:off x="6573048" y="371367"/>
                <a:ext cx="317935" cy="317935"/>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81" name="Line 64">
                <a:extLst>
                  <a:ext uri="{FF2B5EF4-FFF2-40B4-BE49-F238E27FC236}">
                    <a16:creationId xmlns:a16="http://schemas.microsoft.com/office/drawing/2014/main" id="{EFD7710A-658D-40ED-91AC-8F5A92ED7971}"/>
                  </a:ext>
                </a:extLst>
              </p:cNvPr>
              <p:cNvSpPr>
                <a:spLocks noChangeShapeType="1"/>
              </p:cNvSpPr>
              <p:nvPr/>
            </p:nvSpPr>
            <p:spPr bwMode="auto">
              <a:xfrm flipV="1">
                <a:off x="5235510" y="360398"/>
                <a:ext cx="931890" cy="909969"/>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82" name="Line 65">
                <a:extLst>
                  <a:ext uri="{FF2B5EF4-FFF2-40B4-BE49-F238E27FC236}">
                    <a16:creationId xmlns:a16="http://schemas.microsoft.com/office/drawing/2014/main" id="{1D518E54-0260-49D0-A1F6-A33C860EB835}"/>
                  </a:ext>
                </a:extLst>
              </p:cNvPr>
              <p:cNvSpPr>
                <a:spLocks noChangeShapeType="1"/>
              </p:cNvSpPr>
              <p:nvPr/>
            </p:nvSpPr>
            <p:spPr bwMode="auto">
              <a:xfrm>
                <a:off x="4007612" y="601597"/>
                <a:ext cx="657807" cy="657806"/>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83" name="Freeform 66">
                <a:extLst>
                  <a:ext uri="{FF2B5EF4-FFF2-40B4-BE49-F238E27FC236}">
                    <a16:creationId xmlns:a16="http://schemas.microsoft.com/office/drawing/2014/main" id="{5CAFC951-54B3-4230-929A-F5C0F63104F2}"/>
                  </a:ext>
                </a:extLst>
              </p:cNvPr>
              <p:cNvSpPr>
                <a:spLocks noChangeArrowheads="1"/>
              </p:cNvSpPr>
              <p:nvPr/>
            </p:nvSpPr>
            <p:spPr bwMode="auto">
              <a:xfrm>
                <a:off x="1760111" y="1533493"/>
                <a:ext cx="4100313" cy="2488689"/>
              </a:xfrm>
              <a:custGeom>
                <a:avLst/>
                <a:gdLst>
                  <a:gd name="T0" fmla="*/ 825 w 1650"/>
                  <a:gd name="T1" fmla="*/ 998 h 999"/>
                  <a:gd name="T2" fmla="*/ 0 w 1650"/>
                  <a:gd name="T3" fmla="*/ 998 h 999"/>
                  <a:gd name="T4" fmla="*/ 0 w 1650"/>
                  <a:gd name="T5" fmla="*/ 0 h 999"/>
                  <a:gd name="T6" fmla="*/ 1649 w 1650"/>
                  <a:gd name="T7" fmla="*/ 0 h 999"/>
                  <a:gd name="T8" fmla="*/ 1649 w 1650"/>
                  <a:gd name="T9" fmla="*/ 998 h 999"/>
                  <a:gd name="T10" fmla="*/ 825 w 1650"/>
                  <a:gd name="T11" fmla="*/ 998 h 999"/>
                </a:gdLst>
                <a:ahLst/>
                <a:cxnLst>
                  <a:cxn ang="0">
                    <a:pos x="T0" y="T1"/>
                  </a:cxn>
                  <a:cxn ang="0">
                    <a:pos x="T2" y="T3"/>
                  </a:cxn>
                  <a:cxn ang="0">
                    <a:pos x="T4" y="T5"/>
                  </a:cxn>
                  <a:cxn ang="0">
                    <a:pos x="T6" y="T7"/>
                  </a:cxn>
                  <a:cxn ang="0">
                    <a:pos x="T8" y="T9"/>
                  </a:cxn>
                  <a:cxn ang="0">
                    <a:pos x="T10" y="T11"/>
                  </a:cxn>
                </a:cxnLst>
                <a:rect l="0" t="0" r="r" b="b"/>
                <a:pathLst>
                  <a:path w="1650" h="999">
                    <a:moveTo>
                      <a:pt x="825" y="998"/>
                    </a:moveTo>
                    <a:lnTo>
                      <a:pt x="0" y="998"/>
                    </a:lnTo>
                    <a:lnTo>
                      <a:pt x="0" y="0"/>
                    </a:lnTo>
                    <a:lnTo>
                      <a:pt x="1649" y="0"/>
                    </a:lnTo>
                    <a:lnTo>
                      <a:pt x="1649" y="998"/>
                    </a:lnTo>
                    <a:lnTo>
                      <a:pt x="825" y="998"/>
                    </a:lnTo>
                  </a:path>
                </a:pathLst>
              </a:custGeom>
              <a:ln w="22225" cap="sq">
                <a:solidFill>
                  <a:schemeClr val="accent1"/>
                </a:solidFill>
                <a:miter lim="800000"/>
                <a:headEnd/>
                <a:tailEnd/>
              </a:ln>
              <a:effectLst/>
            </p:spPr>
            <p:txBody>
              <a:bodyPr wrap="none" anchor="ctr"/>
              <a:lstStyle/>
              <a:p>
                <a:pPr defTabSz="932597">
                  <a:defRPr/>
                </a:pPr>
                <a:endParaRPr lang="en-US" sz="1836" kern="0">
                  <a:solidFill>
                    <a:prstClr val="black"/>
                  </a:solidFill>
                  <a:latin typeface="Arial" charset="0"/>
                  <a:ea typeface="Arial" charset="0"/>
                  <a:cs typeface="Arial" charset="0"/>
                </a:endParaRPr>
              </a:p>
            </p:txBody>
          </p:sp>
          <p:grpSp>
            <p:nvGrpSpPr>
              <p:cNvPr id="84" name="Group 83">
                <a:extLst>
                  <a:ext uri="{FF2B5EF4-FFF2-40B4-BE49-F238E27FC236}">
                    <a16:creationId xmlns:a16="http://schemas.microsoft.com/office/drawing/2014/main" id="{08B2A6B7-09DA-4631-A7BE-A2AB3AC7F0B6}"/>
                  </a:ext>
                </a:extLst>
              </p:cNvPr>
              <p:cNvGrpSpPr/>
              <p:nvPr/>
            </p:nvGrpSpPr>
            <p:grpSpPr>
              <a:xfrm>
                <a:off x="4150130" y="3013548"/>
                <a:ext cx="909969" cy="701665"/>
                <a:chOff x="5196160" y="2147519"/>
                <a:chExt cx="346197" cy="266948"/>
              </a:xfrm>
            </p:grpSpPr>
            <p:sp useBgFill="1">
              <p:nvSpPr>
                <p:cNvPr id="95" name="Line 68">
                  <a:extLst>
                    <a:ext uri="{FF2B5EF4-FFF2-40B4-BE49-F238E27FC236}">
                      <a16:creationId xmlns:a16="http://schemas.microsoft.com/office/drawing/2014/main" id="{996BE1A1-A891-418D-8AE4-7BC5DC0CCA46}"/>
                    </a:ext>
                  </a:extLst>
                </p:cNvPr>
                <p:cNvSpPr>
                  <a:spLocks noChangeShapeType="1"/>
                </p:cNvSpPr>
                <p:nvPr/>
              </p:nvSpPr>
              <p:spPr bwMode="auto">
                <a:xfrm flipV="1">
                  <a:off x="5196160" y="2339387"/>
                  <a:ext cx="0" cy="75080"/>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96" name="Line 69">
                  <a:extLst>
                    <a:ext uri="{FF2B5EF4-FFF2-40B4-BE49-F238E27FC236}">
                      <a16:creationId xmlns:a16="http://schemas.microsoft.com/office/drawing/2014/main" id="{F911C9B8-E125-4118-B6DE-A7004536FACC}"/>
                    </a:ext>
                  </a:extLst>
                </p:cNvPr>
                <p:cNvSpPr>
                  <a:spLocks noChangeShapeType="1"/>
                </p:cNvSpPr>
                <p:nvPr/>
              </p:nvSpPr>
              <p:spPr bwMode="auto">
                <a:xfrm flipV="1">
                  <a:off x="5282709" y="2255965"/>
                  <a:ext cx="0" cy="158499"/>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97" name="Line 70">
                  <a:extLst>
                    <a:ext uri="{FF2B5EF4-FFF2-40B4-BE49-F238E27FC236}">
                      <a16:creationId xmlns:a16="http://schemas.microsoft.com/office/drawing/2014/main" id="{0715D2A2-F325-4B80-82D1-67AB7D21D7D4}"/>
                    </a:ext>
                  </a:extLst>
                </p:cNvPr>
                <p:cNvSpPr>
                  <a:spLocks noChangeShapeType="1"/>
                </p:cNvSpPr>
                <p:nvPr/>
              </p:nvSpPr>
              <p:spPr bwMode="auto">
                <a:xfrm flipV="1">
                  <a:off x="5369258" y="2297674"/>
                  <a:ext cx="0" cy="116789"/>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98" name="Line 71">
                  <a:extLst>
                    <a:ext uri="{FF2B5EF4-FFF2-40B4-BE49-F238E27FC236}">
                      <a16:creationId xmlns:a16="http://schemas.microsoft.com/office/drawing/2014/main" id="{1ACF7C04-0DBB-490A-921E-2DE07338CF46}"/>
                    </a:ext>
                  </a:extLst>
                </p:cNvPr>
                <p:cNvSpPr>
                  <a:spLocks noChangeShapeType="1"/>
                </p:cNvSpPr>
                <p:nvPr/>
              </p:nvSpPr>
              <p:spPr bwMode="auto">
                <a:xfrm flipV="1">
                  <a:off x="5455807" y="2147519"/>
                  <a:ext cx="0" cy="266945"/>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99" name="Line 72">
                  <a:extLst>
                    <a:ext uri="{FF2B5EF4-FFF2-40B4-BE49-F238E27FC236}">
                      <a16:creationId xmlns:a16="http://schemas.microsoft.com/office/drawing/2014/main" id="{FA9033BE-3950-408A-ACE5-8AD598813633}"/>
                    </a:ext>
                  </a:extLst>
                </p:cNvPr>
                <p:cNvSpPr>
                  <a:spLocks noChangeShapeType="1"/>
                </p:cNvSpPr>
                <p:nvPr/>
              </p:nvSpPr>
              <p:spPr bwMode="auto">
                <a:xfrm flipV="1">
                  <a:off x="5542357" y="2235113"/>
                  <a:ext cx="0" cy="179354"/>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grpSp>
          <p:sp useBgFill="1">
            <p:nvSpPr>
              <p:cNvPr id="85" name="Line 73">
                <a:extLst>
                  <a:ext uri="{FF2B5EF4-FFF2-40B4-BE49-F238E27FC236}">
                    <a16:creationId xmlns:a16="http://schemas.microsoft.com/office/drawing/2014/main" id="{E111D0AD-55AA-4275-BC32-9A22A291A691}"/>
                  </a:ext>
                </a:extLst>
              </p:cNvPr>
              <p:cNvSpPr>
                <a:spLocks noChangeShapeType="1"/>
              </p:cNvSpPr>
              <p:nvPr/>
            </p:nvSpPr>
            <p:spPr bwMode="auto">
              <a:xfrm>
                <a:off x="2692009" y="3419200"/>
                <a:ext cx="559129" cy="0"/>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86" name="Line 74">
                <a:extLst>
                  <a:ext uri="{FF2B5EF4-FFF2-40B4-BE49-F238E27FC236}">
                    <a16:creationId xmlns:a16="http://schemas.microsoft.com/office/drawing/2014/main" id="{84485DF3-2481-4AFC-8993-B8FC63E26079}"/>
                  </a:ext>
                </a:extLst>
              </p:cNvPr>
              <p:cNvSpPr>
                <a:spLocks noChangeShapeType="1"/>
              </p:cNvSpPr>
              <p:nvPr/>
            </p:nvSpPr>
            <p:spPr bwMode="auto">
              <a:xfrm>
                <a:off x="2692009" y="3649423"/>
                <a:ext cx="844178" cy="0"/>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87" name="Freeform 75">
                <a:extLst>
                  <a:ext uri="{FF2B5EF4-FFF2-40B4-BE49-F238E27FC236}">
                    <a16:creationId xmlns:a16="http://schemas.microsoft.com/office/drawing/2014/main" id="{5E5DEFA1-4E05-4D17-B901-A82657B5923A}"/>
                  </a:ext>
                </a:extLst>
              </p:cNvPr>
              <p:cNvSpPr>
                <a:spLocks noChangeArrowheads="1"/>
              </p:cNvSpPr>
              <p:nvPr/>
            </p:nvSpPr>
            <p:spPr bwMode="auto">
              <a:xfrm>
                <a:off x="2637182" y="1906244"/>
                <a:ext cx="1184050" cy="1195006"/>
              </a:xfrm>
              <a:custGeom>
                <a:avLst/>
                <a:gdLst>
                  <a:gd name="T0" fmla="*/ 477 w 478"/>
                  <a:gd name="T1" fmla="*/ 239 h 480"/>
                  <a:gd name="T2" fmla="*/ 239 w 478"/>
                  <a:gd name="T3" fmla="*/ 479 h 480"/>
                  <a:gd name="T4" fmla="*/ 0 w 478"/>
                  <a:gd name="T5" fmla="*/ 239 h 480"/>
                  <a:gd name="T6" fmla="*/ 239 w 478"/>
                  <a:gd name="T7" fmla="*/ 0 h 480"/>
                  <a:gd name="T8" fmla="*/ 477 w 478"/>
                  <a:gd name="T9" fmla="*/ 239 h 480"/>
                </a:gdLst>
                <a:ahLst/>
                <a:cxnLst>
                  <a:cxn ang="0">
                    <a:pos x="T0" y="T1"/>
                  </a:cxn>
                  <a:cxn ang="0">
                    <a:pos x="T2" y="T3"/>
                  </a:cxn>
                  <a:cxn ang="0">
                    <a:pos x="T4" y="T5"/>
                  </a:cxn>
                  <a:cxn ang="0">
                    <a:pos x="T6" y="T7"/>
                  </a:cxn>
                  <a:cxn ang="0">
                    <a:pos x="T8" y="T9"/>
                  </a:cxn>
                </a:cxnLst>
                <a:rect l="0" t="0" r="r" b="b"/>
                <a:pathLst>
                  <a:path w="478" h="480">
                    <a:moveTo>
                      <a:pt x="477" y="239"/>
                    </a:moveTo>
                    <a:cubicBezTo>
                      <a:pt x="477" y="370"/>
                      <a:pt x="371" y="479"/>
                      <a:pt x="239" y="479"/>
                    </a:cubicBezTo>
                    <a:cubicBezTo>
                      <a:pt x="108" y="479"/>
                      <a:pt x="0" y="371"/>
                      <a:pt x="0" y="239"/>
                    </a:cubicBezTo>
                    <a:cubicBezTo>
                      <a:pt x="0" y="108"/>
                      <a:pt x="108" y="0"/>
                      <a:pt x="239" y="0"/>
                    </a:cubicBezTo>
                    <a:cubicBezTo>
                      <a:pt x="371" y="0"/>
                      <a:pt x="477" y="107"/>
                      <a:pt x="477" y="239"/>
                    </a:cubicBezTo>
                  </a:path>
                </a:pathLst>
              </a:custGeom>
              <a:ln w="22225" cap="sq">
                <a:solidFill>
                  <a:schemeClr val="accent1"/>
                </a:solidFill>
                <a:miter lim="800000"/>
                <a:headEnd/>
                <a:tailEnd/>
              </a:ln>
              <a:effectLst/>
            </p:spPr>
            <p:txBody>
              <a:bodyPr wrap="none" anchor="ctr"/>
              <a:lstStyle/>
              <a:p>
                <a:pPr defTabSz="932597">
                  <a:defRPr/>
                </a:pPr>
                <a:endParaRPr lang="en-US" sz="1836" kern="0">
                  <a:solidFill>
                    <a:prstClr val="black"/>
                  </a:solidFill>
                  <a:latin typeface="Arial" charset="0"/>
                  <a:ea typeface="Arial" charset="0"/>
                  <a:cs typeface="Arial" charset="0"/>
                </a:endParaRPr>
              </a:p>
            </p:txBody>
          </p:sp>
          <p:sp useBgFill="1">
            <p:nvSpPr>
              <p:cNvPr id="88" name="Freeform 76">
                <a:extLst>
                  <a:ext uri="{FF2B5EF4-FFF2-40B4-BE49-F238E27FC236}">
                    <a16:creationId xmlns:a16="http://schemas.microsoft.com/office/drawing/2014/main" id="{D0404036-36A9-4B9E-A30E-151C533E38EB}"/>
                  </a:ext>
                </a:extLst>
              </p:cNvPr>
              <p:cNvSpPr>
                <a:spLocks noChangeArrowheads="1"/>
              </p:cNvSpPr>
              <p:nvPr/>
            </p:nvSpPr>
            <p:spPr bwMode="auto">
              <a:xfrm>
                <a:off x="3207279" y="1884323"/>
                <a:ext cx="635877" cy="635877"/>
              </a:xfrm>
              <a:custGeom>
                <a:avLst/>
                <a:gdLst>
                  <a:gd name="T0" fmla="*/ 0 w 256"/>
                  <a:gd name="T1" fmla="*/ 6 h 254"/>
                  <a:gd name="T2" fmla="*/ 0 w 256"/>
                  <a:gd name="T3" fmla="*/ 6 h 254"/>
                  <a:gd name="T4" fmla="*/ 0 w 256"/>
                  <a:gd name="T5" fmla="*/ 253 h 254"/>
                  <a:gd name="T6" fmla="*/ 0 w 256"/>
                  <a:gd name="T7" fmla="*/ 253 h 254"/>
                  <a:gd name="T8" fmla="*/ 247 w 256"/>
                  <a:gd name="T9" fmla="*/ 253 h 254"/>
                  <a:gd name="T10" fmla="*/ 247 w 256"/>
                  <a:gd name="T11" fmla="*/ 253 h 254"/>
                  <a:gd name="T12" fmla="*/ 0 w 256"/>
                  <a:gd name="T13" fmla="*/ 6 h 254"/>
                </a:gdLst>
                <a:ahLst/>
                <a:cxnLst>
                  <a:cxn ang="0">
                    <a:pos x="T0" y="T1"/>
                  </a:cxn>
                  <a:cxn ang="0">
                    <a:pos x="T2" y="T3"/>
                  </a:cxn>
                  <a:cxn ang="0">
                    <a:pos x="T4" y="T5"/>
                  </a:cxn>
                  <a:cxn ang="0">
                    <a:pos x="T6" y="T7"/>
                  </a:cxn>
                  <a:cxn ang="0">
                    <a:pos x="T8" y="T9"/>
                  </a:cxn>
                  <a:cxn ang="0">
                    <a:pos x="T10" y="T11"/>
                  </a:cxn>
                  <a:cxn ang="0">
                    <a:pos x="T12" y="T13"/>
                  </a:cxn>
                </a:cxnLst>
                <a:rect l="0" t="0" r="r" b="b"/>
                <a:pathLst>
                  <a:path w="256" h="254">
                    <a:moveTo>
                      <a:pt x="0" y="6"/>
                    </a:moveTo>
                    <a:lnTo>
                      <a:pt x="0" y="6"/>
                    </a:lnTo>
                    <a:lnTo>
                      <a:pt x="0" y="253"/>
                    </a:lnTo>
                    <a:lnTo>
                      <a:pt x="0" y="253"/>
                    </a:lnTo>
                    <a:lnTo>
                      <a:pt x="247" y="253"/>
                    </a:lnTo>
                    <a:lnTo>
                      <a:pt x="247" y="253"/>
                    </a:lnTo>
                    <a:cubicBezTo>
                      <a:pt x="255" y="116"/>
                      <a:pt x="140" y="0"/>
                      <a:pt x="0" y="6"/>
                    </a:cubicBezTo>
                  </a:path>
                </a:pathLst>
              </a:custGeom>
              <a:ln w="22225" cap="sq">
                <a:solidFill>
                  <a:schemeClr val="accent1"/>
                </a:solidFill>
                <a:miter lim="800000"/>
                <a:headEnd/>
                <a:tailEnd/>
              </a:ln>
              <a:effectLst/>
            </p:spPr>
            <p:txBody>
              <a:bodyPr wrap="none" anchor="ctr"/>
              <a:lstStyle/>
              <a:p>
                <a:pPr defTabSz="932597">
                  <a:defRPr/>
                </a:pPr>
                <a:endParaRPr lang="en-US" sz="1836" kern="0">
                  <a:solidFill>
                    <a:prstClr val="black"/>
                  </a:solidFill>
                  <a:latin typeface="Arial" charset="0"/>
                  <a:ea typeface="Arial" charset="0"/>
                  <a:cs typeface="Arial" charset="0"/>
                </a:endParaRPr>
              </a:p>
            </p:txBody>
          </p:sp>
          <p:sp useBgFill="1">
            <p:nvSpPr>
              <p:cNvPr id="89" name="Line 77">
                <a:extLst>
                  <a:ext uri="{FF2B5EF4-FFF2-40B4-BE49-F238E27FC236}">
                    <a16:creationId xmlns:a16="http://schemas.microsoft.com/office/drawing/2014/main" id="{45FED4F0-84D2-4A16-8B6C-39BC178B72D3}"/>
                  </a:ext>
                </a:extLst>
              </p:cNvPr>
              <p:cNvSpPr>
                <a:spLocks noChangeShapeType="1"/>
              </p:cNvSpPr>
              <p:nvPr/>
            </p:nvSpPr>
            <p:spPr bwMode="auto">
              <a:xfrm>
                <a:off x="3207279" y="2520200"/>
                <a:ext cx="427576" cy="427566"/>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90" name="Line 78">
                <a:extLst>
                  <a:ext uri="{FF2B5EF4-FFF2-40B4-BE49-F238E27FC236}">
                    <a16:creationId xmlns:a16="http://schemas.microsoft.com/office/drawing/2014/main" id="{DAFF8AE7-2C70-4751-BDCA-96208CE7852D}"/>
                  </a:ext>
                </a:extLst>
              </p:cNvPr>
              <p:cNvSpPr>
                <a:spLocks noChangeShapeType="1"/>
              </p:cNvSpPr>
              <p:nvPr/>
            </p:nvSpPr>
            <p:spPr bwMode="auto">
              <a:xfrm>
                <a:off x="4325547" y="2240623"/>
                <a:ext cx="449505" cy="0"/>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91" name="Line 79">
                <a:extLst>
                  <a:ext uri="{FF2B5EF4-FFF2-40B4-BE49-F238E27FC236}">
                    <a16:creationId xmlns:a16="http://schemas.microsoft.com/office/drawing/2014/main" id="{5337F20E-C14F-4496-B541-8BA6F5CC4386}"/>
                  </a:ext>
                </a:extLst>
              </p:cNvPr>
              <p:cNvSpPr>
                <a:spLocks noChangeShapeType="1"/>
              </p:cNvSpPr>
              <p:nvPr/>
            </p:nvSpPr>
            <p:spPr bwMode="auto">
              <a:xfrm>
                <a:off x="4895649" y="1966541"/>
                <a:ext cx="164458" cy="0"/>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92" name="Line 80">
                <a:extLst>
                  <a:ext uri="{FF2B5EF4-FFF2-40B4-BE49-F238E27FC236}">
                    <a16:creationId xmlns:a16="http://schemas.microsoft.com/office/drawing/2014/main" id="{C63D977D-82EE-444A-A6A8-23FC632B5F2D}"/>
                  </a:ext>
                </a:extLst>
              </p:cNvPr>
              <p:cNvSpPr>
                <a:spLocks noChangeShapeType="1"/>
              </p:cNvSpPr>
              <p:nvPr/>
            </p:nvSpPr>
            <p:spPr bwMode="auto">
              <a:xfrm>
                <a:off x="4325547" y="1966541"/>
                <a:ext cx="109634" cy="0"/>
              </a:xfrm>
              <a:prstGeom prst="line">
                <a:avLst/>
              </a:prstGeom>
              <a:ln w="22225" cap="sq">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kern="0">
                  <a:solidFill>
                    <a:prstClr val="black"/>
                  </a:solidFill>
                  <a:latin typeface="Arial" charset="0"/>
                  <a:ea typeface="Arial" charset="0"/>
                  <a:cs typeface="Arial" charset="0"/>
                </a:endParaRPr>
              </a:p>
            </p:txBody>
          </p:sp>
          <p:sp useBgFill="1">
            <p:nvSpPr>
              <p:cNvPr id="93" name="Freeform 81">
                <a:extLst>
                  <a:ext uri="{FF2B5EF4-FFF2-40B4-BE49-F238E27FC236}">
                    <a16:creationId xmlns:a16="http://schemas.microsoft.com/office/drawing/2014/main" id="{8174C730-CECF-4D7D-AADE-F191D324CE8C}"/>
                  </a:ext>
                </a:extLst>
              </p:cNvPr>
              <p:cNvSpPr>
                <a:spLocks noChangeArrowheads="1"/>
              </p:cNvSpPr>
              <p:nvPr/>
            </p:nvSpPr>
            <p:spPr bwMode="auto">
              <a:xfrm>
                <a:off x="4621568" y="1906244"/>
                <a:ext cx="91440" cy="91440"/>
              </a:xfrm>
              <a:prstGeom prst="ellipse">
                <a:avLst/>
              </a:prstGeom>
              <a:ln w="22225" cap="sq">
                <a:solidFill>
                  <a:schemeClr val="accent1"/>
                </a:solidFill>
                <a:miter lim="800000"/>
                <a:headEnd/>
                <a:tailEnd/>
              </a:ln>
              <a:effectLst/>
            </p:spPr>
            <p:txBody>
              <a:bodyPr wrap="none" anchor="ctr"/>
              <a:lstStyle/>
              <a:p>
                <a:pPr defTabSz="932597">
                  <a:defRPr/>
                </a:pPr>
                <a:endParaRPr lang="en-US" sz="1836" kern="0">
                  <a:solidFill>
                    <a:prstClr val="black"/>
                  </a:solidFill>
                  <a:latin typeface="Arial" charset="0"/>
                  <a:ea typeface="Arial" charset="0"/>
                  <a:cs typeface="Arial" charset="0"/>
                </a:endParaRPr>
              </a:p>
            </p:txBody>
          </p:sp>
          <p:sp useBgFill="1">
            <p:nvSpPr>
              <p:cNvPr id="94" name="Freeform 82">
                <a:extLst>
                  <a:ext uri="{FF2B5EF4-FFF2-40B4-BE49-F238E27FC236}">
                    <a16:creationId xmlns:a16="http://schemas.microsoft.com/office/drawing/2014/main" id="{CFB3012E-6CE8-4F72-8F5B-AB8500657E25}"/>
                  </a:ext>
                </a:extLst>
              </p:cNvPr>
              <p:cNvSpPr>
                <a:spLocks noChangeArrowheads="1"/>
              </p:cNvSpPr>
              <p:nvPr/>
            </p:nvSpPr>
            <p:spPr bwMode="auto">
              <a:xfrm>
                <a:off x="5016249" y="2180325"/>
                <a:ext cx="91440" cy="91440"/>
              </a:xfrm>
              <a:prstGeom prst="ellipse">
                <a:avLst/>
              </a:prstGeom>
              <a:ln w="22225" cap="sq">
                <a:solidFill>
                  <a:schemeClr val="accent1"/>
                </a:solidFill>
                <a:miter lim="800000"/>
                <a:headEnd/>
                <a:tailEnd/>
              </a:ln>
              <a:effectLst/>
            </p:spPr>
            <p:txBody>
              <a:bodyPr wrap="none" anchor="ctr"/>
              <a:lstStyle/>
              <a:p>
                <a:pPr defTabSz="932597">
                  <a:defRPr/>
                </a:pPr>
                <a:endParaRPr lang="en-US" sz="1836" kern="0">
                  <a:solidFill>
                    <a:prstClr val="black"/>
                  </a:solidFill>
                  <a:latin typeface="Arial" charset="0"/>
                  <a:ea typeface="Arial" charset="0"/>
                  <a:cs typeface="Arial" charset="0"/>
                </a:endParaRPr>
              </a:p>
            </p:txBody>
          </p:sp>
        </p:grpSp>
        <p:grpSp>
          <p:nvGrpSpPr>
            <p:cNvPr id="43" name="Group 42">
              <a:extLst>
                <a:ext uri="{FF2B5EF4-FFF2-40B4-BE49-F238E27FC236}">
                  <a16:creationId xmlns:a16="http://schemas.microsoft.com/office/drawing/2014/main" id="{939A4275-E425-4AC6-8B76-1749DE1046D9}"/>
                </a:ext>
              </a:extLst>
            </p:cNvPr>
            <p:cNvGrpSpPr/>
            <p:nvPr/>
          </p:nvGrpSpPr>
          <p:grpSpPr>
            <a:xfrm>
              <a:off x="5012176" y="3134705"/>
              <a:ext cx="328450" cy="398692"/>
              <a:chOff x="11552237" y="3395221"/>
              <a:chExt cx="380999" cy="462480"/>
            </a:xfrm>
          </p:grpSpPr>
          <p:sp useBgFill="1">
            <p:nvSpPr>
              <p:cNvPr id="67" name="Oval 66">
                <a:extLst>
                  <a:ext uri="{FF2B5EF4-FFF2-40B4-BE49-F238E27FC236}">
                    <a16:creationId xmlns:a16="http://schemas.microsoft.com/office/drawing/2014/main" id="{A6AA975E-F3D0-497F-BD46-6CB5570FF6DF}"/>
                  </a:ext>
                </a:extLst>
              </p:cNvPr>
              <p:cNvSpPr/>
              <p:nvPr/>
            </p:nvSpPr>
            <p:spPr bwMode="auto">
              <a:xfrm>
                <a:off x="11601150" y="3395221"/>
                <a:ext cx="283172" cy="289502"/>
              </a:xfrm>
              <a:prstGeom prst="ellipse">
                <a:avLst/>
              </a:prstGeom>
              <a:ln w="2222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useBgFill="1">
            <p:nvSpPr>
              <p:cNvPr id="68" name="Rectangle 67">
                <a:extLst>
                  <a:ext uri="{FF2B5EF4-FFF2-40B4-BE49-F238E27FC236}">
                    <a16:creationId xmlns:a16="http://schemas.microsoft.com/office/drawing/2014/main" id="{EF297393-DEC4-47AF-A981-2A49F0AE9410}"/>
                  </a:ext>
                </a:extLst>
              </p:cNvPr>
              <p:cNvSpPr/>
              <p:nvPr/>
            </p:nvSpPr>
            <p:spPr bwMode="auto">
              <a:xfrm>
                <a:off x="11552237" y="3552901"/>
                <a:ext cx="380999" cy="304800"/>
              </a:xfrm>
              <a:prstGeom prst="rect">
                <a:avLst/>
              </a:prstGeom>
              <a:ln w="2222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grpSp>
        <p:sp>
          <p:nvSpPr>
            <p:cNvPr id="44" name="Cylinder 513">
              <a:extLst>
                <a:ext uri="{FF2B5EF4-FFF2-40B4-BE49-F238E27FC236}">
                  <a16:creationId xmlns:a16="http://schemas.microsoft.com/office/drawing/2014/main" id="{FCEA3BA9-2B70-4CFC-8DD5-6226FB128A52}"/>
                </a:ext>
              </a:extLst>
            </p:cNvPr>
            <p:cNvSpPr/>
            <p:nvPr/>
          </p:nvSpPr>
          <p:spPr bwMode="auto">
            <a:xfrm>
              <a:off x="6594420" y="4805821"/>
              <a:ext cx="351286" cy="461504"/>
            </a:xfrm>
            <a:prstGeom prst="can">
              <a:avLst>
                <a:gd name="adj" fmla="val 39530"/>
              </a:avLst>
            </a:prstGeom>
            <a:solidFill>
              <a:schemeClr val="bg1"/>
            </a:solid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a:solidFill>
                  <a:srgbClr val="0078D7"/>
                </a:solidFill>
                <a:latin typeface="Segoe UI 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45B6DEEC-154F-4B4B-A417-BFAEDAEB52F3}"/>
                </a:ext>
              </a:extLst>
            </p:cNvPr>
            <p:cNvGrpSpPr/>
            <p:nvPr/>
          </p:nvGrpSpPr>
          <p:grpSpPr>
            <a:xfrm>
              <a:off x="5167394" y="4784354"/>
              <a:ext cx="719840" cy="626442"/>
              <a:chOff x="1777107" y="1240971"/>
              <a:chExt cx="1471494" cy="1280568"/>
            </a:xfrm>
            <a:solidFill>
              <a:schemeClr val="bg1"/>
            </a:solidFill>
          </p:grpSpPr>
          <p:sp>
            <p:nvSpPr>
              <p:cNvPr id="56" name="Freeform 18">
                <a:extLst>
                  <a:ext uri="{FF2B5EF4-FFF2-40B4-BE49-F238E27FC236}">
                    <a16:creationId xmlns:a16="http://schemas.microsoft.com/office/drawing/2014/main" id="{5213088D-BD89-4531-88A5-80DAD29EC967}"/>
                  </a:ext>
                </a:extLst>
              </p:cNvPr>
              <p:cNvSpPr>
                <a:spLocks noChangeArrowheads="1"/>
              </p:cNvSpPr>
              <p:nvPr/>
            </p:nvSpPr>
            <p:spPr bwMode="auto">
              <a:xfrm>
                <a:off x="1777107" y="1240971"/>
                <a:ext cx="1471494" cy="115101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grpFill/>
              <a:ln w="22225" cap="rnd">
                <a:solidFill>
                  <a:schemeClr val="accent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prstClr val="black"/>
                  </a:solidFill>
                  <a:latin typeface="Arial" charset="0"/>
                  <a:ea typeface="Arial" charset="0"/>
                  <a:cs typeface="Arial" charset="0"/>
                </a:endParaRPr>
              </a:p>
            </p:txBody>
          </p:sp>
          <p:sp>
            <p:nvSpPr>
              <p:cNvPr id="57" name="Line 19">
                <a:extLst>
                  <a:ext uri="{FF2B5EF4-FFF2-40B4-BE49-F238E27FC236}">
                    <a16:creationId xmlns:a16="http://schemas.microsoft.com/office/drawing/2014/main" id="{034FCAD4-3A06-4EC1-B598-DA7F5B5F013B}"/>
                  </a:ext>
                </a:extLst>
              </p:cNvPr>
              <p:cNvSpPr>
                <a:spLocks noChangeShapeType="1"/>
              </p:cNvSpPr>
              <p:nvPr/>
            </p:nvSpPr>
            <p:spPr bwMode="auto">
              <a:xfrm>
                <a:off x="2060746" y="2521539"/>
                <a:ext cx="904217" cy="0"/>
              </a:xfrm>
              <a:prstGeom prst="line">
                <a:avLst/>
              </a:prstGeom>
              <a:grpFill/>
              <a:ln w="22225" cap="rnd">
                <a:solidFill>
                  <a:schemeClr val="accent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a:solidFill>
                    <a:prstClr val="black"/>
                  </a:solidFill>
                  <a:latin typeface="Arial" charset="0"/>
                  <a:ea typeface="Arial" charset="0"/>
                  <a:cs typeface="Arial" charset="0"/>
                </a:endParaRPr>
              </a:p>
            </p:txBody>
          </p:sp>
          <p:sp>
            <p:nvSpPr>
              <p:cNvPr id="58" name="Line 20">
                <a:extLst>
                  <a:ext uri="{FF2B5EF4-FFF2-40B4-BE49-F238E27FC236}">
                    <a16:creationId xmlns:a16="http://schemas.microsoft.com/office/drawing/2014/main" id="{29A35D7B-A2E9-4489-9473-21E34FAF86E6}"/>
                  </a:ext>
                </a:extLst>
              </p:cNvPr>
              <p:cNvSpPr>
                <a:spLocks noChangeShapeType="1"/>
              </p:cNvSpPr>
              <p:nvPr/>
            </p:nvSpPr>
            <p:spPr bwMode="auto">
              <a:xfrm>
                <a:off x="2512854" y="2393347"/>
                <a:ext cx="0" cy="128192"/>
              </a:xfrm>
              <a:prstGeom prst="line">
                <a:avLst/>
              </a:prstGeom>
              <a:grpFill/>
              <a:ln w="22225" cap="rnd">
                <a:solidFill>
                  <a:schemeClr val="accent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a:solidFill>
                    <a:prstClr val="black"/>
                  </a:solidFill>
                  <a:latin typeface="Arial" charset="0"/>
                  <a:ea typeface="Arial" charset="0"/>
                  <a:cs typeface="Arial" charset="0"/>
                </a:endParaRPr>
              </a:p>
            </p:txBody>
          </p:sp>
          <p:sp>
            <p:nvSpPr>
              <p:cNvPr id="59" name="Freeform 21">
                <a:extLst>
                  <a:ext uri="{FF2B5EF4-FFF2-40B4-BE49-F238E27FC236}">
                    <a16:creationId xmlns:a16="http://schemas.microsoft.com/office/drawing/2014/main" id="{E2EF66BD-AD1B-4B7F-AC29-50CE1AEB4905}"/>
                  </a:ext>
                </a:extLst>
              </p:cNvPr>
              <p:cNvSpPr>
                <a:spLocks noChangeArrowheads="1"/>
              </p:cNvSpPr>
              <p:nvPr/>
            </p:nvSpPr>
            <p:spPr bwMode="auto">
              <a:xfrm>
                <a:off x="2480806" y="2232421"/>
                <a:ext cx="64096" cy="64096"/>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grpFill/>
              <a:ln w="22225" cap="rnd">
                <a:solidFill>
                  <a:schemeClr val="accent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prstClr val="black"/>
                  </a:solidFill>
                  <a:latin typeface="Arial" charset="0"/>
                  <a:ea typeface="Arial" charset="0"/>
                  <a:cs typeface="Arial" charset="0"/>
                </a:endParaRPr>
              </a:p>
            </p:txBody>
          </p:sp>
          <p:sp>
            <p:nvSpPr>
              <p:cNvPr id="60" name="Line 22">
                <a:extLst>
                  <a:ext uri="{FF2B5EF4-FFF2-40B4-BE49-F238E27FC236}">
                    <a16:creationId xmlns:a16="http://schemas.microsoft.com/office/drawing/2014/main" id="{21EE00B6-C364-400C-96B3-6943C27FD70F}"/>
                  </a:ext>
                </a:extLst>
              </p:cNvPr>
              <p:cNvSpPr>
                <a:spLocks noChangeShapeType="1"/>
              </p:cNvSpPr>
              <p:nvPr/>
            </p:nvSpPr>
            <p:spPr bwMode="auto">
              <a:xfrm>
                <a:off x="1777107" y="2136958"/>
                <a:ext cx="1471494" cy="1362"/>
              </a:xfrm>
              <a:prstGeom prst="line">
                <a:avLst/>
              </a:prstGeom>
              <a:grpFill/>
              <a:ln w="22225" cap="rnd">
                <a:solidFill>
                  <a:schemeClr val="accent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a:solidFill>
                    <a:prstClr val="black"/>
                  </a:solidFill>
                  <a:latin typeface="Arial" charset="0"/>
                  <a:ea typeface="Arial" charset="0"/>
                  <a:cs typeface="Arial" charset="0"/>
                </a:endParaRPr>
              </a:p>
            </p:txBody>
          </p:sp>
          <p:sp>
            <p:nvSpPr>
              <p:cNvPr id="61" name="Freeform 23">
                <a:extLst>
                  <a:ext uri="{FF2B5EF4-FFF2-40B4-BE49-F238E27FC236}">
                    <a16:creationId xmlns:a16="http://schemas.microsoft.com/office/drawing/2014/main" id="{05B2BFE2-0712-479C-84A7-721C6972BC0A}"/>
                  </a:ext>
                </a:extLst>
              </p:cNvPr>
              <p:cNvSpPr>
                <a:spLocks noChangeArrowheads="1"/>
              </p:cNvSpPr>
              <p:nvPr/>
            </p:nvSpPr>
            <p:spPr bwMode="auto">
              <a:xfrm>
                <a:off x="1936666" y="1369163"/>
                <a:ext cx="640965" cy="64096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grpFill/>
              <a:ln w="22225" cap="rnd">
                <a:solidFill>
                  <a:schemeClr val="accent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prstClr val="black"/>
                  </a:solidFill>
                  <a:latin typeface="Arial" charset="0"/>
                  <a:ea typeface="Arial" charset="0"/>
                  <a:cs typeface="Arial" charset="0"/>
                </a:endParaRPr>
              </a:p>
            </p:txBody>
          </p:sp>
          <p:sp>
            <p:nvSpPr>
              <p:cNvPr id="62" name="Freeform 24">
                <a:extLst>
                  <a:ext uri="{FF2B5EF4-FFF2-40B4-BE49-F238E27FC236}">
                    <a16:creationId xmlns:a16="http://schemas.microsoft.com/office/drawing/2014/main" id="{38F4C843-AA55-4562-B95D-963FD6427E19}"/>
                  </a:ext>
                </a:extLst>
              </p:cNvPr>
              <p:cNvSpPr>
                <a:spLocks noChangeArrowheads="1"/>
              </p:cNvSpPr>
              <p:nvPr/>
            </p:nvSpPr>
            <p:spPr bwMode="auto">
              <a:xfrm>
                <a:off x="2257151" y="1425078"/>
                <a:ext cx="205926" cy="510044"/>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grpFill/>
              <a:ln w="22225" cap="rnd">
                <a:solidFill>
                  <a:schemeClr val="accent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a:solidFill>
                    <a:prstClr val="black"/>
                  </a:solidFill>
                  <a:latin typeface="Arial" charset="0"/>
                  <a:ea typeface="Arial" charset="0"/>
                  <a:cs typeface="Arial" charset="0"/>
                </a:endParaRPr>
              </a:p>
            </p:txBody>
          </p:sp>
          <p:sp>
            <p:nvSpPr>
              <p:cNvPr id="63" name="Line 25">
                <a:extLst>
                  <a:ext uri="{FF2B5EF4-FFF2-40B4-BE49-F238E27FC236}">
                    <a16:creationId xmlns:a16="http://schemas.microsoft.com/office/drawing/2014/main" id="{8E8BE7AF-E857-4A3C-A4D0-F2861498D576}"/>
                  </a:ext>
                </a:extLst>
              </p:cNvPr>
              <p:cNvSpPr>
                <a:spLocks noChangeShapeType="1"/>
              </p:cNvSpPr>
              <p:nvPr/>
            </p:nvSpPr>
            <p:spPr bwMode="auto">
              <a:xfrm flipH="1">
                <a:off x="1935304" y="1689648"/>
                <a:ext cx="323209" cy="1362"/>
              </a:xfrm>
              <a:prstGeom prst="line">
                <a:avLst/>
              </a:prstGeom>
              <a:grpFill/>
              <a:ln w="22225" cap="rnd">
                <a:solidFill>
                  <a:schemeClr val="accent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a:solidFill>
                    <a:prstClr val="black"/>
                  </a:solidFill>
                  <a:latin typeface="Arial" charset="0"/>
                  <a:ea typeface="Arial" charset="0"/>
                  <a:cs typeface="Arial" charset="0"/>
                </a:endParaRPr>
              </a:p>
            </p:txBody>
          </p:sp>
          <p:sp>
            <p:nvSpPr>
              <p:cNvPr id="64" name="Line 26">
                <a:extLst>
                  <a:ext uri="{FF2B5EF4-FFF2-40B4-BE49-F238E27FC236}">
                    <a16:creationId xmlns:a16="http://schemas.microsoft.com/office/drawing/2014/main" id="{035F58D8-75B3-4682-84FC-AD565872335C}"/>
                  </a:ext>
                </a:extLst>
              </p:cNvPr>
              <p:cNvSpPr>
                <a:spLocks noChangeShapeType="1"/>
              </p:cNvSpPr>
              <p:nvPr/>
            </p:nvSpPr>
            <p:spPr bwMode="auto">
              <a:xfrm>
                <a:off x="2704461" y="1433259"/>
                <a:ext cx="384048" cy="0"/>
              </a:xfrm>
              <a:prstGeom prst="line">
                <a:avLst/>
              </a:prstGeom>
              <a:grpFill/>
              <a:ln w="22225" cap="rnd">
                <a:solidFill>
                  <a:schemeClr val="accent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a:solidFill>
                    <a:prstClr val="black"/>
                  </a:solidFill>
                  <a:latin typeface="Arial" charset="0"/>
                  <a:ea typeface="Arial" charset="0"/>
                  <a:cs typeface="Arial" charset="0"/>
                </a:endParaRPr>
              </a:p>
            </p:txBody>
          </p:sp>
          <p:sp>
            <p:nvSpPr>
              <p:cNvPr id="65" name="Line 27">
                <a:extLst>
                  <a:ext uri="{FF2B5EF4-FFF2-40B4-BE49-F238E27FC236}">
                    <a16:creationId xmlns:a16="http://schemas.microsoft.com/office/drawing/2014/main" id="{141903F6-6621-45E7-88AC-E889448058A3}"/>
                  </a:ext>
                </a:extLst>
              </p:cNvPr>
              <p:cNvSpPr>
                <a:spLocks noChangeShapeType="1"/>
              </p:cNvSpPr>
              <p:nvPr/>
            </p:nvSpPr>
            <p:spPr bwMode="auto">
              <a:xfrm flipV="1">
                <a:off x="2704461" y="1622967"/>
                <a:ext cx="384048" cy="0"/>
              </a:xfrm>
              <a:prstGeom prst="line">
                <a:avLst/>
              </a:prstGeom>
              <a:grpFill/>
              <a:ln w="22225" cap="rnd">
                <a:solidFill>
                  <a:schemeClr val="accent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a:solidFill>
                    <a:prstClr val="black"/>
                  </a:solidFill>
                  <a:latin typeface="Arial" charset="0"/>
                  <a:ea typeface="Arial" charset="0"/>
                  <a:cs typeface="Arial" charset="0"/>
                </a:endParaRPr>
              </a:p>
            </p:txBody>
          </p:sp>
          <p:sp>
            <p:nvSpPr>
              <p:cNvPr id="66" name="Line 28">
                <a:extLst>
                  <a:ext uri="{FF2B5EF4-FFF2-40B4-BE49-F238E27FC236}">
                    <a16:creationId xmlns:a16="http://schemas.microsoft.com/office/drawing/2014/main" id="{E4673F66-54B4-43F0-AD0E-813A53801EB4}"/>
                  </a:ext>
                </a:extLst>
              </p:cNvPr>
              <p:cNvSpPr>
                <a:spLocks noChangeShapeType="1"/>
              </p:cNvSpPr>
              <p:nvPr/>
            </p:nvSpPr>
            <p:spPr bwMode="auto">
              <a:xfrm>
                <a:off x="2704461" y="1816478"/>
                <a:ext cx="384048" cy="0"/>
              </a:xfrm>
              <a:prstGeom prst="line">
                <a:avLst/>
              </a:prstGeom>
              <a:grpFill/>
              <a:ln w="22225" cap="rnd">
                <a:solidFill>
                  <a:schemeClr val="accent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32597">
                  <a:defRPr/>
                </a:pPr>
                <a:endParaRPr lang="en-US" sz="1836">
                  <a:solidFill>
                    <a:prstClr val="black"/>
                  </a:solidFill>
                  <a:latin typeface="Arial" charset="0"/>
                  <a:ea typeface="Arial" charset="0"/>
                  <a:cs typeface="Arial" charset="0"/>
                </a:endParaRPr>
              </a:p>
            </p:txBody>
          </p:sp>
        </p:grpSp>
        <p:cxnSp>
          <p:nvCxnSpPr>
            <p:cNvPr id="46" name="Straight Connector 45">
              <a:extLst>
                <a:ext uri="{FF2B5EF4-FFF2-40B4-BE49-F238E27FC236}">
                  <a16:creationId xmlns:a16="http://schemas.microsoft.com/office/drawing/2014/main" id="{E0B94F99-6213-424F-8E46-A51FD0F689EB}"/>
                </a:ext>
              </a:extLst>
            </p:cNvPr>
            <p:cNvCxnSpPr/>
            <p:nvPr/>
          </p:nvCxnSpPr>
          <p:spPr>
            <a:xfrm flipH="1">
              <a:off x="6940552" y="4229100"/>
              <a:ext cx="530223" cy="0"/>
            </a:xfrm>
            <a:prstGeom prst="line">
              <a:avLst/>
            </a:prstGeom>
            <a:ln w="2222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Freeform 45">
              <a:extLst>
                <a:ext uri="{FF2B5EF4-FFF2-40B4-BE49-F238E27FC236}">
                  <a16:creationId xmlns:a16="http://schemas.microsoft.com/office/drawing/2014/main" id="{1F6A3486-01B9-4BB9-8139-C8614675256D}"/>
                </a:ext>
              </a:extLst>
            </p:cNvPr>
            <p:cNvSpPr/>
            <p:nvPr/>
          </p:nvSpPr>
          <p:spPr bwMode="auto">
            <a:xfrm>
              <a:off x="5353050" y="4060825"/>
              <a:ext cx="1616076" cy="441325"/>
            </a:xfrm>
            <a:custGeom>
              <a:avLst/>
              <a:gdLst>
                <a:gd name="connsiteX0" fmla="*/ 120650 w 1616076"/>
                <a:gd name="connsiteY0" fmla="*/ 0 h 441325"/>
                <a:gd name="connsiteX1" fmla="*/ 965200 w 1616076"/>
                <a:gd name="connsiteY1" fmla="*/ 0 h 441325"/>
                <a:gd name="connsiteX2" fmla="*/ 1085850 w 1616076"/>
                <a:gd name="connsiteY2" fmla="*/ 120650 h 441325"/>
                <a:gd name="connsiteX3" fmla="*/ 1083927 w 1616076"/>
                <a:gd name="connsiteY3" fmla="*/ 130174 h 441325"/>
                <a:gd name="connsiteX4" fmla="*/ 1509713 w 1616076"/>
                <a:gd name="connsiteY4" fmla="*/ 130174 h 441325"/>
                <a:gd name="connsiteX5" fmla="*/ 1616076 w 1616076"/>
                <a:gd name="connsiteY5" fmla="*/ 236537 h 441325"/>
                <a:gd name="connsiteX6" fmla="*/ 1616075 w 1616076"/>
                <a:gd name="connsiteY6" fmla="*/ 236537 h 441325"/>
                <a:gd name="connsiteX7" fmla="*/ 1509712 w 1616076"/>
                <a:gd name="connsiteY7" fmla="*/ 342900 h 441325"/>
                <a:gd name="connsiteX8" fmla="*/ 1311245 w 1616076"/>
                <a:gd name="connsiteY8" fmla="*/ 342900 h 441325"/>
                <a:gd name="connsiteX9" fmla="*/ 1305468 w 1616076"/>
                <a:gd name="connsiteY9" fmla="*/ 371516 h 441325"/>
                <a:gd name="connsiteX10" fmla="*/ 1200150 w 1616076"/>
                <a:gd name="connsiteY10" fmla="*/ 441325 h 441325"/>
                <a:gd name="connsiteX11" fmla="*/ 342900 w 1616076"/>
                <a:gd name="connsiteY11" fmla="*/ 441324 h 441325"/>
                <a:gd name="connsiteX12" fmla="*/ 237583 w 1616076"/>
                <a:gd name="connsiteY12" fmla="*/ 371515 h 441325"/>
                <a:gd name="connsiteX13" fmla="*/ 228600 w 1616076"/>
                <a:gd name="connsiteY13" fmla="*/ 327025 h 441325"/>
                <a:gd name="connsiteX14" fmla="*/ 237583 w 1616076"/>
                <a:gd name="connsiteY14" fmla="*/ 282535 h 441325"/>
                <a:gd name="connsiteX15" fmla="*/ 254701 w 1616076"/>
                <a:gd name="connsiteY15" fmla="*/ 254320 h 441325"/>
                <a:gd name="connsiteX16" fmla="*/ 269030 w 1616076"/>
                <a:gd name="connsiteY16" fmla="*/ 241300 h 441325"/>
                <a:gd name="connsiteX17" fmla="*/ 120650 w 1616076"/>
                <a:gd name="connsiteY17" fmla="*/ 241300 h 441325"/>
                <a:gd name="connsiteX18" fmla="*/ 0 w 1616076"/>
                <a:gd name="connsiteY18" fmla="*/ 120650 h 441325"/>
                <a:gd name="connsiteX19" fmla="*/ 120650 w 1616076"/>
                <a:gd name="connsiteY19" fmla="*/ 0 h 441325"/>
                <a:gd name="connsiteX0" fmla="*/ 120650 w 1616076"/>
                <a:gd name="connsiteY0" fmla="*/ 0 h 441325"/>
                <a:gd name="connsiteX1" fmla="*/ 336550 w 1616076"/>
                <a:gd name="connsiteY1" fmla="*/ 3175 h 441325"/>
                <a:gd name="connsiteX2" fmla="*/ 965200 w 1616076"/>
                <a:gd name="connsiteY2" fmla="*/ 0 h 441325"/>
                <a:gd name="connsiteX3" fmla="*/ 1085850 w 1616076"/>
                <a:gd name="connsiteY3" fmla="*/ 120650 h 441325"/>
                <a:gd name="connsiteX4" fmla="*/ 1083927 w 1616076"/>
                <a:gd name="connsiteY4" fmla="*/ 130174 h 441325"/>
                <a:gd name="connsiteX5" fmla="*/ 1509713 w 1616076"/>
                <a:gd name="connsiteY5" fmla="*/ 130174 h 441325"/>
                <a:gd name="connsiteX6" fmla="*/ 1616076 w 1616076"/>
                <a:gd name="connsiteY6" fmla="*/ 236537 h 441325"/>
                <a:gd name="connsiteX7" fmla="*/ 1616075 w 1616076"/>
                <a:gd name="connsiteY7" fmla="*/ 236537 h 441325"/>
                <a:gd name="connsiteX8" fmla="*/ 1509712 w 1616076"/>
                <a:gd name="connsiteY8" fmla="*/ 342900 h 441325"/>
                <a:gd name="connsiteX9" fmla="*/ 1311245 w 1616076"/>
                <a:gd name="connsiteY9" fmla="*/ 342900 h 441325"/>
                <a:gd name="connsiteX10" fmla="*/ 1305468 w 1616076"/>
                <a:gd name="connsiteY10" fmla="*/ 371516 h 441325"/>
                <a:gd name="connsiteX11" fmla="*/ 1200150 w 1616076"/>
                <a:gd name="connsiteY11" fmla="*/ 441325 h 441325"/>
                <a:gd name="connsiteX12" fmla="*/ 342900 w 1616076"/>
                <a:gd name="connsiteY12" fmla="*/ 441324 h 441325"/>
                <a:gd name="connsiteX13" fmla="*/ 237583 w 1616076"/>
                <a:gd name="connsiteY13" fmla="*/ 371515 h 441325"/>
                <a:gd name="connsiteX14" fmla="*/ 228600 w 1616076"/>
                <a:gd name="connsiteY14" fmla="*/ 327025 h 441325"/>
                <a:gd name="connsiteX15" fmla="*/ 237583 w 1616076"/>
                <a:gd name="connsiteY15" fmla="*/ 282535 h 441325"/>
                <a:gd name="connsiteX16" fmla="*/ 254701 w 1616076"/>
                <a:gd name="connsiteY16" fmla="*/ 254320 h 441325"/>
                <a:gd name="connsiteX17" fmla="*/ 269030 w 1616076"/>
                <a:gd name="connsiteY17" fmla="*/ 241300 h 441325"/>
                <a:gd name="connsiteX18" fmla="*/ 120650 w 1616076"/>
                <a:gd name="connsiteY18" fmla="*/ 241300 h 441325"/>
                <a:gd name="connsiteX19" fmla="*/ 0 w 1616076"/>
                <a:gd name="connsiteY19" fmla="*/ 120650 h 441325"/>
                <a:gd name="connsiteX20" fmla="*/ 120650 w 1616076"/>
                <a:gd name="connsiteY20" fmla="*/ 0 h 441325"/>
                <a:gd name="connsiteX0" fmla="*/ 120650 w 1616076"/>
                <a:gd name="connsiteY0" fmla="*/ 0 h 441325"/>
                <a:gd name="connsiteX1" fmla="*/ 336550 w 1616076"/>
                <a:gd name="connsiteY1" fmla="*/ 3175 h 441325"/>
                <a:gd name="connsiteX2" fmla="*/ 863600 w 1616076"/>
                <a:gd name="connsiteY2" fmla="*/ 0 h 441325"/>
                <a:gd name="connsiteX3" fmla="*/ 965200 w 1616076"/>
                <a:gd name="connsiteY3" fmla="*/ 0 h 441325"/>
                <a:gd name="connsiteX4" fmla="*/ 1085850 w 1616076"/>
                <a:gd name="connsiteY4" fmla="*/ 120650 h 441325"/>
                <a:gd name="connsiteX5" fmla="*/ 1083927 w 1616076"/>
                <a:gd name="connsiteY5" fmla="*/ 130174 h 441325"/>
                <a:gd name="connsiteX6" fmla="*/ 1509713 w 1616076"/>
                <a:gd name="connsiteY6" fmla="*/ 130174 h 441325"/>
                <a:gd name="connsiteX7" fmla="*/ 1616076 w 1616076"/>
                <a:gd name="connsiteY7" fmla="*/ 236537 h 441325"/>
                <a:gd name="connsiteX8" fmla="*/ 1616075 w 1616076"/>
                <a:gd name="connsiteY8" fmla="*/ 236537 h 441325"/>
                <a:gd name="connsiteX9" fmla="*/ 1509712 w 1616076"/>
                <a:gd name="connsiteY9" fmla="*/ 342900 h 441325"/>
                <a:gd name="connsiteX10" fmla="*/ 1311245 w 1616076"/>
                <a:gd name="connsiteY10" fmla="*/ 342900 h 441325"/>
                <a:gd name="connsiteX11" fmla="*/ 1305468 w 1616076"/>
                <a:gd name="connsiteY11" fmla="*/ 371516 h 441325"/>
                <a:gd name="connsiteX12" fmla="*/ 1200150 w 1616076"/>
                <a:gd name="connsiteY12" fmla="*/ 441325 h 441325"/>
                <a:gd name="connsiteX13" fmla="*/ 342900 w 1616076"/>
                <a:gd name="connsiteY13" fmla="*/ 441324 h 441325"/>
                <a:gd name="connsiteX14" fmla="*/ 237583 w 1616076"/>
                <a:gd name="connsiteY14" fmla="*/ 371515 h 441325"/>
                <a:gd name="connsiteX15" fmla="*/ 228600 w 1616076"/>
                <a:gd name="connsiteY15" fmla="*/ 327025 h 441325"/>
                <a:gd name="connsiteX16" fmla="*/ 237583 w 1616076"/>
                <a:gd name="connsiteY16" fmla="*/ 282535 h 441325"/>
                <a:gd name="connsiteX17" fmla="*/ 254701 w 1616076"/>
                <a:gd name="connsiteY17" fmla="*/ 254320 h 441325"/>
                <a:gd name="connsiteX18" fmla="*/ 269030 w 1616076"/>
                <a:gd name="connsiteY18" fmla="*/ 241300 h 441325"/>
                <a:gd name="connsiteX19" fmla="*/ 120650 w 1616076"/>
                <a:gd name="connsiteY19" fmla="*/ 241300 h 441325"/>
                <a:gd name="connsiteX20" fmla="*/ 0 w 1616076"/>
                <a:gd name="connsiteY20" fmla="*/ 120650 h 441325"/>
                <a:gd name="connsiteX21" fmla="*/ 120650 w 1616076"/>
                <a:gd name="connsiteY21" fmla="*/ 0 h 441325"/>
                <a:gd name="connsiteX0" fmla="*/ 120650 w 1616076"/>
                <a:gd name="connsiteY0" fmla="*/ 0 h 441325"/>
                <a:gd name="connsiteX1" fmla="*/ 336550 w 1616076"/>
                <a:gd name="connsiteY1" fmla="*/ 3175 h 441325"/>
                <a:gd name="connsiteX2" fmla="*/ 622300 w 1616076"/>
                <a:gd name="connsiteY2" fmla="*/ 0 h 441325"/>
                <a:gd name="connsiteX3" fmla="*/ 863600 w 1616076"/>
                <a:gd name="connsiteY3" fmla="*/ 0 h 441325"/>
                <a:gd name="connsiteX4" fmla="*/ 965200 w 1616076"/>
                <a:gd name="connsiteY4" fmla="*/ 0 h 441325"/>
                <a:gd name="connsiteX5" fmla="*/ 1085850 w 1616076"/>
                <a:gd name="connsiteY5" fmla="*/ 120650 h 441325"/>
                <a:gd name="connsiteX6" fmla="*/ 1083927 w 1616076"/>
                <a:gd name="connsiteY6" fmla="*/ 130174 h 441325"/>
                <a:gd name="connsiteX7" fmla="*/ 1509713 w 1616076"/>
                <a:gd name="connsiteY7" fmla="*/ 130174 h 441325"/>
                <a:gd name="connsiteX8" fmla="*/ 1616076 w 1616076"/>
                <a:gd name="connsiteY8" fmla="*/ 236537 h 441325"/>
                <a:gd name="connsiteX9" fmla="*/ 1616075 w 1616076"/>
                <a:gd name="connsiteY9" fmla="*/ 236537 h 441325"/>
                <a:gd name="connsiteX10" fmla="*/ 1509712 w 1616076"/>
                <a:gd name="connsiteY10" fmla="*/ 342900 h 441325"/>
                <a:gd name="connsiteX11" fmla="*/ 1311245 w 1616076"/>
                <a:gd name="connsiteY11" fmla="*/ 342900 h 441325"/>
                <a:gd name="connsiteX12" fmla="*/ 1305468 w 1616076"/>
                <a:gd name="connsiteY12" fmla="*/ 371516 h 441325"/>
                <a:gd name="connsiteX13" fmla="*/ 1200150 w 1616076"/>
                <a:gd name="connsiteY13" fmla="*/ 441325 h 441325"/>
                <a:gd name="connsiteX14" fmla="*/ 342900 w 1616076"/>
                <a:gd name="connsiteY14" fmla="*/ 441324 h 441325"/>
                <a:gd name="connsiteX15" fmla="*/ 237583 w 1616076"/>
                <a:gd name="connsiteY15" fmla="*/ 371515 h 441325"/>
                <a:gd name="connsiteX16" fmla="*/ 228600 w 1616076"/>
                <a:gd name="connsiteY16" fmla="*/ 327025 h 441325"/>
                <a:gd name="connsiteX17" fmla="*/ 237583 w 1616076"/>
                <a:gd name="connsiteY17" fmla="*/ 282535 h 441325"/>
                <a:gd name="connsiteX18" fmla="*/ 254701 w 1616076"/>
                <a:gd name="connsiteY18" fmla="*/ 254320 h 441325"/>
                <a:gd name="connsiteX19" fmla="*/ 269030 w 1616076"/>
                <a:gd name="connsiteY19" fmla="*/ 241300 h 441325"/>
                <a:gd name="connsiteX20" fmla="*/ 120650 w 1616076"/>
                <a:gd name="connsiteY20" fmla="*/ 241300 h 441325"/>
                <a:gd name="connsiteX21" fmla="*/ 0 w 1616076"/>
                <a:gd name="connsiteY21" fmla="*/ 120650 h 441325"/>
                <a:gd name="connsiteX22" fmla="*/ 120650 w 1616076"/>
                <a:gd name="connsiteY22" fmla="*/ 0 h 441325"/>
                <a:gd name="connsiteX0" fmla="*/ 120650 w 1616076"/>
                <a:gd name="connsiteY0" fmla="*/ 0 h 441325"/>
                <a:gd name="connsiteX1" fmla="*/ 336550 w 1616076"/>
                <a:gd name="connsiteY1" fmla="*/ 3175 h 441325"/>
                <a:gd name="connsiteX2" fmla="*/ 473075 w 1616076"/>
                <a:gd name="connsiteY2" fmla="*/ 0 h 441325"/>
                <a:gd name="connsiteX3" fmla="*/ 622300 w 1616076"/>
                <a:gd name="connsiteY3" fmla="*/ 0 h 441325"/>
                <a:gd name="connsiteX4" fmla="*/ 863600 w 1616076"/>
                <a:gd name="connsiteY4" fmla="*/ 0 h 441325"/>
                <a:gd name="connsiteX5" fmla="*/ 965200 w 1616076"/>
                <a:gd name="connsiteY5" fmla="*/ 0 h 441325"/>
                <a:gd name="connsiteX6" fmla="*/ 1085850 w 1616076"/>
                <a:gd name="connsiteY6" fmla="*/ 120650 h 441325"/>
                <a:gd name="connsiteX7" fmla="*/ 1083927 w 1616076"/>
                <a:gd name="connsiteY7" fmla="*/ 130174 h 441325"/>
                <a:gd name="connsiteX8" fmla="*/ 1509713 w 1616076"/>
                <a:gd name="connsiteY8" fmla="*/ 130174 h 441325"/>
                <a:gd name="connsiteX9" fmla="*/ 1616076 w 1616076"/>
                <a:gd name="connsiteY9" fmla="*/ 236537 h 441325"/>
                <a:gd name="connsiteX10" fmla="*/ 1616075 w 1616076"/>
                <a:gd name="connsiteY10" fmla="*/ 236537 h 441325"/>
                <a:gd name="connsiteX11" fmla="*/ 1509712 w 1616076"/>
                <a:gd name="connsiteY11" fmla="*/ 342900 h 441325"/>
                <a:gd name="connsiteX12" fmla="*/ 1311245 w 1616076"/>
                <a:gd name="connsiteY12" fmla="*/ 342900 h 441325"/>
                <a:gd name="connsiteX13" fmla="*/ 1305468 w 1616076"/>
                <a:gd name="connsiteY13" fmla="*/ 371516 h 441325"/>
                <a:gd name="connsiteX14" fmla="*/ 1200150 w 1616076"/>
                <a:gd name="connsiteY14" fmla="*/ 441325 h 441325"/>
                <a:gd name="connsiteX15" fmla="*/ 342900 w 1616076"/>
                <a:gd name="connsiteY15" fmla="*/ 441324 h 441325"/>
                <a:gd name="connsiteX16" fmla="*/ 237583 w 1616076"/>
                <a:gd name="connsiteY16" fmla="*/ 371515 h 441325"/>
                <a:gd name="connsiteX17" fmla="*/ 228600 w 1616076"/>
                <a:gd name="connsiteY17" fmla="*/ 327025 h 441325"/>
                <a:gd name="connsiteX18" fmla="*/ 237583 w 1616076"/>
                <a:gd name="connsiteY18" fmla="*/ 282535 h 441325"/>
                <a:gd name="connsiteX19" fmla="*/ 254701 w 1616076"/>
                <a:gd name="connsiteY19" fmla="*/ 254320 h 441325"/>
                <a:gd name="connsiteX20" fmla="*/ 269030 w 1616076"/>
                <a:gd name="connsiteY20" fmla="*/ 241300 h 441325"/>
                <a:gd name="connsiteX21" fmla="*/ 120650 w 1616076"/>
                <a:gd name="connsiteY21" fmla="*/ 241300 h 441325"/>
                <a:gd name="connsiteX22" fmla="*/ 0 w 1616076"/>
                <a:gd name="connsiteY22" fmla="*/ 120650 h 441325"/>
                <a:gd name="connsiteX23" fmla="*/ 120650 w 1616076"/>
                <a:gd name="connsiteY23" fmla="*/ 0 h 441325"/>
                <a:gd name="connsiteX0" fmla="*/ 473075 w 1616076"/>
                <a:gd name="connsiteY0" fmla="*/ 0 h 441325"/>
                <a:gd name="connsiteX1" fmla="*/ 622300 w 1616076"/>
                <a:gd name="connsiteY1" fmla="*/ 0 h 441325"/>
                <a:gd name="connsiteX2" fmla="*/ 863600 w 1616076"/>
                <a:gd name="connsiteY2" fmla="*/ 0 h 441325"/>
                <a:gd name="connsiteX3" fmla="*/ 965200 w 1616076"/>
                <a:gd name="connsiteY3" fmla="*/ 0 h 441325"/>
                <a:gd name="connsiteX4" fmla="*/ 1085850 w 1616076"/>
                <a:gd name="connsiteY4" fmla="*/ 120650 h 441325"/>
                <a:gd name="connsiteX5" fmla="*/ 1083927 w 1616076"/>
                <a:gd name="connsiteY5" fmla="*/ 130174 h 441325"/>
                <a:gd name="connsiteX6" fmla="*/ 1509713 w 1616076"/>
                <a:gd name="connsiteY6" fmla="*/ 130174 h 441325"/>
                <a:gd name="connsiteX7" fmla="*/ 1616076 w 1616076"/>
                <a:gd name="connsiteY7" fmla="*/ 236537 h 441325"/>
                <a:gd name="connsiteX8" fmla="*/ 1616075 w 1616076"/>
                <a:gd name="connsiteY8" fmla="*/ 236537 h 441325"/>
                <a:gd name="connsiteX9" fmla="*/ 1509712 w 1616076"/>
                <a:gd name="connsiteY9" fmla="*/ 342900 h 441325"/>
                <a:gd name="connsiteX10" fmla="*/ 1311245 w 1616076"/>
                <a:gd name="connsiteY10" fmla="*/ 342900 h 441325"/>
                <a:gd name="connsiteX11" fmla="*/ 1305468 w 1616076"/>
                <a:gd name="connsiteY11" fmla="*/ 371516 h 441325"/>
                <a:gd name="connsiteX12" fmla="*/ 1200150 w 1616076"/>
                <a:gd name="connsiteY12" fmla="*/ 441325 h 441325"/>
                <a:gd name="connsiteX13" fmla="*/ 342900 w 1616076"/>
                <a:gd name="connsiteY13" fmla="*/ 441324 h 441325"/>
                <a:gd name="connsiteX14" fmla="*/ 237583 w 1616076"/>
                <a:gd name="connsiteY14" fmla="*/ 371515 h 441325"/>
                <a:gd name="connsiteX15" fmla="*/ 228600 w 1616076"/>
                <a:gd name="connsiteY15" fmla="*/ 327025 h 441325"/>
                <a:gd name="connsiteX16" fmla="*/ 237583 w 1616076"/>
                <a:gd name="connsiteY16" fmla="*/ 282535 h 441325"/>
                <a:gd name="connsiteX17" fmla="*/ 254701 w 1616076"/>
                <a:gd name="connsiteY17" fmla="*/ 254320 h 441325"/>
                <a:gd name="connsiteX18" fmla="*/ 269030 w 1616076"/>
                <a:gd name="connsiteY18" fmla="*/ 241300 h 441325"/>
                <a:gd name="connsiteX19" fmla="*/ 120650 w 1616076"/>
                <a:gd name="connsiteY19" fmla="*/ 241300 h 441325"/>
                <a:gd name="connsiteX20" fmla="*/ 0 w 1616076"/>
                <a:gd name="connsiteY20" fmla="*/ 120650 h 441325"/>
                <a:gd name="connsiteX21" fmla="*/ 120650 w 1616076"/>
                <a:gd name="connsiteY21" fmla="*/ 0 h 441325"/>
                <a:gd name="connsiteX22" fmla="*/ 336550 w 1616076"/>
                <a:gd name="connsiteY22" fmla="*/ 3175 h 441325"/>
                <a:gd name="connsiteX23" fmla="*/ 564515 w 1616076"/>
                <a:gd name="connsiteY23" fmla="*/ 91440 h 441325"/>
                <a:gd name="connsiteX0" fmla="*/ 473075 w 1616076"/>
                <a:gd name="connsiteY0" fmla="*/ 0 h 441325"/>
                <a:gd name="connsiteX1" fmla="*/ 622300 w 1616076"/>
                <a:gd name="connsiteY1" fmla="*/ 0 h 441325"/>
                <a:gd name="connsiteX2" fmla="*/ 863600 w 1616076"/>
                <a:gd name="connsiteY2" fmla="*/ 0 h 441325"/>
                <a:gd name="connsiteX3" fmla="*/ 965200 w 1616076"/>
                <a:gd name="connsiteY3" fmla="*/ 0 h 441325"/>
                <a:gd name="connsiteX4" fmla="*/ 1085850 w 1616076"/>
                <a:gd name="connsiteY4" fmla="*/ 120650 h 441325"/>
                <a:gd name="connsiteX5" fmla="*/ 1083927 w 1616076"/>
                <a:gd name="connsiteY5" fmla="*/ 130174 h 441325"/>
                <a:gd name="connsiteX6" fmla="*/ 1509713 w 1616076"/>
                <a:gd name="connsiteY6" fmla="*/ 130174 h 441325"/>
                <a:gd name="connsiteX7" fmla="*/ 1616076 w 1616076"/>
                <a:gd name="connsiteY7" fmla="*/ 236537 h 441325"/>
                <a:gd name="connsiteX8" fmla="*/ 1616075 w 1616076"/>
                <a:gd name="connsiteY8" fmla="*/ 236537 h 441325"/>
                <a:gd name="connsiteX9" fmla="*/ 1509712 w 1616076"/>
                <a:gd name="connsiteY9" fmla="*/ 342900 h 441325"/>
                <a:gd name="connsiteX10" fmla="*/ 1311245 w 1616076"/>
                <a:gd name="connsiteY10" fmla="*/ 342900 h 441325"/>
                <a:gd name="connsiteX11" fmla="*/ 1305468 w 1616076"/>
                <a:gd name="connsiteY11" fmla="*/ 371516 h 441325"/>
                <a:gd name="connsiteX12" fmla="*/ 1200150 w 1616076"/>
                <a:gd name="connsiteY12" fmla="*/ 441325 h 441325"/>
                <a:gd name="connsiteX13" fmla="*/ 342900 w 1616076"/>
                <a:gd name="connsiteY13" fmla="*/ 441324 h 441325"/>
                <a:gd name="connsiteX14" fmla="*/ 237583 w 1616076"/>
                <a:gd name="connsiteY14" fmla="*/ 371515 h 441325"/>
                <a:gd name="connsiteX15" fmla="*/ 228600 w 1616076"/>
                <a:gd name="connsiteY15" fmla="*/ 327025 h 441325"/>
                <a:gd name="connsiteX16" fmla="*/ 237583 w 1616076"/>
                <a:gd name="connsiteY16" fmla="*/ 282535 h 441325"/>
                <a:gd name="connsiteX17" fmla="*/ 254701 w 1616076"/>
                <a:gd name="connsiteY17" fmla="*/ 254320 h 441325"/>
                <a:gd name="connsiteX18" fmla="*/ 269030 w 1616076"/>
                <a:gd name="connsiteY18" fmla="*/ 241300 h 441325"/>
                <a:gd name="connsiteX19" fmla="*/ 120650 w 1616076"/>
                <a:gd name="connsiteY19" fmla="*/ 241300 h 441325"/>
                <a:gd name="connsiteX20" fmla="*/ 0 w 1616076"/>
                <a:gd name="connsiteY20" fmla="*/ 120650 h 441325"/>
                <a:gd name="connsiteX21" fmla="*/ 120650 w 1616076"/>
                <a:gd name="connsiteY21" fmla="*/ 0 h 441325"/>
                <a:gd name="connsiteX22" fmla="*/ 336550 w 1616076"/>
                <a:gd name="connsiteY22" fmla="*/ 3175 h 441325"/>
                <a:gd name="connsiteX0" fmla="*/ 473075 w 1616076"/>
                <a:gd name="connsiteY0" fmla="*/ 0 h 441325"/>
                <a:gd name="connsiteX1" fmla="*/ 473075 w 1616076"/>
                <a:gd name="connsiteY1" fmla="*/ 0 h 441325"/>
                <a:gd name="connsiteX2" fmla="*/ 622300 w 1616076"/>
                <a:gd name="connsiteY2" fmla="*/ 0 h 441325"/>
                <a:gd name="connsiteX3" fmla="*/ 863600 w 1616076"/>
                <a:gd name="connsiteY3" fmla="*/ 0 h 441325"/>
                <a:gd name="connsiteX4" fmla="*/ 965200 w 1616076"/>
                <a:gd name="connsiteY4" fmla="*/ 0 h 441325"/>
                <a:gd name="connsiteX5" fmla="*/ 1085850 w 1616076"/>
                <a:gd name="connsiteY5" fmla="*/ 120650 h 441325"/>
                <a:gd name="connsiteX6" fmla="*/ 1083927 w 1616076"/>
                <a:gd name="connsiteY6" fmla="*/ 130174 h 441325"/>
                <a:gd name="connsiteX7" fmla="*/ 1509713 w 1616076"/>
                <a:gd name="connsiteY7" fmla="*/ 130174 h 441325"/>
                <a:gd name="connsiteX8" fmla="*/ 1616076 w 1616076"/>
                <a:gd name="connsiteY8" fmla="*/ 236537 h 441325"/>
                <a:gd name="connsiteX9" fmla="*/ 1616075 w 1616076"/>
                <a:gd name="connsiteY9" fmla="*/ 236537 h 441325"/>
                <a:gd name="connsiteX10" fmla="*/ 1509712 w 1616076"/>
                <a:gd name="connsiteY10" fmla="*/ 342900 h 441325"/>
                <a:gd name="connsiteX11" fmla="*/ 1311245 w 1616076"/>
                <a:gd name="connsiteY11" fmla="*/ 342900 h 441325"/>
                <a:gd name="connsiteX12" fmla="*/ 1305468 w 1616076"/>
                <a:gd name="connsiteY12" fmla="*/ 371516 h 441325"/>
                <a:gd name="connsiteX13" fmla="*/ 1200150 w 1616076"/>
                <a:gd name="connsiteY13" fmla="*/ 441325 h 441325"/>
                <a:gd name="connsiteX14" fmla="*/ 342900 w 1616076"/>
                <a:gd name="connsiteY14" fmla="*/ 441324 h 441325"/>
                <a:gd name="connsiteX15" fmla="*/ 237583 w 1616076"/>
                <a:gd name="connsiteY15" fmla="*/ 371515 h 441325"/>
                <a:gd name="connsiteX16" fmla="*/ 228600 w 1616076"/>
                <a:gd name="connsiteY16" fmla="*/ 327025 h 441325"/>
                <a:gd name="connsiteX17" fmla="*/ 237583 w 1616076"/>
                <a:gd name="connsiteY17" fmla="*/ 282535 h 441325"/>
                <a:gd name="connsiteX18" fmla="*/ 254701 w 1616076"/>
                <a:gd name="connsiteY18" fmla="*/ 254320 h 441325"/>
                <a:gd name="connsiteX19" fmla="*/ 269030 w 1616076"/>
                <a:gd name="connsiteY19" fmla="*/ 241300 h 441325"/>
                <a:gd name="connsiteX20" fmla="*/ 120650 w 1616076"/>
                <a:gd name="connsiteY20" fmla="*/ 241300 h 441325"/>
                <a:gd name="connsiteX21" fmla="*/ 0 w 1616076"/>
                <a:gd name="connsiteY21" fmla="*/ 120650 h 441325"/>
                <a:gd name="connsiteX22" fmla="*/ 120650 w 1616076"/>
                <a:gd name="connsiteY22" fmla="*/ 0 h 441325"/>
                <a:gd name="connsiteX23" fmla="*/ 336550 w 1616076"/>
                <a:gd name="connsiteY23" fmla="*/ 3175 h 441325"/>
                <a:gd name="connsiteX0" fmla="*/ 473075 w 1616076"/>
                <a:gd name="connsiteY0" fmla="*/ 0 h 441325"/>
                <a:gd name="connsiteX1" fmla="*/ 622300 w 1616076"/>
                <a:gd name="connsiteY1" fmla="*/ 0 h 441325"/>
                <a:gd name="connsiteX2" fmla="*/ 863600 w 1616076"/>
                <a:gd name="connsiteY2" fmla="*/ 0 h 441325"/>
                <a:gd name="connsiteX3" fmla="*/ 965200 w 1616076"/>
                <a:gd name="connsiteY3" fmla="*/ 0 h 441325"/>
                <a:gd name="connsiteX4" fmla="*/ 1085850 w 1616076"/>
                <a:gd name="connsiteY4" fmla="*/ 120650 h 441325"/>
                <a:gd name="connsiteX5" fmla="*/ 1083927 w 1616076"/>
                <a:gd name="connsiteY5" fmla="*/ 130174 h 441325"/>
                <a:gd name="connsiteX6" fmla="*/ 1509713 w 1616076"/>
                <a:gd name="connsiteY6" fmla="*/ 130174 h 441325"/>
                <a:gd name="connsiteX7" fmla="*/ 1616076 w 1616076"/>
                <a:gd name="connsiteY7" fmla="*/ 236537 h 441325"/>
                <a:gd name="connsiteX8" fmla="*/ 1616075 w 1616076"/>
                <a:gd name="connsiteY8" fmla="*/ 236537 h 441325"/>
                <a:gd name="connsiteX9" fmla="*/ 1509712 w 1616076"/>
                <a:gd name="connsiteY9" fmla="*/ 342900 h 441325"/>
                <a:gd name="connsiteX10" fmla="*/ 1311245 w 1616076"/>
                <a:gd name="connsiteY10" fmla="*/ 342900 h 441325"/>
                <a:gd name="connsiteX11" fmla="*/ 1305468 w 1616076"/>
                <a:gd name="connsiteY11" fmla="*/ 371516 h 441325"/>
                <a:gd name="connsiteX12" fmla="*/ 1200150 w 1616076"/>
                <a:gd name="connsiteY12" fmla="*/ 441325 h 441325"/>
                <a:gd name="connsiteX13" fmla="*/ 342900 w 1616076"/>
                <a:gd name="connsiteY13" fmla="*/ 441324 h 441325"/>
                <a:gd name="connsiteX14" fmla="*/ 237583 w 1616076"/>
                <a:gd name="connsiteY14" fmla="*/ 371515 h 441325"/>
                <a:gd name="connsiteX15" fmla="*/ 228600 w 1616076"/>
                <a:gd name="connsiteY15" fmla="*/ 327025 h 441325"/>
                <a:gd name="connsiteX16" fmla="*/ 237583 w 1616076"/>
                <a:gd name="connsiteY16" fmla="*/ 282535 h 441325"/>
                <a:gd name="connsiteX17" fmla="*/ 254701 w 1616076"/>
                <a:gd name="connsiteY17" fmla="*/ 254320 h 441325"/>
                <a:gd name="connsiteX18" fmla="*/ 269030 w 1616076"/>
                <a:gd name="connsiteY18" fmla="*/ 241300 h 441325"/>
                <a:gd name="connsiteX19" fmla="*/ 120650 w 1616076"/>
                <a:gd name="connsiteY19" fmla="*/ 241300 h 441325"/>
                <a:gd name="connsiteX20" fmla="*/ 0 w 1616076"/>
                <a:gd name="connsiteY20" fmla="*/ 120650 h 441325"/>
                <a:gd name="connsiteX21" fmla="*/ 120650 w 1616076"/>
                <a:gd name="connsiteY21" fmla="*/ 0 h 441325"/>
                <a:gd name="connsiteX22" fmla="*/ 336550 w 1616076"/>
                <a:gd name="connsiteY22" fmla="*/ 3175 h 441325"/>
                <a:gd name="connsiteX0" fmla="*/ 622300 w 1616076"/>
                <a:gd name="connsiteY0" fmla="*/ 0 h 441325"/>
                <a:gd name="connsiteX1" fmla="*/ 863600 w 1616076"/>
                <a:gd name="connsiteY1" fmla="*/ 0 h 441325"/>
                <a:gd name="connsiteX2" fmla="*/ 965200 w 1616076"/>
                <a:gd name="connsiteY2" fmla="*/ 0 h 441325"/>
                <a:gd name="connsiteX3" fmla="*/ 1085850 w 1616076"/>
                <a:gd name="connsiteY3" fmla="*/ 120650 h 441325"/>
                <a:gd name="connsiteX4" fmla="*/ 1083927 w 1616076"/>
                <a:gd name="connsiteY4" fmla="*/ 130174 h 441325"/>
                <a:gd name="connsiteX5" fmla="*/ 1509713 w 1616076"/>
                <a:gd name="connsiteY5" fmla="*/ 130174 h 441325"/>
                <a:gd name="connsiteX6" fmla="*/ 1616076 w 1616076"/>
                <a:gd name="connsiteY6" fmla="*/ 236537 h 441325"/>
                <a:gd name="connsiteX7" fmla="*/ 1616075 w 1616076"/>
                <a:gd name="connsiteY7" fmla="*/ 236537 h 441325"/>
                <a:gd name="connsiteX8" fmla="*/ 1509712 w 1616076"/>
                <a:gd name="connsiteY8" fmla="*/ 342900 h 441325"/>
                <a:gd name="connsiteX9" fmla="*/ 1311245 w 1616076"/>
                <a:gd name="connsiteY9" fmla="*/ 342900 h 441325"/>
                <a:gd name="connsiteX10" fmla="*/ 1305468 w 1616076"/>
                <a:gd name="connsiteY10" fmla="*/ 371516 h 441325"/>
                <a:gd name="connsiteX11" fmla="*/ 1200150 w 1616076"/>
                <a:gd name="connsiteY11" fmla="*/ 441325 h 441325"/>
                <a:gd name="connsiteX12" fmla="*/ 342900 w 1616076"/>
                <a:gd name="connsiteY12" fmla="*/ 441324 h 441325"/>
                <a:gd name="connsiteX13" fmla="*/ 237583 w 1616076"/>
                <a:gd name="connsiteY13" fmla="*/ 371515 h 441325"/>
                <a:gd name="connsiteX14" fmla="*/ 228600 w 1616076"/>
                <a:gd name="connsiteY14" fmla="*/ 327025 h 441325"/>
                <a:gd name="connsiteX15" fmla="*/ 237583 w 1616076"/>
                <a:gd name="connsiteY15" fmla="*/ 282535 h 441325"/>
                <a:gd name="connsiteX16" fmla="*/ 254701 w 1616076"/>
                <a:gd name="connsiteY16" fmla="*/ 254320 h 441325"/>
                <a:gd name="connsiteX17" fmla="*/ 269030 w 1616076"/>
                <a:gd name="connsiteY17" fmla="*/ 241300 h 441325"/>
                <a:gd name="connsiteX18" fmla="*/ 120650 w 1616076"/>
                <a:gd name="connsiteY18" fmla="*/ 241300 h 441325"/>
                <a:gd name="connsiteX19" fmla="*/ 0 w 1616076"/>
                <a:gd name="connsiteY19" fmla="*/ 120650 h 441325"/>
                <a:gd name="connsiteX20" fmla="*/ 120650 w 1616076"/>
                <a:gd name="connsiteY20" fmla="*/ 0 h 441325"/>
                <a:gd name="connsiteX21" fmla="*/ 336550 w 1616076"/>
                <a:gd name="connsiteY21" fmla="*/ 3175 h 441325"/>
                <a:gd name="connsiteX0" fmla="*/ 863600 w 1616076"/>
                <a:gd name="connsiteY0" fmla="*/ 0 h 441325"/>
                <a:gd name="connsiteX1" fmla="*/ 965200 w 1616076"/>
                <a:gd name="connsiteY1" fmla="*/ 0 h 441325"/>
                <a:gd name="connsiteX2" fmla="*/ 1085850 w 1616076"/>
                <a:gd name="connsiteY2" fmla="*/ 120650 h 441325"/>
                <a:gd name="connsiteX3" fmla="*/ 1083927 w 1616076"/>
                <a:gd name="connsiteY3" fmla="*/ 130174 h 441325"/>
                <a:gd name="connsiteX4" fmla="*/ 1509713 w 1616076"/>
                <a:gd name="connsiteY4" fmla="*/ 130174 h 441325"/>
                <a:gd name="connsiteX5" fmla="*/ 1616076 w 1616076"/>
                <a:gd name="connsiteY5" fmla="*/ 236537 h 441325"/>
                <a:gd name="connsiteX6" fmla="*/ 1616075 w 1616076"/>
                <a:gd name="connsiteY6" fmla="*/ 236537 h 441325"/>
                <a:gd name="connsiteX7" fmla="*/ 1509712 w 1616076"/>
                <a:gd name="connsiteY7" fmla="*/ 342900 h 441325"/>
                <a:gd name="connsiteX8" fmla="*/ 1311245 w 1616076"/>
                <a:gd name="connsiteY8" fmla="*/ 342900 h 441325"/>
                <a:gd name="connsiteX9" fmla="*/ 1305468 w 1616076"/>
                <a:gd name="connsiteY9" fmla="*/ 371516 h 441325"/>
                <a:gd name="connsiteX10" fmla="*/ 1200150 w 1616076"/>
                <a:gd name="connsiteY10" fmla="*/ 441325 h 441325"/>
                <a:gd name="connsiteX11" fmla="*/ 342900 w 1616076"/>
                <a:gd name="connsiteY11" fmla="*/ 441324 h 441325"/>
                <a:gd name="connsiteX12" fmla="*/ 237583 w 1616076"/>
                <a:gd name="connsiteY12" fmla="*/ 371515 h 441325"/>
                <a:gd name="connsiteX13" fmla="*/ 228600 w 1616076"/>
                <a:gd name="connsiteY13" fmla="*/ 327025 h 441325"/>
                <a:gd name="connsiteX14" fmla="*/ 237583 w 1616076"/>
                <a:gd name="connsiteY14" fmla="*/ 282535 h 441325"/>
                <a:gd name="connsiteX15" fmla="*/ 254701 w 1616076"/>
                <a:gd name="connsiteY15" fmla="*/ 254320 h 441325"/>
                <a:gd name="connsiteX16" fmla="*/ 269030 w 1616076"/>
                <a:gd name="connsiteY16" fmla="*/ 241300 h 441325"/>
                <a:gd name="connsiteX17" fmla="*/ 120650 w 1616076"/>
                <a:gd name="connsiteY17" fmla="*/ 241300 h 441325"/>
                <a:gd name="connsiteX18" fmla="*/ 0 w 1616076"/>
                <a:gd name="connsiteY18" fmla="*/ 120650 h 441325"/>
                <a:gd name="connsiteX19" fmla="*/ 120650 w 1616076"/>
                <a:gd name="connsiteY19" fmla="*/ 0 h 441325"/>
                <a:gd name="connsiteX20" fmla="*/ 336550 w 1616076"/>
                <a:gd name="connsiteY20" fmla="*/ 3175 h 441325"/>
                <a:gd name="connsiteX0" fmla="*/ 835025 w 1616076"/>
                <a:gd name="connsiteY0" fmla="*/ 0 h 441325"/>
                <a:gd name="connsiteX1" fmla="*/ 965200 w 1616076"/>
                <a:gd name="connsiteY1" fmla="*/ 0 h 441325"/>
                <a:gd name="connsiteX2" fmla="*/ 1085850 w 1616076"/>
                <a:gd name="connsiteY2" fmla="*/ 120650 h 441325"/>
                <a:gd name="connsiteX3" fmla="*/ 1083927 w 1616076"/>
                <a:gd name="connsiteY3" fmla="*/ 130174 h 441325"/>
                <a:gd name="connsiteX4" fmla="*/ 1509713 w 1616076"/>
                <a:gd name="connsiteY4" fmla="*/ 130174 h 441325"/>
                <a:gd name="connsiteX5" fmla="*/ 1616076 w 1616076"/>
                <a:gd name="connsiteY5" fmla="*/ 236537 h 441325"/>
                <a:gd name="connsiteX6" fmla="*/ 1616075 w 1616076"/>
                <a:gd name="connsiteY6" fmla="*/ 236537 h 441325"/>
                <a:gd name="connsiteX7" fmla="*/ 1509712 w 1616076"/>
                <a:gd name="connsiteY7" fmla="*/ 342900 h 441325"/>
                <a:gd name="connsiteX8" fmla="*/ 1311245 w 1616076"/>
                <a:gd name="connsiteY8" fmla="*/ 342900 h 441325"/>
                <a:gd name="connsiteX9" fmla="*/ 1305468 w 1616076"/>
                <a:gd name="connsiteY9" fmla="*/ 371516 h 441325"/>
                <a:gd name="connsiteX10" fmla="*/ 1200150 w 1616076"/>
                <a:gd name="connsiteY10" fmla="*/ 441325 h 441325"/>
                <a:gd name="connsiteX11" fmla="*/ 342900 w 1616076"/>
                <a:gd name="connsiteY11" fmla="*/ 441324 h 441325"/>
                <a:gd name="connsiteX12" fmla="*/ 237583 w 1616076"/>
                <a:gd name="connsiteY12" fmla="*/ 371515 h 441325"/>
                <a:gd name="connsiteX13" fmla="*/ 228600 w 1616076"/>
                <a:gd name="connsiteY13" fmla="*/ 327025 h 441325"/>
                <a:gd name="connsiteX14" fmla="*/ 237583 w 1616076"/>
                <a:gd name="connsiteY14" fmla="*/ 282535 h 441325"/>
                <a:gd name="connsiteX15" fmla="*/ 254701 w 1616076"/>
                <a:gd name="connsiteY15" fmla="*/ 254320 h 441325"/>
                <a:gd name="connsiteX16" fmla="*/ 269030 w 1616076"/>
                <a:gd name="connsiteY16" fmla="*/ 241300 h 441325"/>
                <a:gd name="connsiteX17" fmla="*/ 120650 w 1616076"/>
                <a:gd name="connsiteY17" fmla="*/ 241300 h 441325"/>
                <a:gd name="connsiteX18" fmla="*/ 0 w 1616076"/>
                <a:gd name="connsiteY18" fmla="*/ 120650 h 441325"/>
                <a:gd name="connsiteX19" fmla="*/ 120650 w 1616076"/>
                <a:gd name="connsiteY19" fmla="*/ 0 h 441325"/>
                <a:gd name="connsiteX20" fmla="*/ 336550 w 1616076"/>
                <a:gd name="connsiteY20" fmla="*/ 3175 h 441325"/>
                <a:gd name="connsiteX0" fmla="*/ 835025 w 1616076"/>
                <a:gd name="connsiteY0" fmla="*/ 0 h 441325"/>
                <a:gd name="connsiteX1" fmla="*/ 965200 w 1616076"/>
                <a:gd name="connsiteY1" fmla="*/ 0 h 441325"/>
                <a:gd name="connsiteX2" fmla="*/ 1085850 w 1616076"/>
                <a:gd name="connsiteY2" fmla="*/ 120650 h 441325"/>
                <a:gd name="connsiteX3" fmla="*/ 1083927 w 1616076"/>
                <a:gd name="connsiteY3" fmla="*/ 130174 h 441325"/>
                <a:gd name="connsiteX4" fmla="*/ 1509713 w 1616076"/>
                <a:gd name="connsiteY4" fmla="*/ 130174 h 441325"/>
                <a:gd name="connsiteX5" fmla="*/ 1616076 w 1616076"/>
                <a:gd name="connsiteY5" fmla="*/ 236537 h 441325"/>
                <a:gd name="connsiteX6" fmla="*/ 1616075 w 1616076"/>
                <a:gd name="connsiteY6" fmla="*/ 236537 h 441325"/>
                <a:gd name="connsiteX7" fmla="*/ 1509712 w 1616076"/>
                <a:gd name="connsiteY7" fmla="*/ 342900 h 441325"/>
                <a:gd name="connsiteX8" fmla="*/ 1311245 w 1616076"/>
                <a:gd name="connsiteY8" fmla="*/ 342900 h 441325"/>
                <a:gd name="connsiteX9" fmla="*/ 1305468 w 1616076"/>
                <a:gd name="connsiteY9" fmla="*/ 371516 h 441325"/>
                <a:gd name="connsiteX10" fmla="*/ 1200150 w 1616076"/>
                <a:gd name="connsiteY10" fmla="*/ 441325 h 441325"/>
                <a:gd name="connsiteX11" fmla="*/ 342900 w 1616076"/>
                <a:gd name="connsiteY11" fmla="*/ 441324 h 441325"/>
                <a:gd name="connsiteX12" fmla="*/ 237583 w 1616076"/>
                <a:gd name="connsiteY12" fmla="*/ 371515 h 441325"/>
                <a:gd name="connsiteX13" fmla="*/ 228600 w 1616076"/>
                <a:gd name="connsiteY13" fmla="*/ 327025 h 441325"/>
                <a:gd name="connsiteX14" fmla="*/ 237583 w 1616076"/>
                <a:gd name="connsiteY14" fmla="*/ 282535 h 441325"/>
                <a:gd name="connsiteX15" fmla="*/ 254701 w 1616076"/>
                <a:gd name="connsiteY15" fmla="*/ 254320 h 441325"/>
                <a:gd name="connsiteX16" fmla="*/ 269030 w 1616076"/>
                <a:gd name="connsiteY16" fmla="*/ 241300 h 441325"/>
                <a:gd name="connsiteX17" fmla="*/ 120650 w 1616076"/>
                <a:gd name="connsiteY17" fmla="*/ 241300 h 441325"/>
                <a:gd name="connsiteX18" fmla="*/ 0 w 1616076"/>
                <a:gd name="connsiteY18" fmla="*/ 120650 h 441325"/>
                <a:gd name="connsiteX19" fmla="*/ 120650 w 1616076"/>
                <a:gd name="connsiteY19" fmla="*/ 0 h 441325"/>
                <a:gd name="connsiteX20" fmla="*/ 352425 w 1616076"/>
                <a:gd name="connsiteY20" fmla="*/ 0 h 441325"/>
                <a:gd name="connsiteX0" fmla="*/ 835025 w 1616076"/>
                <a:gd name="connsiteY0" fmla="*/ 0 h 441325"/>
                <a:gd name="connsiteX1" fmla="*/ 965200 w 1616076"/>
                <a:gd name="connsiteY1" fmla="*/ 0 h 441325"/>
                <a:gd name="connsiteX2" fmla="*/ 1085850 w 1616076"/>
                <a:gd name="connsiteY2" fmla="*/ 120650 h 441325"/>
                <a:gd name="connsiteX3" fmla="*/ 1083927 w 1616076"/>
                <a:gd name="connsiteY3" fmla="*/ 130174 h 441325"/>
                <a:gd name="connsiteX4" fmla="*/ 1509713 w 1616076"/>
                <a:gd name="connsiteY4" fmla="*/ 130174 h 441325"/>
                <a:gd name="connsiteX5" fmla="*/ 1616076 w 1616076"/>
                <a:gd name="connsiteY5" fmla="*/ 236537 h 441325"/>
                <a:gd name="connsiteX6" fmla="*/ 1616075 w 1616076"/>
                <a:gd name="connsiteY6" fmla="*/ 236537 h 441325"/>
                <a:gd name="connsiteX7" fmla="*/ 1509712 w 1616076"/>
                <a:gd name="connsiteY7" fmla="*/ 342900 h 441325"/>
                <a:gd name="connsiteX8" fmla="*/ 1311245 w 1616076"/>
                <a:gd name="connsiteY8" fmla="*/ 342900 h 441325"/>
                <a:gd name="connsiteX9" fmla="*/ 1305468 w 1616076"/>
                <a:gd name="connsiteY9" fmla="*/ 371516 h 441325"/>
                <a:gd name="connsiteX10" fmla="*/ 1200150 w 1616076"/>
                <a:gd name="connsiteY10" fmla="*/ 441325 h 441325"/>
                <a:gd name="connsiteX11" fmla="*/ 342900 w 1616076"/>
                <a:gd name="connsiteY11" fmla="*/ 441324 h 441325"/>
                <a:gd name="connsiteX12" fmla="*/ 237583 w 1616076"/>
                <a:gd name="connsiteY12" fmla="*/ 371515 h 441325"/>
                <a:gd name="connsiteX13" fmla="*/ 228600 w 1616076"/>
                <a:gd name="connsiteY13" fmla="*/ 327025 h 441325"/>
                <a:gd name="connsiteX14" fmla="*/ 237583 w 1616076"/>
                <a:gd name="connsiteY14" fmla="*/ 282535 h 441325"/>
                <a:gd name="connsiteX15" fmla="*/ 254701 w 1616076"/>
                <a:gd name="connsiteY15" fmla="*/ 254320 h 441325"/>
                <a:gd name="connsiteX16" fmla="*/ 269030 w 1616076"/>
                <a:gd name="connsiteY16" fmla="*/ 241300 h 441325"/>
                <a:gd name="connsiteX17" fmla="*/ 120650 w 1616076"/>
                <a:gd name="connsiteY17" fmla="*/ 241300 h 441325"/>
                <a:gd name="connsiteX18" fmla="*/ 0 w 1616076"/>
                <a:gd name="connsiteY18" fmla="*/ 120650 h 441325"/>
                <a:gd name="connsiteX19" fmla="*/ 120650 w 1616076"/>
                <a:gd name="connsiteY19" fmla="*/ 0 h 441325"/>
                <a:gd name="connsiteX20" fmla="*/ 425450 w 1616076"/>
                <a:gd name="connsiteY20" fmla="*/ 0 h 441325"/>
                <a:gd name="connsiteX0" fmla="*/ 762000 w 1616076"/>
                <a:gd name="connsiteY0" fmla="*/ 0 h 441325"/>
                <a:gd name="connsiteX1" fmla="*/ 965200 w 1616076"/>
                <a:gd name="connsiteY1" fmla="*/ 0 h 441325"/>
                <a:gd name="connsiteX2" fmla="*/ 1085850 w 1616076"/>
                <a:gd name="connsiteY2" fmla="*/ 120650 h 441325"/>
                <a:gd name="connsiteX3" fmla="*/ 1083927 w 1616076"/>
                <a:gd name="connsiteY3" fmla="*/ 130174 h 441325"/>
                <a:gd name="connsiteX4" fmla="*/ 1509713 w 1616076"/>
                <a:gd name="connsiteY4" fmla="*/ 130174 h 441325"/>
                <a:gd name="connsiteX5" fmla="*/ 1616076 w 1616076"/>
                <a:gd name="connsiteY5" fmla="*/ 236537 h 441325"/>
                <a:gd name="connsiteX6" fmla="*/ 1616075 w 1616076"/>
                <a:gd name="connsiteY6" fmla="*/ 236537 h 441325"/>
                <a:gd name="connsiteX7" fmla="*/ 1509712 w 1616076"/>
                <a:gd name="connsiteY7" fmla="*/ 342900 h 441325"/>
                <a:gd name="connsiteX8" fmla="*/ 1311245 w 1616076"/>
                <a:gd name="connsiteY8" fmla="*/ 342900 h 441325"/>
                <a:gd name="connsiteX9" fmla="*/ 1305468 w 1616076"/>
                <a:gd name="connsiteY9" fmla="*/ 371516 h 441325"/>
                <a:gd name="connsiteX10" fmla="*/ 1200150 w 1616076"/>
                <a:gd name="connsiteY10" fmla="*/ 441325 h 441325"/>
                <a:gd name="connsiteX11" fmla="*/ 342900 w 1616076"/>
                <a:gd name="connsiteY11" fmla="*/ 441324 h 441325"/>
                <a:gd name="connsiteX12" fmla="*/ 237583 w 1616076"/>
                <a:gd name="connsiteY12" fmla="*/ 371515 h 441325"/>
                <a:gd name="connsiteX13" fmla="*/ 228600 w 1616076"/>
                <a:gd name="connsiteY13" fmla="*/ 327025 h 441325"/>
                <a:gd name="connsiteX14" fmla="*/ 237583 w 1616076"/>
                <a:gd name="connsiteY14" fmla="*/ 282535 h 441325"/>
                <a:gd name="connsiteX15" fmla="*/ 254701 w 1616076"/>
                <a:gd name="connsiteY15" fmla="*/ 254320 h 441325"/>
                <a:gd name="connsiteX16" fmla="*/ 269030 w 1616076"/>
                <a:gd name="connsiteY16" fmla="*/ 241300 h 441325"/>
                <a:gd name="connsiteX17" fmla="*/ 120650 w 1616076"/>
                <a:gd name="connsiteY17" fmla="*/ 241300 h 441325"/>
                <a:gd name="connsiteX18" fmla="*/ 0 w 1616076"/>
                <a:gd name="connsiteY18" fmla="*/ 120650 h 441325"/>
                <a:gd name="connsiteX19" fmla="*/ 120650 w 1616076"/>
                <a:gd name="connsiteY19" fmla="*/ 0 h 441325"/>
                <a:gd name="connsiteX20" fmla="*/ 425450 w 1616076"/>
                <a:gd name="connsiteY20" fmla="*/ 0 h 441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16076" h="441325">
                  <a:moveTo>
                    <a:pt x="762000" y="0"/>
                  </a:moveTo>
                  <a:lnTo>
                    <a:pt x="965200" y="0"/>
                  </a:lnTo>
                  <a:cubicBezTo>
                    <a:pt x="1031833" y="0"/>
                    <a:pt x="1085850" y="54017"/>
                    <a:pt x="1085850" y="120650"/>
                  </a:cubicBezTo>
                  <a:lnTo>
                    <a:pt x="1083927" y="130174"/>
                  </a:lnTo>
                  <a:lnTo>
                    <a:pt x="1509713" y="130174"/>
                  </a:lnTo>
                  <a:cubicBezTo>
                    <a:pt x="1568456" y="130174"/>
                    <a:pt x="1616076" y="177794"/>
                    <a:pt x="1616076" y="236537"/>
                  </a:cubicBezTo>
                  <a:lnTo>
                    <a:pt x="1616075" y="236537"/>
                  </a:lnTo>
                  <a:cubicBezTo>
                    <a:pt x="1616075" y="295280"/>
                    <a:pt x="1568455" y="342900"/>
                    <a:pt x="1509712" y="342900"/>
                  </a:cubicBezTo>
                  <a:lnTo>
                    <a:pt x="1311245" y="342900"/>
                  </a:lnTo>
                  <a:lnTo>
                    <a:pt x="1305468" y="371516"/>
                  </a:lnTo>
                  <a:cubicBezTo>
                    <a:pt x="1288116" y="412540"/>
                    <a:pt x="1247495" y="441325"/>
                    <a:pt x="1200150" y="441325"/>
                  </a:cubicBezTo>
                  <a:lnTo>
                    <a:pt x="342900" y="441324"/>
                  </a:lnTo>
                  <a:cubicBezTo>
                    <a:pt x="295556" y="441324"/>
                    <a:pt x="254934" y="412539"/>
                    <a:pt x="237583" y="371515"/>
                  </a:cubicBezTo>
                  <a:lnTo>
                    <a:pt x="228600" y="327025"/>
                  </a:lnTo>
                  <a:lnTo>
                    <a:pt x="237583" y="282535"/>
                  </a:lnTo>
                  <a:cubicBezTo>
                    <a:pt x="241921" y="272279"/>
                    <a:pt x="247713" y="262788"/>
                    <a:pt x="254701" y="254320"/>
                  </a:cubicBezTo>
                  <a:lnTo>
                    <a:pt x="269030" y="241300"/>
                  </a:lnTo>
                  <a:lnTo>
                    <a:pt x="120650" y="241300"/>
                  </a:lnTo>
                  <a:cubicBezTo>
                    <a:pt x="54017" y="241300"/>
                    <a:pt x="0" y="187283"/>
                    <a:pt x="0" y="120650"/>
                  </a:cubicBezTo>
                  <a:cubicBezTo>
                    <a:pt x="0" y="54017"/>
                    <a:pt x="54017" y="0"/>
                    <a:pt x="120650" y="0"/>
                  </a:cubicBezTo>
                  <a:lnTo>
                    <a:pt x="425450" y="0"/>
                  </a:lnTo>
                </a:path>
              </a:pathLst>
            </a:custGeom>
            <a:noFill/>
            <a:ln w="22225" cap="rnd">
              <a:solidFill>
                <a:schemeClr val="accent1"/>
              </a:solidFill>
              <a:miter lim="800000"/>
              <a:headEnd/>
              <a:tailEnd/>
            </a:ln>
            <a:effectLst/>
          </p:spPr>
          <p:txBody>
            <a:bodyPr wrap="square" lIns="93260" tIns="46630" rIns="93260" bIns="46630" numCol="1" spcCol="0" rtlCol="0" fromWordArt="0" anchor="ctr" anchorCtr="0" forceAA="0" compatLnSpc="1"/>
            <a:lstStyle/>
            <a:p>
              <a:pPr defTabSz="932597">
                <a:defRPr/>
              </a:pPr>
              <a:endParaRPr lang="en-US" sz="1836">
                <a:solidFill>
                  <a:prstClr val="black"/>
                </a:solidFill>
                <a:latin typeface="Arial" charset="0"/>
                <a:ea typeface="Arial" charset="0"/>
                <a:cs typeface="Arial" charset="0"/>
              </a:endParaRPr>
            </a:p>
          </p:txBody>
        </p:sp>
        <p:cxnSp>
          <p:nvCxnSpPr>
            <p:cNvPr id="48" name="Straight Connector 47">
              <a:extLst>
                <a:ext uri="{FF2B5EF4-FFF2-40B4-BE49-F238E27FC236}">
                  <a16:creationId xmlns:a16="http://schemas.microsoft.com/office/drawing/2014/main" id="{8FDA2DD4-8386-45C9-8D92-070EB604A809}"/>
                </a:ext>
              </a:extLst>
            </p:cNvPr>
            <p:cNvCxnSpPr/>
            <p:nvPr/>
          </p:nvCxnSpPr>
          <p:spPr>
            <a:xfrm flipH="1">
              <a:off x="5371465" y="3406140"/>
              <a:ext cx="1381760" cy="0"/>
            </a:xfrm>
            <a:prstGeom prst="line">
              <a:avLst/>
            </a:prstGeom>
            <a:ln w="222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FABB22C-F415-46B6-B085-20C2C81434FD}"/>
                </a:ext>
              </a:extLst>
            </p:cNvPr>
            <p:cNvCxnSpPr/>
            <p:nvPr/>
          </p:nvCxnSpPr>
          <p:spPr>
            <a:xfrm flipH="1">
              <a:off x="7296150" y="3393440"/>
              <a:ext cx="409575" cy="0"/>
            </a:xfrm>
            <a:prstGeom prst="line">
              <a:avLst/>
            </a:prstGeom>
            <a:ln w="222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6749183-98B0-473A-BEEE-9E58E1795DCE}"/>
                </a:ext>
              </a:extLst>
            </p:cNvPr>
            <p:cNvCxnSpPr/>
            <p:nvPr/>
          </p:nvCxnSpPr>
          <p:spPr>
            <a:xfrm>
              <a:off x="5911215" y="5052060"/>
              <a:ext cx="651510" cy="0"/>
            </a:xfrm>
            <a:prstGeom prst="line">
              <a:avLst/>
            </a:prstGeom>
            <a:ln w="2222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AF2DBDE-2ADE-40D1-AB7D-89EC5B60F318}"/>
                </a:ext>
              </a:extLst>
            </p:cNvPr>
            <p:cNvCxnSpPr/>
            <p:nvPr/>
          </p:nvCxnSpPr>
          <p:spPr>
            <a:xfrm>
              <a:off x="6975475" y="5045710"/>
              <a:ext cx="400050" cy="0"/>
            </a:xfrm>
            <a:prstGeom prst="line">
              <a:avLst/>
            </a:prstGeom>
            <a:ln w="2222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DF60FF9-248B-422D-AE14-97382B99B3E6}"/>
                </a:ext>
              </a:extLst>
            </p:cNvPr>
            <p:cNvCxnSpPr/>
            <p:nvPr/>
          </p:nvCxnSpPr>
          <p:spPr>
            <a:xfrm flipH="1">
              <a:off x="6706829" y="2594364"/>
              <a:ext cx="995517" cy="0"/>
            </a:xfrm>
            <a:prstGeom prst="line">
              <a:avLst/>
            </a:prstGeom>
            <a:ln w="2222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F8C780E-E8DC-4A3B-B745-53E6980C73D0}"/>
                </a:ext>
              </a:extLst>
            </p:cNvPr>
            <p:cNvCxnSpPr/>
            <p:nvPr/>
          </p:nvCxnSpPr>
          <p:spPr>
            <a:xfrm flipH="1">
              <a:off x="5217242" y="1760220"/>
              <a:ext cx="553065" cy="0"/>
            </a:xfrm>
            <a:prstGeom prst="line">
              <a:avLst/>
            </a:prstGeom>
            <a:ln w="2222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1F95618-B4FB-4AD1-94C2-8A13D05501B5}"/>
                </a:ext>
              </a:extLst>
            </p:cNvPr>
            <p:cNvCxnSpPr/>
            <p:nvPr/>
          </p:nvCxnSpPr>
          <p:spPr>
            <a:xfrm flipH="1">
              <a:off x="4719485" y="1760220"/>
              <a:ext cx="224912" cy="0"/>
            </a:xfrm>
            <a:prstGeom prst="line">
              <a:avLst/>
            </a:prstGeom>
            <a:ln w="2222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Freeform 53">
              <a:extLst>
                <a:ext uri="{FF2B5EF4-FFF2-40B4-BE49-F238E27FC236}">
                  <a16:creationId xmlns:a16="http://schemas.microsoft.com/office/drawing/2014/main" id="{6E6E2258-F888-4DFC-A42B-CB23A654F140}"/>
                </a:ext>
              </a:extLst>
            </p:cNvPr>
            <p:cNvSpPr/>
            <p:nvPr/>
          </p:nvSpPr>
          <p:spPr bwMode="auto">
            <a:xfrm>
              <a:off x="4743937" y="742462"/>
              <a:ext cx="2461846" cy="672123"/>
            </a:xfrm>
            <a:custGeom>
              <a:avLst/>
              <a:gdLst>
                <a:gd name="connsiteX0" fmla="*/ 582247 w 2461846"/>
                <a:gd name="connsiteY0" fmla="*/ 0 h 672123"/>
                <a:gd name="connsiteX1" fmla="*/ 1410678 w 2461846"/>
                <a:gd name="connsiteY1" fmla="*/ 0 h 672123"/>
                <a:gd name="connsiteX2" fmla="*/ 1516186 w 2461846"/>
                <a:gd name="connsiteY2" fmla="*/ 105508 h 672123"/>
                <a:gd name="connsiteX3" fmla="*/ 1516185 w 2461846"/>
                <a:gd name="connsiteY3" fmla="*/ 105508 h 672123"/>
                <a:gd name="connsiteX4" fmla="*/ 1485282 w 2461846"/>
                <a:gd name="connsiteY4" fmla="*/ 180113 h 672123"/>
                <a:gd name="connsiteX5" fmla="*/ 1462632 w 2461846"/>
                <a:gd name="connsiteY5" fmla="*/ 195385 h 672123"/>
                <a:gd name="connsiteX6" fmla="*/ 1856155 w 2461846"/>
                <a:gd name="connsiteY6" fmla="*/ 195385 h 672123"/>
                <a:gd name="connsiteX7" fmla="*/ 1992924 w 2461846"/>
                <a:gd name="connsiteY7" fmla="*/ 332154 h 672123"/>
                <a:gd name="connsiteX8" fmla="*/ 1982176 w 2461846"/>
                <a:gd name="connsiteY8" fmla="*/ 385391 h 672123"/>
                <a:gd name="connsiteX9" fmla="*/ 1973280 w 2461846"/>
                <a:gd name="connsiteY9" fmla="*/ 398585 h 672123"/>
                <a:gd name="connsiteX10" fmla="*/ 2325077 w 2461846"/>
                <a:gd name="connsiteY10" fmla="*/ 398585 h 672123"/>
                <a:gd name="connsiteX11" fmla="*/ 2461846 w 2461846"/>
                <a:gd name="connsiteY11" fmla="*/ 535354 h 672123"/>
                <a:gd name="connsiteX12" fmla="*/ 2325077 w 2461846"/>
                <a:gd name="connsiteY12" fmla="*/ 672123 h 672123"/>
                <a:gd name="connsiteX13" fmla="*/ 1656862 w 2461846"/>
                <a:gd name="connsiteY13" fmla="*/ 672123 h 672123"/>
                <a:gd name="connsiteX14" fmla="*/ 1656862 w 2461846"/>
                <a:gd name="connsiteY14" fmla="*/ 549763 h 672123"/>
                <a:gd name="connsiteX15" fmla="*/ 1444137 w 2461846"/>
                <a:gd name="connsiteY15" fmla="*/ 549763 h 672123"/>
                <a:gd name="connsiteX16" fmla="*/ 1444137 w 2461846"/>
                <a:gd name="connsiteY16" fmla="*/ 672123 h 672123"/>
                <a:gd name="connsiteX17" fmla="*/ 1004276 w 2461846"/>
                <a:gd name="connsiteY17" fmla="*/ 672123 h 672123"/>
                <a:gd name="connsiteX18" fmla="*/ 867507 w 2461846"/>
                <a:gd name="connsiteY18" fmla="*/ 535354 h 672123"/>
                <a:gd name="connsiteX19" fmla="*/ 878255 w 2461846"/>
                <a:gd name="connsiteY19" fmla="*/ 482118 h 672123"/>
                <a:gd name="connsiteX20" fmla="*/ 887151 w 2461846"/>
                <a:gd name="connsiteY20" fmla="*/ 468923 h 672123"/>
                <a:gd name="connsiteX21" fmla="*/ 136769 w 2461846"/>
                <a:gd name="connsiteY21" fmla="*/ 468923 h 672123"/>
                <a:gd name="connsiteX22" fmla="*/ 0 w 2461846"/>
                <a:gd name="connsiteY22" fmla="*/ 332154 h 672123"/>
                <a:gd name="connsiteX23" fmla="*/ 136769 w 2461846"/>
                <a:gd name="connsiteY23" fmla="*/ 195385 h 672123"/>
                <a:gd name="connsiteX24" fmla="*/ 530294 w 2461846"/>
                <a:gd name="connsiteY24" fmla="*/ 195385 h 672123"/>
                <a:gd name="connsiteX25" fmla="*/ 507642 w 2461846"/>
                <a:gd name="connsiteY25" fmla="*/ 180112 h 672123"/>
                <a:gd name="connsiteX26" fmla="*/ 485031 w 2461846"/>
                <a:gd name="connsiteY26" fmla="*/ 146575 h 672123"/>
                <a:gd name="connsiteX27" fmla="*/ 476739 w 2461846"/>
                <a:gd name="connsiteY27" fmla="*/ 105507 h 672123"/>
                <a:gd name="connsiteX28" fmla="*/ 485031 w 2461846"/>
                <a:gd name="connsiteY28" fmla="*/ 64440 h 672123"/>
                <a:gd name="connsiteX29" fmla="*/ 582247 w 2461846"/>
                <a:gd name="connsiteY29" fmla="*/ 0 h 672123"/>
                <a:gd name="connsiteX0" fmla="*/ 1656862 w 2461846"/>
                <a:gd name="connsiteY0" fmla="*/ 549763 h 672123"/>
                <a:gd name="connsiteX1" fmla="*/ 1444137 w 2461846"/>
                <a:gd name="connsiteY1" fmla="*/ 549763 h 672123"/>
                <a:gd name="connsiteX2" fmla="*/ 1444137 w 2461846"/>
                <a:gd name="connsiteY2" fmla="*/ 672123 h 672123"/>
                <a:gd name="connsiteX3" fmla="*/ 1004276 w 2461846"/>
                <a:gd name="connsiteY3" fmla="*/ 672123 h 672123"/>
                <a:gd name="connsiteX4" fmla="*/ 867507 w 2461846"/>
                <a:gd name="connsiteY4" fmla="*/ 535354 h 672123"/>
                <a:gd name="connsiteX5" fmla="*/ 878255 w 2461846"/>
                <a:gd name="connsiteY5" fmla="*/ 482118 h 672123"/>
                <a:gd name="connsiteX6" fmla="*/ 887151 w 2461846"/>
                <a:gd name="connsiteY6" fmla="*/ 468923 h 672123"/>
                <a:gd name="connsiteX7" fmla="*/ 136769 w 2461846"/>
                <a:gd name="connsiteY7" fmla="*/ 468923 h 672123"/>
                <a:gd name="connsiteX8" fmla="*/ 0 w 2461846"/>
                <a:gd name="connsiteY8" fmla="*/ 332154 h 672123"/>
                <a:gd name="connsiteX9" fmla="*/ 136769 w 2461846"/>
                <a:gd name="connsiteY9" fmla="*/ 195385 h 672123"/>
                <a:gd name="connsiteX10" fmla="*/ 530294 w 2461846"/>
                <a:gd name="connsiteY10" fmla="*/ 195385 h 672123"/>
                <a:gd name="connsiteX11" fmla="*/ 507642 w 2461846"/>
                <a:gd name="connsiteY11" fmla="*/ 180112 h 672123"/>
                <a:gd name="connsiteX12" fmla="*/ 485031 w 2461846"/>
                <a:gd name="connsiteY12" fmla="*/ 146575 h 672123"/>
                <a:gd name="connsiteX13" fmla="*/ 476739 w 2461846"/>
                <a:gd name="connsiteY13" fmla="*/ 105507 h 672123"/>
                <a:gd name="connsiteX14" fmla="*/ 485031 w 2461846"/>
                <a:gd name="connsiteY14" fmla="*/ 64440 h 672123"/>
                <a:gd name="connsiteX15" fmla="*/ 582247 w 2461846"/>
                <a:gd name="connsiteY15" fmla="*/ 0 h 672123"/>
                <a:gd name="connsiteX16" fmla="*/ 1410678 w 2461846"/>
                <a:gd name="connsiteY16" fmla="*/ 0 h 672123"/>
                <a:gd name="connsiteX17" fmla="*/ 1516186 w 2461846"/>
                <a:gd name="connsiteY17" fmla="*/ 105508 h 672123"/>
                <a:gd name="connsiteX18" fmla="*/ 1516185 w 2461846"/>
                <a:gd name="connsiteY18" fmla="*/ 105508 h 672123"/>
                <a:gd name="connsiteX19" fmla="*/ 1485282 w 2461846"/>
                <a:gd name="connsiteY19" fmla="*/ 180113 h 672123"/>
                <a:gd name="connsiteX20" fmla="*/ 1462632 w 2461846"/>
                <a:gd name="connsiteY20" fmla="*/ 195385 h 672123"/>
                <a:gd name="connsiteX21" fmla="*/ 1856155 w 2461846"/>
                <a:gd name="connsiteY21" fmla="*/ 195385 h 672123"/>
                <a:gd name="connsiteX22" fmla="*/ 1992924 w 2461846"/>
                <a:gd name="connsiteY22" fmla="*/ 332154 h 672123"/>
                <a:gd name="connsiteX23" fmla="*/ 1982176 w 2461846"/>
                <a:gd name="connsiteY23" fmla="*/ 385391 h 672123"/>
                <a:gd name="connsiteX24" fmla="*/ 1973280 w 2461846"/>
                <a:gd name="connsiteY24" fmla="*/ 398585 h 672123"/>
                <a:gd name="connsiteX25" fmla="*/ 2325077 w 2461846"/>
                <a:gd name="connsiteY25" fmla="*/ 398585 h 672123"/>
                <a:gd name="connsiteX26" fmla="*/ 2461846 w 2461846"/>
                <a:gd name="connsiteY26" fmla="*/ 535354 h 672123"/>
                <a:gd name="connsiteX27" fmla="*/ 2325077 w 2461846"/>
                <a:gd name="connsiteY27" fmla="*/ 672123 h 672123"/>
                <a:gd name="connsiteX28" fmla="*/ 1656862 w 2461846"/>
                <a:gd name="connsiteY28" fmla="*/ 672123 h 672123"/>
                <a:gd name="connsiteX29" fmla="*/ 1748302 w 2461846"/>
                <a:gd name="connsiteY29" fmla="*/ 641203 h 672123"/>
                <a:gd name="connsiteX0" fmla="*/ 1656862 w 2461846"/>
                <a:gd name="connsiteY0" fmla="*/ 549763 h 672123"/>
                <a:gd name="connsiteX1" fmla="*/ 1444137 w 2461846"/>
                <a:gd name="connsiteY1" fmla="*/ 549763 h 672123"/>
                <a:gd name="connsiteX2" fmla="*/ 1444137 w 2461846"/>
                <a:gd name="connsiteY2" fmla="*/ 672123 h 672123"/>
                <a:gd name="connsiteX3" fmla="*/ 1004276 w 2461846"/>
                <a:gd name="connsiteY3" fmla="*/ 672123 h 672123"/>
                <a:gd name="connsiteX4" fmla="*/ 867507 w 2461846"/>
                <a:gd name="connsiteY4" fmla="*/ 535354 h 672123"/>
                <a:gd name="connsiteX5" fmla="*/ 878255 w 2461846"/>
                <a:gd name="connsiteY5" fmla="*/ 482118 h 672123"/>
                <a:gd name="connsiteX6" fmla="*/ 887151 w 2461846"/>
                <a:gd name="connsiteY6" fmla="*/ 468923 h 672123"/>
                <a:gd name="connsiteX7" fmla="*/ 136769 w 2461846"/>
                <a:gd name="connsiteY7" fmla="*/ 468923 h 672123"/>
                <a:gd name="connsiteX8" fmla="*/ 0 w 2461846"/>
                <a:gd name="connsiteY8" fmla="*/ 332154 h 672123"/>
                <a:gd name="connsiteX9" fmla="*/ 136769 w 2461846"/>
                <a:gd name="connsiteY9" fmla="*/ 195385 h 672123"/>
                <a:gd name="connsiteX10" fmla="*/ 530294 w 2461846"/>
                <a:gd name="connsiteY10" fmla="*/ 195385 h 672123"/>
                <a:gd name="connsiteX11" fmla="*/ 507642 w 2461846"/>
                <a:gd name="connsiteY11" fmla="*/ 180112 h 672123"/>
                <a:gd name="connsiteX12" fmla="*/ 485031 w 2461846"/>
                <a:gd name="connsiteY12" fmla="*/ 146575 h 672123"/>
                <a:gd name="connsiteX13" fmla="*/ 476739 w 2461846"/>
                <a:gd name="connsiteY13" fmla="*/ 105507 h 672123"/>
                <a:gd name="connsiteX14" fmla="*/ 485031 w 2461846"/>
                <a:gd name="connsiteY14" fmla="*/ 64440 h 672123"/>
                <a:gd name="connsiteX15" fmla="*/ 582247 w 2461846"/>
                <a:gd name="connsiteY15" fmla="*/ 0 h 672123"/>
                <a:gd name="connsiteX16" fmla="*/ 1410678 w 2461846"/>
                <a:gd name="connsiteY16" fmla="*/ 0 h 672123"/>
                <a:gd name="connsiteX17" fmla="*/ 1516186 w 2461846"/>
                <a:gd name="connsiteY17" fmla="*/ 105508 h 672123"/>
                <a:gd name="connsiteX18" fmla="*/ 1516185 w 2461846"/>
                <a:gd name="connsiteY18" fmla="*/ 105508 h 672123"/>
                <a:gd name="connsiteX19" fmla="*/ 1485282 w 2461846"/>
                <a:gd name="connsiteY19" fmla="*/ 180113 h 672123"/>
                <a:gd name="connsiteX20" fmla="*/ 1462632 w 2461846"/>
                <a:gd name="connsiteY20" fmla="*/ 195385 h 672123"/>
                <a:gd name="connsiteX21" fmla="*/ 1856155 w 2461846"/>
                <a:gd name="connsiteY21" fmla="*/ 195385 h 672123"/>
                <a:gd name="connsiteX22" fmla="*/ 1992924 w 2461846"/>
                <a:gd name="connsiteY22" fmla="*/ 332154 h 672123"/>
                <a:gd name="connsiteX23" fmla="*/ 1982176 w 2461846"/>
                <a:gd name="connsiteY23" fmla="*/ 385391 h 672123"/>
                <a:gd name="connsiteX24" fmla="*/ 1973280 w 2461846"/>
                <a:gd name="connsiteY24" fmla="*/ 398585 h 672123"/>
                <a:gd name="connsiteX25" fmla="*/ 2325077 w 2461846"/>
                <a:gd name="connsiteY25" fmla="*/ 398585 h 672123"/>
                <a:gd name="connsiteX26" fmla="*/ 2461846 w 2461846"/>
                <a:gd name="connsiteY26" fmla="*/ 535354 h 672123"/>
                <a:gd name="connsiteX27" fmla="*/ 2325077 w 2461846"/>
                <a:gd name="connsiteY27" fmla="*/ 672123 h 672123"/>
                <a:gd name="connsiteX28" fmla="*/ 1656862 w 2461846"/>
                <a:gd name="connsiteY28" fmla="*/ 672123 h 672123"/>
                <a:gd name="connsiteX0" fmla="*/ 1444137 w 2461846"/>
                <a:gd name="connsiteY0" fmla="*/ 549763 h 672123"/>
                <a:gd name="connsiteX1" fmla="*/ 1444137 w 2461846"/>
                <a:gd name="connsiteY1" fmla="*/ 672123 h 672123"/>
                <a:gd name="connsiteX2" fmla="*/ 1004276 w 2461846"/>
                <a:gd name="connsiteY2" fmla="*/ 672123 h 672123"/>
                <a:gd name="connsiteX3" fmla="*/ 867507 w 2461846"/>
                <a:gd name="connsiteY3" fmla="*/ 535354 h 672123"/>
                <a:gd name="connsiteX4" fmla="*/ 878255 w 2461846"/>
                <a:gd name="connsiteY4" fmla="*/ 482118 h 672123"/>
                <a:gd name="connsiteX5" fmla="*/ 887151 w 2461846"/>
                <a:gd name="connsiteY5" fmla="*/ 468923 h 672123"/>
                <a:gd name="connsiteX6" fmla="*/ 136769 w 2461846"/>
                <a:gd name="connsiteY6" fmla="*/ 468923 h 672123"/>
                <a:gd name="connsiteX7" fmla="*/ 0 w 2461846"/>
                <a:gd name="connsiteY7" fmla="*/ 332154 h 672123"/>
                <a:gd name="connsiteX8" fmla="*/ 136769 w 2461846"/>
                <a:gd name="connsiteY8" fmla="*/ 195385 h 672123"/>
                <a:gd name="connsiteX9" fmla="*/ 530294 w 2461846"/>
                <a:gd name="connsiteY9" fmla="*/ 195385 h 672123"/>
                <a:gd name="connsiteX10" fmla="*/ 507642 w 2461846"/>
                <a:gd name="connsiteY10" fmla="*/ 180112 h 672123"/>
                <a:gd name="connsiteX11" fmla="*/ 485031 w 2461846"/>
                <a:gd name="connsiteY11" fmla="*/ 146575 h 672123"/>
                <a:gd name="connsiteX12" fmla="*/ 476739 w 2461846"/>
                <a:gd name="connsiteY12" fmla="*/ 105507 h 672123"/>
                <a:gd name="connsiteX13" fmla="*/ 485031 w 2461846"/>
                <a:gd name="connsiteY13" fmla="*/ 64440 h 672123"/>
                <a:gd name="connsiteX14" fmla="*/ 582247 w 2461846"/>
                <a:gd name="connsiteY14" fmla="*/ 0 h 672123"/>
                <a:gd name="connsiteX15" fmla="*/ 1410678 w 2461846"/>
                <a:gd name="connsiteY15" fmla="*/ 0 h 672123"/>
                <a:gd name="connsiteX16" fmla="*/ 1516186 w 2461846"/>
                <a:gd name="connsiteY16" fmla="*/ 105508 h 672123"/>
                <a:gd name="connsiteX17" fmla="*/ 1516185 w 2461846"/>
                <a:gd name="connsiteY17" fmla="*/ 105508 h 672123"/>
                <a:gd name="connsiteX18" fmla="*/ 1485282 w 2461846"/>
                <a:gd name="connsiteY18" fmla="*/ 180113 h 672123"/>
                <a:gd name="connsiteX19" fmla="*/ 1462632 w 2461846"/>
                <a:gd name="connsiteY19" fmla="*/ 195385 h 672123"/>
                <a:gd name="connsiteX20" fmla="*/ 1856155 w 2461846"/>
                <a:gd name="connsiteY20" fmla="*/ 195385 h 672123"/>
                <a:gd name="connsiteX21" fmla="*/ 1992924 w 2461846"/>
                <a:gd name="connsiteY21" fmla="*/ 332154 h 672123"/>
                <a:gd name="connsiteX22" fmla="*/ 1982176 w 2461846"/>
                <a:gd name="connsiteY22" fmla="*/ 385391 h 672123"/>
                <a:gd name="connsiteX23" fmla="*/ 1973280 w 2461846"/>
                <a:gd name="connsiteY23" fmla="*/ 398585 h 672123"/>
                <a:gd name="connsiteX24" fmla="*/ 2325077 w 2461846"/>
                <a:gd name="connsiteY24" fmla="*/ 398585 h 672123"/>
                <a:gd name="connsiteX25" fmla="*/ 2461846 w 2461846"/>
                <a:gd name="connsiteY25" fmla="*/ 535354 h 672123"/>
                <a:gd name="connsiteX26" fmla="*/ 2325077 w 2461846"/>
                <a:gd name="connsiteY26" fmla="*/ 672123 h 672123"/>
                <a:gd name="connsiteX27" fmla="*/ 1656862 w 2461846"/>
                <a:gd name="connsiteY27" fmla="*/ 672123 h 672123"/>
                <a:gd name="connsiteX0" fmla="*/ 1444137 w 2461846"/>
                <a:gd name="connsiteY0" fmla="*/ 672123 h 672123"/>
                <a:gd name="connsiteX1" fmla="*/ 1004276 w 2461846"/>
                <a:gd name="connsiteY1" fmla="*/ 672123 h 672123"/>
                <a:gd name="connsiteX2" fmla="*/ 867507 w 2461846"/>
                <a:gd name="connsiteY2" fmla="*/ 535354 h 672123"/>
                <a:gd name="connsiteX3" fmla="*/ 878255 w 2461846"/>
                <a:gd name="connsiteY3" fmla="*/ 482118 h 672123"/>
                <a:gd name="connsiteX4" fmla="*/ 887151 w 2461846"/>
                <a:gd name="connsiteY4" fmla="*/ 468923 h 672123"/>
                <a:gd name="connsiteX5" fmla="*/ 136769 w 2461846"/>
                <a:gd name="connsiteY5" fmla="*/ 468923 h 672123"/>
                <a:gd name="connsiteX6" fmla="*/ 0 w 2461846"/>
                <a:gd name="connsiteY6" fmla="*/ 332154 h 672123"/>
                <a:gd name="connsiteX7" fmla="*/ 136769 w 2461846"/>
                <a:gd name="connsiteY7" fmla="*/ 195385 h 672123"/>
                <a:gd name="connsiteX8" fmla="*/ 530294 w 2461846"/>
                <a:gd name="connsiteY8" fmla="*/ 195385 h 672123"/>
                <a:gd name="connsiteX9" fmla="*/ 507642 w 2461846"/>
                <a:gd name="connsiteY9" fmla="*/ 180112 h 672123"/>
                <a:gd name="connsiteX10" fmla="*/ 485031 w 2461846"/>
                <a:gd name="connsiteY10" fmla="*/ 146575 h 672123"/>
                <a:gd name="connsiteX11" fmla="*/ 476739 w 2461846"/>
                <a:gd name="connsiteY11" fmla="*/ 105507 h 672123"/>
                <a:gd name="connsiteX12" fmla="*/ 485031 w 2461846"/>
                <a:gd name="connsiteY12" fmla="*/ 64440 h 672123"/>
                <a:gd name="connsiteX13" fmla="*/ 582247 w 2461846"/>
                <a:gd name="connsiteY13" fmla="*/ 0 h 672123"/>
                <a:gd name="connsiteX14" fmla="*/ 1410678 w 2461846"/>
                <a:gd name="connsiteY14" fmla="*/ 0 h 672123"/>
                <a:gd name="connsiteX15" fmla="*/ 1516186 w 2461846"/>
                <a:gd name="connsiteY15" fmla="*/ 105508 h 672123"/>
                <a:gd name="connsiteX16" fmla="*/ 1516185 w 2461846"/>
                <a:gd name="connsiteY16" fmla="*/ 105508 h 672123"/>
                <a:gd name="connsiteX17" fmla="*/ 1485282 w 2461846"/>
                <a:gd name="connsiteY17" fmla="*/ 180113 h 672123"/>
                <a:gd name="connsiteX18" fmla="*/ 1462632 w 2461846"/>
                <a:gd name="connsiteY18" fmla="*/ 195385 h 672123"/>
                <a:gd name="connsiteX19" fmla="*/ 1856155 w 2461846"/>
                <a:gd name="connsiteY19" fmla="*/ 195385 h 672123"/>
                <a:gd name="connsiteX20" fmla="*/ 1992924 w 2461846"/>
                <a:gd name="connsiteY20" fmla="*/ 332154 h 672123"/>
                <a:gd name="connsiteX21" fmla="*/ 1982176 w 2461846"/>
                <a:gd name="connsiteY21" fmla="*/ 385391 h 672123"/>
                <a:gd name="connsiteX22" fmla="*/ 1973280 w 2461846"/>
                <a:gd name="connsiteY22" fmla="*/ 398585 h 672123"/>
                <a:gd name="connsiteX23" fmla="*/ 2325077 w 2461846"/>
                <a:gd name="connsiteY23" fmla="*/ 398585 h 672123"/>
                <a:gd name="connsiteX24" fmla="*/ 2461846 w 2461846"/>
                <a:gd name="connsiteY24" fmla="*/ 535354 h 672123"/>
                <a:gd name="connsiteX25" fmla="*/ 2325077 w 2461846"/>
                <a:gd name="connsiteY25" fmla="*/ 672123 h 672123"/>
                <a:gd name="connsiteX26" fmla="*/ 1656862 w 2461846"/>
                <a:gd name="connsiteY26" fmla="*/ 672123 h 672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461846" h="672123">
                  <a:moveTo>
                    <a:pt x="1444137" y="672123"/>
                  </a:moveTo>
                  <a:lnTo>
                    <a:pt x="1004276" y="672123"/>
                  </a:lnTo>
                  <a:cubicBezTo>
                    <a:pt x="928741" y="672123"/>
                    <a:pt x="867507" y="610889"/>
                    <a:pt x="867507" y="535354"/>
                  </a:cubicBezTo>
                  <a:cubicBezTo>
                    <a:pt x="867507" y="516470"/>
                    <a:pt x="871334" y="498480"/>
                    <a:pt x="878255" y="482118"/>
                  </a:cubicBezTo>
                  <a:lnTo>
                    <a:pt x="887151" y="468923"/>
                  </a:lnTo>
                  <a:lnTo>
                    <a:pt x="136769" y="468923"/>
                  </a:lnTo>
                  <a:cubicBezTo>
                    <a:pt x="61234" y="468923"/>
                    <a:pt x="0" y="407689"/>
                    <a:pt x="0" y="332154"/>
                  </a:cubicBezTo>
                  <a:cubicBezTo>
                    <a:pt x="0" y="256619"/>
                    <a:pt x="61234" y="195385"/>
                    <a:pt x="136769" y="195385"/>
                  </a:cubicBezTo>
                  <a:lnTo>
                    <a:pt x="530294" y="195385"/>
                  </a:lnTo>
                  <a:lnTo>
                    <a:pt x="507642" y="180112"/>
                  </a:lnTo>
                  <a:cubicBezTo>
                    <a:pt x="498095" y="170566"/>
                    <a:pt x="490370" y="159198"/>
                    <a:pt x="485031" y="146575"/>
                  </a:cubicBezTo>
                  <a:lnTo>
                    <a:pt x="476739" y="105507"/>
                  </a:lnTo>
                  <a:lnTo>
                    <a:pt x="485031" y="64440"/>
                  </a:lnTo>
                  <a:cubicBezTo>
                    <a:pt x="501048" y="26571"/>
                    <a:pt x="538545" y="0"/>
                    <a:pt x="582247" y="0"/>
                  </a:cubicBezTo>
                  <a:lnTo>
                    <a:pt x="1410678" y="0"/>
                  </a:lnTo>
                  <a:cubicBezTo>
                    <a:pt x="1468948" y="0"/>
                    <a:pt x="1516186" y="47238"/>
                    <a:pt x="1516186" y="105508"/>
                  </a:cubicBezTo>
                  <a:lnTo>
                    <a:pt x="1516185" y="105508"/>
                  </a:lnTo>
                  <a:cubicBezTo>
                    <a:pt x="1516185" y="134643"/>
                    <a:pt x="1504376" y="161020"/>
                    <a:pt x="1485282" y="180113"/>
                  </a:cubicBezTo>
                  <a:lnTo>
                    <a:pt x="1462632" y="195385"/>
                  </a:lnTo>
                  <a:lnTo>
                    <a:pt x="1856155" y="195385"/>
                  </a:lnTo>
                  <a:cubicBezTo>
                    <a:pt x="1931690" y="195385"/>
                    <a:pt x="1992924" y="256619"/>
                    <a:pt x="1992924" y="332154"/>
                  </a:cubicBezTo>
                  <a:cubicBezTo>
                    <a:pt x="1992924" y="351038"/>
                    <a:pt x="1989097" y="369028"/>
                    <a:pt x="1982176" y="385391"/>
                  </a:cubicBezTo>
                  <a:lnTo>
                    <a:pt x="1973280" y="398585"/>
                  </a:lnTo>
                  <a:lnTo>
                    <a:pt x="2325077" y="398585"/>
                  </a:lnTo>
                  <a:cubicBezTo>
                    <a:pt x="2400612" y="398585"/>
                    <a:pt x="2461846" y="459819"/>
                    <a:pt x="2461846" y="535354"/>
                  </a:cubicBezTo>
                  <a:cubicBezTo>
                    <a:pt x="2461846" y="610889"/>
                    <a:pt x="2400612" y="672123"/>
                    <a:pt x="2325077" y="672123"/>
                  </a:cubicBezTo>
                  <a:lnTo>
                    <a:pt x="1656862" y="672123"/>
                  </a:lnTo>
                </a:path>
              </a:pathLst>
            </a:custGeom>
            <a:noFill/>
            <a:ln w="22225" cap="rnd">
              <a:solidFill>
                <a:schemeClr val="accent1"/>
              </a:solidFill>
              <a:miter lim="800000"/>
              <a:headEnd/>
              <a:tailEnd/>
            </a:ln>
            <a:effectLst/>
          </p:spPr>
          <p:txBody>
            <a:bodyPr wrap="square" lIns="93260" tIns="46630" rIns="93260" bIns="46630" numCol="1" spcCol="0" rtlCol="0" fromWordArt="0" anchor="ctr" anchorCtr="0" forceAA="0" compatLnSpc="1"/>
            <a:lstStyle/>
            <a:p>
              <a:pPr defTabSz="932597">
                <a:defRPr/>
              </a:pPr>
              <a:endParaRPr lang="en-US" sz="1836">
                <a:solidFill>
                  <a:prstClr val="black"/>
                </a:solidFill>
                <a:latin typeface="Arial" charset="0"/>
                <a:ea typeface="Arial" charset="0"/>
                <a:cs typeface="Arial" charset="0"/>
              </a:endParaRPr>
            </a:p>
          </p:txBody>
        </p:sp>
      </p:grpSp>
    </p:spTree>
    <p:extLst>
      <p:ext uri="{BB962C8B-B14F-4D97-AF65-F5344CB8AC3E}">
        <p14:creationId xmlns:p14="http://schemas.microsoft.com/office/powerpoint/2010/main" val="19579722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Azure SQL Database — Everything built-in</a:t>
            </a:r>
          </a:p>
        </p:txBody>
      </p:sp>
      <p:graphicFrame>
        <p:nvGraphicFramePr>
          <p:cNvPr id="5" name="Diagram 4">
            <a:extLst>
              <a:ext uri="{FF2B5EF4-FFF2-40B4-BE49-F238E27FC236}">
                <a16:creationId xmlns:a16="http://schemas.microsoft.com/office/drawing/2014/main" id="{10BDAC0E-EE5E-4586-A6C7-6F024454C575}"/>
              </a:ext>
            </a:extLst>
          </p:cNvPr>
          <p:cNvGraphicFramePr/>
          <p:nvPr>
            <p:extLst>
              <p:ext uri="{D42A27DB-BD31-4B8C-83A1-F6EECF244321}">
                <p14:modId xmlns:p14="http://schemas.microsoft.com/office/powerpoint/2010/main" val="2347737619"/>
              </p:ext>
            </p:extLst>
          </p:nvPr>
        </p:nvGraphicFramePr>
        <p:xfrm>
          <a:off x="324255" y="1304237"/>
          <a:ext cx="6055441"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AFF37419-8D15-42A3-8891-36D6C9CA1502}"/>
              </a:ext>
            </a:extLst>
          </p:cNvPr>
          <p:cNvGraphicFramePr/>
          <p:nvPr>
            <p:extLst>
              <p:ext uri="{D42A27DB-BD31-4B8C-83A1-F6EECF244321}">
                <p14:modId xmlns:p14="http://schemas.microsoft.com/office/powerpoint/2010/main" val="1776999743"/>
              </p:ext>
            </p:extLst>
          </p:nvPr>
        </p:nvGraphicFramePr>
        <p:xfrm>
          <a:off x="6086413" y="1304237"/>
          <a:ext cx="5773323" cy="48196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7" name="Light_Bulb">
            <a:extLst>
              <a:ext uri="{FF2B5EF4-FFF2-40B4-BE49-F238E27FC236}">
                <a16:creationId xmlns:a16="http://schemas.microsoft.com/office/drawing/2014/main" id="{355FAD7A-88F6-4FFB-ACC2-860764C043C8}"/>
              </a:ext>
            </a:extLst>
          </p:cNvPr>
          <p:cNvGrpSpPr/>
          <p:nvPr/>
        </p:nvGrpSpPr>
        <p:grpSpPr>
          <a:xfrm>
            <a:off x="7023892" y="5428112"/>
            <a:ext cx="419001" cy="625153"/>
            <a:chOff x="2026143" y="1624779"/>
            <a:chExt cx="497504" cy="772427"/>
          </a:xfrm>
        </p:grpSpPr>
        <p:sp>
          <p:nvSpPr>
            <p:cNvPr id="8" name="Freeform: Shape 7">
              <a:extLst>
                <a:ext uri="{FF2B5EF4-FFF2-40B4-BE49-F238E27FC236}">
                  <a16:creationId xmlns:a16="http://schemas.microsoft.com/office/drawing/2014/main" id="{D7F26E66-1A95-41D5-A300-C988375BDEEA}"/>
                </a:ext>
              </a:extLst>
            </p:cNvPr>
            <p:cNvSpPr/>
            <p:nvPr/>
          </p:nvSpPr>
          <p:spPr>
            <a:xfrm>
              <a:off x="2026143" y="1624779"/>
              <a:ext cx="497504" cy="597006"/>
            </a:xfrm>
            <a:custGeom>
              <a:avLst/>
              <a:gdLst/>
              <a:ahLst/>
              <a:cxnLst/>
              <a:rect l="0" t="0" r="0" b="0"/>
              <a:pathLst>
                <a:path w="497504" h="597005">
                  <a:moveTo>
                    <a:pt x="499595" y="253364"/>
                  </a:moveTo>
                  <a:cubicBezTo>
                    <a:pt x="499595" y="111852"/>
                    <a:pt x="379088" y="-2021"/>
                    <a:pt x="235365" y="9034"/>
                  </a:cubicBezTo>
                  <a:cubicBezTo>
                    <a:pt x="113752" y="17879"/>
                    <a:pt x="15357" y="117380"/>
                    <a:pt x="8724" y="240097"/>
                  </a:cubicBezTo>
                  <a:cubicBezTo>
                    <a:pt x="4301" y="315276"/>
                    <a:pt x="34152" y="382715"/>
                    <a:pt x="83902" y="430255"/>
                  </a:cubicBezTo>
                  <a:cubicBezTo>
                    <a:pt x="128125" y="472266"/>
                    <a:pt x="151342" y="531967"/>
                    <a:pt x="151342" y="592773"/>
                  </a:cubicBezTo>
                  <a:lnTo>
                    <a:pt x="151342" y="597195"/>
                  </a:lnTo>
                  <a:lnTo>
                    <a:pt x="358082" y="597195"/>
                  </a:lnTo>
                  <a:lnTo>
                    <a:pt x="358082" y="592773"/>
                  </a:lnTo>
                  <a:cubicBezTo>
                    <a:pt x="358082" y="530861"/>
                    <a:pt x="384616" y="471160"/>
                    <a:pt x="428839" y="428043"/>
                  </a:cubicBezTo>
                  <a:cubicBezTo>
                    <a:pt x="471956" y="382715"/>
                    <a:pt x="499595" y="320804"/>
                    <a:pt x="499595" y="253364"/>
                  </a:cubicBezTo>
                  <a:close/>
                </a:path>
              </a:pathLst>
            </a:custGeom>
            <a:solidFill>
              <a:srgbClr val="0078D4"/>
            </a:solidFill>
            <a:ln w="9525" cap="flat">
              <a:noFill/>
              <a:prstDash val="solid"/>
              <a:miter/>
            </a:ln>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9" name="Freeform: Shape 8">
              <a:extLst>
                <a:ext uri="{FF2B5EF4-FFF2-40B4-BE49-F238E27FC236}">
                  <a16:creationId xmlns:a16="http://schemas.microsoft.com/office/drawing/2014/main" id="{F3491F69-FA11-40A4-98EE-D3E49FF2728B}"/>
                </a:ext>
              </a:extLst>
            </p:cNvPr>
            <p:cNvSpPr/>
            <p:nvPr/>
          </p:nvSpPr>
          <p:spPr>
            <a:xfrm>
              <a:off x="2142659" y="1811257"/>
              <a:ext cx="121612" cy="475393"/>
            </a:xfrm>
            <a:custGeom>
              <a:avLst/>
              <a:gdLst/>
              <a:ahLst/>
              <a:cxnLst/>
              <a:rect l="0" t="0" r="0" b="0"/>
              <a:pathLst>
                <a:path w="121612" h="475393">
                  <a:moveTo>
                    <a:pt x="105582" y="118848"/>
                  </a:moveTo>
                  <a:lnTo>
                    <a:pt x="104476" y="100054"/>
                  </a:lnTo>
                  <a:cubicBezTo>
                    <a:pt x="104476" y="100054"/>
                    <a:pt x="104476" y="100054"/>
                    <a:pt x="104476" y="100054"/>
                  </a:cubicBezTo>
                  <a:lnTo>
                    <a:pt x="103370" y="55831"/>
                  </a:lnTo>
                  <a:cubicBezTo>
                    <a:pt x="103370" y="30403"/>
                    <a:pt x="82365" y="8292"/>
                    <a:pt x="55831" y="8292"/>
                  </a:cubicBezTo>
                  <a:cubicBezTo>
                    <a:pt x="30403" y="8292"/>
                    <a:pt x="8292" y="29297"/>
                    <a:pt x="8292" y="55831"/>
                  </a:cubicBezTo>
                  <a:lnTo>
                    <a:pt x="8292" y="58042"/>
                  </a:lnTo>
                  <a:cubicBezTo>
                    <a:pt x="8292" y="76837"/>
                    <a:pt x="19347" y="94526"/>
                    <a:pt x="37036" y="101159"/>
                  </a:cubicBezTo>
                  <a:lnTo>
                    <a:pt x="38142" y="101159"/>
                  </a:lnTo>
                  <a:cubicBezTo>
                    <a:pt x="53620" y="107793"/>
                    <a:pt x="69098" y="112215"/>
                    <a:pt x="84576" y="115532"/>
                  </a:cubicBezTo>
                  <a:lnTo>
                    <a:pt x="96737" y="470418"/>
                  </a:lnTo>
                  <a:lnTo>
                    <a:pt x="115532" y="469312"/>
                  </a:lnTo>
                  <a:lnTo>
                    <a:pt x="105582" y="118848"/>
                  </a:lnTo>
                  <a:cubicBezTo>
                    <a:pt x="105582" y="118848"/>
                    <a:pt x="105582" y="118848"/>
                    <a:pt x="105582" y="118848"/>
                  </a:cubicBezTo>
                  <a:close/>
                  <a:moveTo>
                    <a:pt x="46987" y="84576"/>
                  </a:moveTo>
                  <a:lnTo>
                    <a:pt x="45881" y="84576"/>
                  </a:lnTo>
                  <a:cubicBezTo>
                    <a:pt x="34825" y="80153"/>
                    <a:pt x="28192" y="70203"/>
                    <a:pt x="28192" y="59148"/>
                  </a:cubicBezTo>
                  <a:lnTo>
                    <a:pt x="28192" y="56937"/>
                  </a:lnTo>
                  <a:cubicBezTo>
                    <a:pt x="28192" y="41459"/>
                    <a:pt x="40353" y="29297"/>
                    <a:pt x="55831" y="29297"/>
                  </a:cubicBezTo>
                  <a:cubicBezTo>
                    <a:pt x="71309" y="29297"/>
                    <a:pt x="83470" y="41459"/>
                    <a:pt x="83470" y="58042"/>
                  </a:cubicBezTo>
                  <a:lnTo>
                    <a:pt x="84576" y="98948"/>
                  </a:lnTo>
                  <a:cubicBezTo>
                    <a:pt x="72415" y="93420"/>
                    <a:pt x="59148" y="88998"/>
                    <a:pt x="46987" y="84576"/>
                  </a:cubicBezTo>
                  <a:close/>
                </a:path>
              </a:pathLst>
            </a:custGeom>
            <a:solidFill>
              <a:srgbClr val="FFFFFF"/>
            </a:solidFill>
            <a:ln w="9525" cap="flat">
              <a:noFill/>
              <a:prstDash val="solid"/>
              <a:miter/>
            </a:ln>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0" name="Freeform: Shape 9">
              <a:extLst>
                <a:ext uri="{FF2B5EF4-FFF2-40B4-BE49-F238E27FC236}">
                  <a16:creationId xmlns:a16="http://schemas.microsoft.com/office/drawing/2014/main" id="{4A8FAA74-9AE4-4EF7-8FDD-0A17E48957F9}"/>
                </a:ext>
              </a:extLst>
            </p:cNvPr>
            <p:cNvSpPr/>
            <p:nvPr/>
          </p:nvSpPr>
          <p:spPr>
            <a:xfrm>
              <a:off x="2253215" y="1811257"/>
              <a:ext cx="154779" cy="475393"/>
            </a:xfrm>
            <a:custGeom>
              <a:avLst/>
              <a:gdLst/>
              <a:ahLst/>
              <a:cxnLst/>
              <a:rect l="0" t="0" r="0" b="0"/>
              <a:pathLst>
                <a:path w="154779" h="475393">
                  <a:moveTo>
                    <a:pt x="108898" y="8292"/>
                  </a:moveTo>
                  <a:lnTo>
                    <a:pt x="108898" y="8292"/>
                  </a:lnTo>
                  <a:cubicBezTo>
                    <a:pt x="82365" y="8292"/>
                    <a:pt x="61359" y="29297"/>
                    <a:pt x="61359" y="54725"/>
                  </a:cubicBezTo>
                  <a:lnTo>
                    <a:pt x="60253" y="98948"/>
                  </a:lnTo>
                  <a:cubicBezTo>
                    <a:pt x="42564" y="101159"/>
                    <a:pt x="25981" y="101159"/>
                    <a:pt x="8292" y="100054"/>
                  </a:cubicBezTo>
                  <a:lnTo>
                    <a:pt x="9397" y="118848"/>
                  </a:lnTo>
                  <a:cubicBezTo>
                    <a:pt x="25981" y="119954"/>
                    <a:pt x="43670" y="119954"/>
                    <a:pt x="60253" y="117743"/>
                  </a:cubicBezTo>
                  <a:lnTo>
                    <a:pt x="46987" y="470418"/>
                  </a:lnTo>
                  <a:lnTo>
                    <a:pt x="65781" y="471524"/>
                  </a:lnTo>
                  <a:lnTo>
                    <a:pt x="77942" y="116637"/>
                  </a:lnTo>
                  <a:lnTo>
                    <a:pt x="79048" y="96737"/>
                  </a:lnTo>
                  <a:lnTo>
                    <a:pt x="80154" y="55831"/>
                  </a:lnTo>
                  <a:cubicBezTo>
                    <a:pt x="80154" y="40353"/>
                    <a:pt x="92315" y="28192"/>
                    <a:pt x="107793" y="28192"/>
                  </a:cubicBezTo>
                  <a:lnTo>
                    <a:pt x="108898" y="28192"/>
                  </a:lnTo>
                  <a:cubicBezTo>
                    <a:pt x="124376" y="28192"/>
                    <a:pt x="136537" y="40353"/>
                    <a:pt x="136537" y="55831"/>
                  </a:cubicBezTo>
                  <a:lnTo>
                    <a:pt x="136537" y="58042"/>
                  </a:lnTo>
                  <a:cubicBezTo>
                    <a:pt x="136537" y="69098"/>
                    <a:pt x="129904" y="79048"/>
                    <a:pt x="118848" y="83470"/>
                  </a:cubicBezTo>
                  <a:cubicBezTo>
                    <a:pt x="111109" y="86787"/>
                    <a:pt x="102265" y="90104"/>
                    <a:pt x="93420" y="92315"/>
                  </a:cubicBezTo>
                  <a:lnTo>
                    <a:pt x="92315" y="112215"/>
                  </a:lnTo>
                  <a:cubicBezTo>
                    <a:pt x="103370" y="108898"/>
                    <a:pt x="114426" y="105581"/>
                    <a:pt x="125482" y="101159"/>
                  </a:cubicBezTo>
                  <a:cubicBezTo>
                    <a:pt x="143171" y="93420"/>
                    <a:pt x="154226" y="76837"/>
                    <a:pt x="154226" y="58042"/>
                  </a:cubicBezTo>
                  <a:lnTo>
                    <a:pt x="154226" y="55831"/>
                  </a:lnTo>
                  <a:cubicBezTo>
                    <a:pt x="156438" y="29297"/>
                    <a:pt x="135432" y="8292"/>
                    <a:pt x="108898" y="8292"/>
                  </a:cubicBezTo>
                  <a:close/>
                </a:path>
              </a:pathLst>
            </a:custGeom>
            <a:solidFill>
              <a:srgbClr val="FFFFFF"/>
            </a:solidFill>
            <a:ln w="9525" cap="flat">
              <a:noFill/>
              <a:prstDash val="solid"/>
              <a:miter/>
            </a:ln>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1" name="Freeform: Shape 10">
              <a:extLst>
                <a:ext uri="{FF2B5EF4-FFF2-40B4-BE49-F238E27FC236}">
                  <a16:creationId xmlns:a16="http://schemas.microsoft.com/office/drawing/2014/main" id="{B35F9416-A3CC-4F64-8829-4CA6881B0A33}"/>
                </a:ext>
              </a:extLst>
            </p:cNvPr>
            <p:cNvSpPr/>
            <p:nvPr/>
          </p:nvSpPr>
          <p:spPr>
            <a:xfrm>
              <a:off x="2169192" y="2209260"/>
              <a:ext cx="221113" cy="187946"/>
            </a:xfrm>
            <a:custGeom>
              <a:avLst/>
              <a:gdLst/>
              <a:ahLst/>
              <a:cxnLst/>
              <a:rect l="0" t="0" r="0" b="0"/>
              <a:pathLst>
                <a:path w="221113" h="187946">
                  <a:moveTo>
                    <a:pt x="8292" y="8292"/>
                  </a:moveTo>
                  <a:lnTo>
                    <a:pt x="8292" y="125482"/>
                  </a:lnTo>
                  <a:cubicBezTo>
                    <a:pt x="8292" y="142065"/>
                    <a:pt x="21559" y="156438"/>
                    <a:pt x="39248" y="156438"/>
                  </a:cubicBezTo>
                  <a:lnTo>
                    <a:pt x="81259" y="156438"/>
                  </a:lnTo>
                  <a:lnTo>
                    <a:pt x="81259" y="182971"/>
                  </a:lnTo>
                  <a:lnTo>
                    <a:pt x="144276" y="182971"/>
                  </a:lnTo>
                  <a:lnTo>
                    <a:pt x="144276" y="156438"/>
                  </a:lnTo>
                  <a:lnTo>
                    <a:pt x="186288" y="156438"/>
                  </a:lnTo>
                  <a:cubicBezTo>
                    <a:pt x="202871" y="156438"/>
                    <a:pt x="217244" y="143171"/>
                    <a:pt x="217244" y="125482"/>
                  </a:cubicBezTo>
                  <a:lnTo>
                    <a:pt x="217244" y="8292"/>
                  </a:lnTo>
                  <a:lnTo>
                    <a:pt x="8292" y="8292"/>
                  </a:lnTo>
                  <a:close/>
                </a:path>
              </a:pathLst>
            </a:custGeom>
            <a:solidFill>
              <a:srgbClr val="163E6A"/>
            </a:solidFill>
            <a:ln w="9525" cap="flat">
              <a:noFill/>
              <a:prstDash val="solid"/>
              <a:miter/>
            </a:ln>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2" name="Freeform: Shape 11">
              <a:extLst>
                <a:ext uri="{FF2B5EF4-FFF2-40B4-BE49-F238E27FC236}">
                  <a16:creationId xmlns:a16="http://schemas.microsoft.com/office/drawing/2014/main" id="{3130C290-FF1A-47F8-8635-CDBA956BED03}"/>
                </a:ext>
              </a:extLst>
            </p:cNvPr>
            <p:cNvSpPr/>
            <p:nvPr/>
          </p:nvSpPr>
          <p:spPr>
            <a:xfrm>
              <a:off x="2169192" y="2242427"/>
              <a:ext cx="176891" cy="33167"/>
            </a:xfrm>
            <a:custGeom>
              <a:avLst/>
              <a:gdLst/>
              <a:ahLst/>
              <a:cxnLst/>
              <a:rect l="0" t="0" r="0" b="0"/>
              <a:pathLst>
                <a:path w="176890" h="33166">
                  <a:moveTo>
                    <a:pt x="8292" y="8292"/>
                  </a:moveTo>
                  <a:lnTo>
                    <a:pt x="173021" y="8292"/>
                  </a:lnTo>
                  <a:lnTo>
                    <a:pt x="173021" y="31509"/>
                  </a:lnTo>
                  <a:lnTo>
                    <a:pt x="8292" y="31509"/>
                  </a:lnTo>
                  <a:close/>
                </a:path>
              </a:pathLst>
            </a:custGeom>
            <a:solidFill>
              <a:srgbClr val="0078D4"/>
            </a:solidFill>
            <a:ln w="9525" cap="flat">
              <a:noFill/>
              <a:prstDash val="solid"/>
              <a:miter/>
            </a:ln>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3" name="Freeform: Shape 12">
              <a:extLst>
                <a:ext uri="{FF2B5EF4-FFF2-40B4-BE49-F238E27FC236}">
                  <a16:creationId xmlns:a16="http://schemas.microsoft.com/office/drawing/2014/main" id="{F3304A7B-0B1B-4D11-A765-2EFC90807187}"/>
                </a:ext>
              </a:extLst>
            </p:cNvPr>
            <p:cNvSpPr/>
            <p:nvPr/>
          </p:nvSpPr>
          <p:spPr>
            <a:xfrm>
              <a:off x="2169192" y="2294389"/>
              <a:ext cx="176891" cy="33167"/>
            </a:xfrm>
            <a:custGeom>
              <a:avLst/>
              <a:gdLst/>
              <a:ahLst/>
              <a:cxnLst/>
              <a:rect l="0" t="0" r="0" b="0"/>
              <a:pathLst>
                <a:path w="176890" h="33166">
                  <a:moveTo>
                    <a:pt x="8292" y="8292"/>
                  </a:moveTo>
                  <a:lnTo>
                    <a:pt x="173021" y="8292"/>
                  </a:lnTo>
                  <a:lnTo>
                    <a:pt x="173021" y="31509"/>
                  </a:lnTo>
                  <a:lnTo>
                    <a:pt x="8292" y="31509"/>
                  </a:lnTo>
                  <a:close/>
                </a:path>
              </a:pathLst>
            </a:custGeom>
            <a:solidFill>
              <a:srgbClr val="0078D4"/>
            </a:solidFill>
            <a:ln w="9525" cap="flat">
              <a:noFill/>
              <a:prstDash val="solid"/>
              <a:miter/>
            </a:ln>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grpSp>
        <p:nvGrpSpPr>
          <p:cNvPr id="14" name="Group 13">
            <a:extLst>
              <a:ext uri="{FF2B5EF4-FFF2-40B4-BE49-F238E27FC236}">
                <a16:creationId xmlns:a16="http://schemas.microsoft.com/office/drawing/2014/main" id="{31A3734E-FA95-4D85-8F49-B012C0AF65BC}"/>
              </a:ext>
            </a:extLst>
          </p:cNvPr>
          <p:cNvGrpSpPr/>
          <p:nvPr/>
        </p:nvGrpSpPr>
        <p:grpSpPr>
          <a:xfrm>
            <a:off x="7018715" y="1469265"/>
            <a:ext cx="620740" cy="401737"/>
            <a:chOff x="6579943" y="1275628"/>
            <a:chExt cx="670649" cy="451667"/>
          </a:xfrm>
        </p:grpSpPr>
        <p:sp>
          <p:nvSpPr>
            <p:cNvPr id="15" name="Freeform 5">
              <a:extLst>
                <a:ext uri="{FF2B5EF4-FFF2-40B4-BE49-F238E27FC236}">
                  <a16:creationId xmlns:a16="http://schemas.microsoft.com/office/drawing/2014/main" id="{C0154DB5-7A53-4F25-94F7-3F8CC86EC4A6}"/>
                </a:ext>
              </a:extLst>
            </p:cNvPr>
            <p:cNvSpPr>
              <a:spLocks/>
            </p:cNvSpPr>
            <p:nvPr/>
          </p:nvSpPr>
          <p:spPr bwMode="auto">
            <a:xfrm>
              <a:off x="6579943" y="1275628"/>
              <a:ext cx="670649" cy="451667"/>
            </a:xfrm>
            <a:custGeom>
              <a:avLst/>
              <a:gdLst>
                <a:gd name="T0" fmla="*/ 113 w 172"/>
                <a:gd name="T1" fmla="*/ 103 h 104"/>
                <a:gd name="T2" fmla="*/ 146 w 172"/>
                <a:gd name="T3" fmla="*/ 103 h 104"/>
                <a:gd name="T4" fmla="*/ 172 w 172"/>
                <a:gd name="T5" fmla="*/ 77 h 104"/>
                <a:gd name="T6" fmla="*/ 146 w 172"/>
                <a:gd name="T7" fmla="*/ 51 h 104"/>
                <a:gd name="T8" fmla="*/ 135 w 172"/>
                <a:gd name="T9" fmla="*/ 54 h 104"/>
                <a:gd name="T10" fmla="*/ 138 w 172"/>
                <a:gd name="T11" fmla="*/ 40 h 104"/>
                <a:gd name="T12" fmla="*/ 98 w 172"/>
                <a:gd name="T13" fmla="*/ 0 h 104"/>
                <a:gd name="T14" fmla="*/ 60 w 172"/>
                <a:gd name="T15" fmla="*/ 31 h 104"/>
                <a:gd name="T16" fmla="*/ 44 w 172"/>
                <a:gd name="T17" fmla="*/ 24 h 104"/>
                <a:gd name="T18" fmla="*/ 23 w 172"/>
                <a:gd name="T19" fmla="*/ 46 h 104"/>
                <a:gd name="T20" fmla="*/ 23 w 172"/>
                <a:gd name="T21" fmla="*/ 46 h 104"/>
                <a:gd name="T22" fmla="*/ 0 w 172"/>
                <a:gd name="T23" fmla="*/ 74 h 104"/>
                <a:gd name="T24" fmla="*/ 29 w 172"/>
                <a:gd name="T25" fmla="*/ 103 h 104"/>
                <a:gd name="T26" fmla="*/ 55 w 172"/>
                <a:gd name="T27" fmla="*/ 104 h 104"/>
                <a:gd name="T28" fmla="*/ 99 w 172"/>
                <a:gd name="T29"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2" h="104">
                  <a:moveTo>
                    <a:pt x="113" y="103"/>
                  </a:moveTo>
                  <a:cubicBezTo>
                    <a:pt x="132" y="103"/>
                    <a:pt x="146" y="103"/>
                    <a:pt x="146" y="103"/>
                  </a:cubicBezTo>
                  <a:cubicBezTo>
                    <a:pt x="160" y="103"/>
                    <a:pt x="172" y="92"/>
                    <a:pt x="172" y="77"/>
                  </a:cubicBezTo>
                  <a:cubicBezTo>
                    <a:pt x="172" y="63"/>
                    <a:pt x="160" y="51"/>
                    <a:pt x="146" y="51"/>
                  </a:cubicBezTo>
                  <a:cubicBezTo>
                    <a:pt x="142" y="51"/>
                    <a:pt x="139" y="52"/>
                    <a:pt x="135" y="54"/>
                  </a:cubicBezTo>
                  <a:cubicBezTo>
                    <a:pt x="137" y="49"/>
                    <a:pt x="138" y="45"/>
                    <a:pt x="138" y="40"/>
                  </a:cubicBezTo>
                  <a:cubicBezTo>
                    <a:pt x="138" y="18"/>
                    <a:pt x="120" y="0"/>
                    <a:pt x="98" y="0"/>
                  </a:cubicBezTo>
                  <a:cubicBezTo>
                    <a:pt x="79" y="0"/>
                    <a:pt x="64" y="13"/>
                    <a:pt x="60" y="31"/>
                  </a:cubicBezTo>
                  <a:cubicBezTo>
                    <a:pt x="56" y="27"/>
                    <a:pt x="50" y="24"/>
                    <a:pt x="44" y="24"/>
                  </a:cubicBezTo>
                  <a:cubicBezTo>
                    <a:pt x="33" y="24"/>
                    <a:pt x="23" y="34"/>
                    <a:pt x="23" y="46"/>
                  </a:cubicBezTo>
                  <a:cubicBezTo>
                    <a:pt x="23" y="46"/>
                    <a:pt x="23" y="46"/>
                    <a:pt x="23" y="46"/>
                  </a:cubicBezTo>
                  <a:cubicBezTo>
                    <a:pt x="10" y="49"/>
                    <a:pt x="0" y="60"/>
                    <a:pt x="0" y="74"/>
                  </a:cubicBezTo>
                  <a:cubicBezTo>
                    <a:pt x="0" y="90"/>
                    <a:pt x="13" y="103"/>
                    <a:pt x="29" y="103"/>
                  </a:cubicBezTo>
                  <a:cubicBezTo>
                    <a:pt x="30" y="103"/>
                    <a:pt x="30" y="104"/>
                    <a:pt x="55" y="104"/>
                  </a:cubicBezTo>
                  <a:cubicBezTo>
                    <a:pt x="76" y="104"/>
                    <a:pt x="80" y="95"/>
                    <a:pt x="99" y="74"/>
                  </a:cubicBezTo>
                </a:path>
              </a:pathLst>
            </a:custGeom>
            <a:noFill/>
            <a:ln w="19050" cap="rnd">
              <a:solidFill>
                <a:srgbClr val="163E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6" name="Freeform 6">
              <a:extLst>
                <a:ext uri="{FF2B5EF4-FFF2-40B4-BE49-F238E27FC236}">
                  <a16:creationId xmlns:a16="http://schemas.microsoft.com/office/drawing/2014/main" id="{5E29CC45-815C-4735-9149-65838D41BE21}"/>
                </a:ext>
              </a:extLst>
            </p:cNvPr>
            <p:cNvSpPr>
              <a:spLocks/>
            </p:cNvSpPr>
            <p:nvPr/>
          </p:nvSpPr>
          <p:spPr bwMode="auto">
            <a:xfrm>
              <a:off x="6908363" y="1532609"/>
              <a:ext cx="76708" cy="96613"/>
            </a:xfrm>
            <a:custGeom>
              <a:avLst/>
              <a:gdLst>
                <a:gd name="T0" fmla="*/ 0 w 35"/>
                <a:gd name="T1" fmla="*/ 16 h 40"/>
                <a:gd name="T2" fmla="*/ 35 w 35"/>
                <a:gd name="T3" fmla="*/ 0 h 40"/>
                <a:gd name="T4" fmla="*/ 33 w 35"/>
                <a:gd name="T5" fmla="*/ 40 h 40"/>
                <a:gd name="T6" fmla="*/ 0 w 35"/>
                <a:gd name="T7" fmla="*/ 16 h 40"/>
              </a:gdLst>
              <a:ahLst/>
              <a:cxnLst>
                <a:cxn ang="0">
                  <a:pos x="T0" y="T1"/>
                </a:cxn>
                <a:cxn ang="0">
                  <a:pos x="T2" y="T3"/>
                </a:cxn>
                <a:cxn ang="0">
                  <a:pos x="T4" y="T5"/>
                </a:cxn>
                <a:cxn ang="0">
                  <a:pos x="T6" y="T7"/>
                </a:cxn>
              </a:cxnLst>
              <a:rect l="0" t="0" r="r" b="b"/>
              <a:pathLst>
                <a:path w="35" h="40">
                  <a:moveTo>
                    <a:pt x="0" y="16"/>
                  </a:moveTo>
                  <a:lnTo>
                    <a:pt x="35" y="0"/>
                  </a:lnTo>
                  <a:lnTo>
                    <a:pt x="33" y="40"/>
                  </a:lnTo>
                  <a:lnTo>
                    <a:pt x="0" y="16"/>
                  </a:lnTo>
                  <a:close/>
                </a:path>
              </a:pathLst>
            </a:custGeom>
            <a:solidFill>
              <a:srgbClr val="163E6A"/>
            </a:solidFill>
            <a:ln w="9525">
              <a:solidFill>
                <a:srgbClr val="163E6A"/>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grpSp>
        <p:nvGrpSpPr>
          <p:cNvPr id="17" name="Group 16">
            <a:extLst>
              <a:ext uri="{FF2B5EF4-FFF2-40B4-BE49-F238E27FC236}">
                <a16:creationId xmlns:a16="http://schemas.microsoft.com/office/drawing/2014/main" id="{689EBCCC-EE61-4A53-A09A-790272BE74E9}"/>
              </a:ext>
            </a:extLst>
          </p:cNvPr>
          <p:cNvGrpSpPr/>
          <p:nvPr/>
        </p:nvGrpSpPr>
        <p:grpSpPr>
          <a:xfrm>
            <a:off x="7054721" y="2528089"/>
            <a:ext cx="450418" cy="488595"/>
            <a:chOff x="9592192" y="1744460"/>
            <a:chExt cx="551498" cy="552450"/>
          </a:xfrm>
        </p:grpSpPr>
        <p:sp>
          <p:nvSpPr>
            <p:cNvPr id="18" name="Freeform: Shape 17">
              <a:extLst>
                <a:ext uri="{FF2B5EF4-FFF2-40B4-BE49-F238E27FC236}">
                  <a16:creationId xmlns:a16="http://schemas.microsoft.com/office/drawing/2014/main" id="{AAAF2B0E-3BB0-43B3-A952-56AFB11B4A63}"/>
                </a:ext>
              </a:extLst>
            </p:cNvPr>
            <p:cNvSpPr/>
            <p:nvPr/>
          </p:nvSpPr>
          <p:spPr>
            <a:xfrm>
              <a:off x="9848415" y="1744460"/>
              <a:ext cx="295275" cy="552450"/>
            </a:xfrm>
            <a:custGeom>
              <a:avLst/>
              <a:gdLst/>
              <a:ahLst/>
              <a:cxnLst/>
              <a:rect l="0" t="0" r="0" b="0"/>
              <a:pathLst>
                <a:path w="295275" h="552450">
                  <a:moveTo>
                    <a:pt x="19526" y="7144"/>
                  </a:moveTo>
                  <a:lnTo>
                    <a:pt x="7144" y="246221"/>
                  </a:lnTo>
                  <a:lnTo>
                    <a:pt x="19526" y="547211"/>
                  </a:lnTo>
                  <a:lnTo>
                    <a:pt x="42386" y="534829"/>
                  </a:lnTo>
                  <a:cubicBezTo>
                    <a:pt x="194786" y="451009"/>
                    <a:pt x="290036" y="290036"/>
                    <a:pt x="290036" y="115729"/>
                  </a:cubicBezTo>
                  <a:lnTo>
                    <a:pt x="290036" y="7144"/>
                  </a:lnTo>
                  <a:lnTo>
                    <a:pt x="290036" y="7144"/>
                  </a:lnTo>
                  <a:cubicBezTo>
                    <a:pt x="204311" y="50006"/>
                    <a:pt x="104299" y="50006"/>
                    <a:pt x="19526" y="7144"/>
                  </a:cubicBezTo>
                  <a:lnTo>
                    <a:pt x="19526" y="7144"/>
                  </a:lnTo>
                  <a:close/>
                </a:path>
              </a:pathLst>
            </a:custGeom>
            <a:solidFill>
              <a:srgbClr val="50E6FF"/>
            </a:solidFill>
            <a:ln w="9525" cap="flat">
              <a:noFill/>
              <a:prstDash val="solid"/>
              <a:miter/>
            </a:ln>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9" name="Freeform: Shape 18">
              <a:extLst>
                <a:ext uri="{FF2B5EF4-FFF2-40B4-BE49-F238E27FC236}">
                  <a16:creationId xmlns:a16="http://schemas.microsoft.com/office/drawing/2014/main" id="{FAE732AF-C8D1-44F0-8BB0-FE4472E5F0CE}"/>
                </a:ext>
              </a:extLst>
            </p:cNvPr>
            <p:cNvSpPr/>
            <p:nvPr/>
          </p:nvSpPr>
          <p:spPr>
            <a:xfrm>
              <a:off x="9592192" y="1744460"/>
              <a:ext cx="485775" cy="552450"/>
            </a:xfrm>
            <a:custGeom>
              <a:avLst/>
              <a:gdLst/>
              <a:ahLst/>
              <a:cxnLst/>
              <a:rect l="0" t="0" r="0" b="0"/>
              <a:pathLst>
                <a:path w="485775" h="552450">
                  <a:moveTo>
                    <a:pt x="481489" y="214789"/>
                  </a:moveTo>
                  <a:lnTo>
                    <a:pt x="442436" y="175736"/>
                  </a:lnTo>
                  <a:lnTo>
                    <a:pt x="277654" y="340519"/>
                  </a:lnTo>
                  <a:lnTo>
                    <a:pt x="277654" y="7144"/>
                  </a:lnTo>
                  <a:cubicBezTo>
                    <a:pt x="192881" y="50006"/>
                    <a:pt x="91916" y="50006"/>
                    <a:pt x="7144" y="7144"/>
                  </a:cubicBezTo>
                  <a:lnTo>
                    <a:pt x="7144" y="115729"/>
                  </a:lnTo>
                  <a:cubicBezTo>
                    <a:pt x="7144" y="290036"/>
                    <a:pt x="101441" y="450056"/>
                    <a:pt x="254794" y="534829"/>
                  </a:cubicBezTo>
                  <a:lnTo>
                    <a:pt x="277654" y="547211"/>
                  </a:lnTo>
                  <a:lnTo>
                    <a:pt x="277654" y="419576"/>
                  </a:lnTo>
                  <a:lnTo>
                    <a:pt x="481489" y="214789"/>
                  </a:lnTo>
                  <a:close/>
                </a:path>
              </a:pathLst>
            </a:custGeom>
            <a:solidFill>
              <a:srgbClr val="0078D3"/>
            </a:solidFill>
            <a:ln w="9525" cap="flat">
              <a:noFill/>
              <a:prstDash val="solid"/>
              <a:miter/>
            </a:ln>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20" name="Freeform: Shape 19">
              <a:extLst>
                <a:ext uri="{FF2B5EF4-FFF2-40B4-BE49-F238E27FC236}">
                  <a16:creationId xmlns:a16="http://schemas.microsoft.com/office/drawing/2014/main" id="{E364396B-3687-4AF2-A5E0-68092D0D2FEC}"/>
                </a:ext>
              </a:extLst>
            </p:cNvPr>
            <p:cNvSpPr/>
            <p:nvPr/>
          </p:nvSpPr>
          <p:spPr bwMode="auto">
            <a:xfrm rot="18900000">
              <a:off x="9773899" y="1883265"/>
              <a:ext cx="284225" cy="150955"/>
            </a:xfrm>
            <a:custGeom>
              <a:avLst/>
              <a:gdLst>
                <a:gd name="connsiteX0" fmla="*/ 284225 w 284225"/>
                <a:gd name="connsiteY0" fmla="*/ 107849 h 150955"/>
                <a:gd name="connsiteX1" fmla="*/ 284225 w 284225"/>
                <a:gd name="connsiteY1" fmla="*/ 150955 h 150955"/>
                <a:gd name="connsiteX2" fmla="*/ 0 w 284225"/>
                <a:gd name="connsiteY2" fmla="*/ 150955 h 150955"/>
                <a:gd name="connsiteX3" fmla="*/ 0 w 284225"/>
                <a:gd name="connsiteY3" fmla="*/ 0 h 150955"/>
                <a:gd name="connsiteX4" fmla="*/ 43779 w 284225"/>
                <a:gd name="connsiteY4" fmla="*/ 0 h 150955"/>
                <a:gd name="connsiteX5" fmla="*/ 43779 w 284225"/>
                <a:gd name="connsiteY5" fmla="*/ 107176 h 150955"/>
                <a:gd name="connsiteX6" fmla="*/ 284225 w 284225"/>
                <a:gd name="connsiteY6" fmla="*/ 107849 h 1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225" h="150955">
                  <a:moveTo>
                    <a:pt x="284225" y="107849"/>
                  </a:moveTo>
                  <a:lnTo>
                    <a:pt x="284225" y="150955"/>
                  </a:lnTo>
                  <a:lnTo>
                    <a:pt x="0" y="150955"/>
                  </a:lnTo>
                  <a:lnTo>
                    <a:pt x="0" y="0"/>
                  </a:lnTo>
                  <a:lnTo>
                    <a:pt x="43779" y="0"/>
                  </a:lnTo>
                  <a:lnTo>
                    <a:pt x="43779" y="107176"/>
                  </a:lnTo>
                  <a:lnTo>
                    <a:pt x="284225" y="107849"/>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CBB833B3-7B14-4E24-B93D-EAC298F5623B}"/>
              </a:ext>
            </a:extLst>
          </p:cNvPr>
          <p:cNvGrpSpPr/>
          <p:nvPr/>
        </p:nvGrpSpPr>
        <p:grpSpPr>
          <a:xfrm>
            <a:off x="7002993" y="4423871"/>
            <a:ext cx="504562" cy="596385"/>
            <a:chOff x="9654309" y="1660397"/>
            <a:chExt cx="577922" cy="641131"/>
          </a:xfrm>
        </p:grpSpPr>
        <p:sp>
          <p:nvSpPr>
            <p:cNvPr id="22" name="Oval 21">
              <a:extLst>
                <a:ext uri="{FF2B5EF4-FFF2-40B4-BE49-F238E27FC236}">
                  <a16:creationId xmlns:a16="http://schemas.microsoft.com/office/drawing/2014/main" id="{BEEEE892-B494-41FC-A8B1-D1FB66DA6BCA}"/>
                </a:ext>
              </a:extLst>
            </p:cNvPr>
            <p:cNvSpPr/>
            <p:nvPr/>
          </p:nvSpPr>
          <p:spPr bwMode="auto">
            <a:xfrm>
              <a:off x="9761229" y="1802607"/>
              <a:ext cx="361195" cy="447674"/>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55F742A4-D4E0-40CB-93FB-5DA335C204CC}"/>
                </a:ext>
              </a:extLst>
            </p:cNvPr>
            <p:cNvGrpSpPr/>
            <p:nvPr/>
          </p:nvGrpSpPr>
          <p:grpSpPr>
            <a:xfrm>
              <a:off x="9654309" y="1660397"/>
              <a:ext cx="577922" cy="641131"/>
              <a:chOff x="8836356" y="1762284"/>
              <a:chExt cx="260789" cy="289312"/>
            </a:xfrm>
          </p:grpSpPr>
          <p:sp>
            <p:nvSpPr>
              <p:cNvPr id="24" name="Freeform 732">
                <a:extLst>
                  <a:ext uri="{FF2B5EF4-FFF2-40B4-BE49-F238E27FC236}">
                    <a16:creationId xmlns:a16="http://schemas.microsoft.com/office/drawing/2014/main" id="{74D975D5-5C9E-4D48-AEF3-A42F42D397FB}"/>
                  </a:ext>
                </a:extLst>
              </p:cNvPr>
              <p:cNvSpPr>
                <a:spLocks/>
              </p:cNvSpPr>
              <p:nvPr/>
            </p:nvSpPr>
            <p:spPr bwMode="auto">
              <a:xfrm>
                <a:off x="8874605" y="1789464"/>
                <a:ext cx="182986" cy="148759"/>
              </a:xfrm>
              <a:custGeom>
                <a:avLst/>
                <a:gdLst>
                  <a:gd name="T0" fmla="*/ 183 w 277"/>
                  <a:gd name="T1" fmla="*/ 4 h 227"/>
                  <a:gd name="T2" fmla="*/ 238 w 277"/>
                  <a:gd name="T3" fmla="*/ 34 h 227"/>
                  <a:gd name="T4" fmla="*/ 271 w 277"/>
                  <a:gd name="T5" fmla="*/ 81 h 227"/>
                  <a:gd name="T6" fmla="*/ 277 w 277"/>
                  <a:gd name="T7" fmla="*/ 128 h 227"/>
                  <a:gd name="T8" fmla="*/ 275 w 277"/>
                  <a:gd name="T9" fmla="*/ 164 h 227"/>
                  <a:gd name="T10" fmla="*/ 271 w 277"/>
                  <a:gd name="T11" fmla="*/ 195 h 227"/>
                  <a:gd name="T12" fmla="*/ 269 w 277"/>
                  <a:gd name="T13" fmla="*/ 205 h 227"/>
                  <a:gd name="T14" fmla="*/ 263 w 277"/>
                  <a:gd name="T15" fmla="*/ 221 h 227"/>
                  <a:gd name="T16" fmla="*/ 251 w 277"/>
                  <a:gd name="T17" fmla="*/ 227 h 227"/>
                  <a:gd name="T18" fmla="*/ 251 w 277"/>
                  <a:gd name="T19" fmla="*/ 215 h 227"/>
                  <a:gd name="T20" fmla="*/ 253 w 277"/>
                  <a:gd name="T21" fmla="*/ 205 h 227"/>
                  <a:gd name="T22" fmla="*/ 253 w 277"/>
                  <a:gd name="T23" fmla="*/ 175 h 227"/>
                  <a:gd name="T24" fmla="*/ 244 w 277"/>
                  <a:gd name="T25" fmla="*/ 136 h 227"/>
                  <a:gd name="T26" fmla="*/ 214 w 277"/>
                  <a:gd name="T27" fmla="*/ 124 h 227"/>
                  <a:gd name="T28" fmla="*/ 181 w 277"/>
                  <a:gd name="T29" fmla="*/ 120 h 227"/>
                  <a:gd name="T30" fmla="*/ 133 w 277"/>
                  <a:gd name="T31" fmla="*/ 110 h 227"/>
                  <a:gd name="T32" fmla="*/ 102 w 277"/>
                  <a:gd name="T33" fmla="*/ 89 h 227"/>
                  <a:gd name="T34" fmla="*/ 90 w 277"/>
                  <a:gd name="T35" fmla="*/ 83 h 227"/>
                  <a:gd name="T36" fmla="*/ 72 w 277"/>
                  <a:gd name="T37" fmla="*/ 83 h 227"/>
                  <a:gd name="T38" fmla="*/ 53 w 277"/>
                  <a:gd name="T39" fmla="*/ 104 h 227"/>
                  <a:gd name="T40" fmla="*/ 29 w 277"/>
                  <a:gd name="T41" fmla="*/ 146 h 227"/>
                  <a:gd name="T42" fmla="*/ 21 w 277"/>
                  <a:gd name="T43" fmla="*/ 183 h 227"/>
                  <a:gd name="T44" fmla="*/ 21 w 277"/>
                  <a:gd name="T45" fmla="*/ 209 h 227"/>
                  <a:gd name="T46" fmla="*/ 21 w 277"/>
                  <a:gd name="T47" fmla="*/ 223 h 227"/>
                  <a:gd name="T48" fmla="*/ 7 w 277"/>
                  <a:gd name="T49" fmla="*/ 227 h 227"/>
                  <a:gd name="T50" fmla="*/ 7 w 277"/>
                  <a:gd name="T51" fmla="*/ 221 h 227"/>
                  <a:gd name="T52" fmla="*/ 7 w 277"/>
                  <a:gd name="T53" fmla="*/ 201 h 227"/>
                  <a:gd name="T54" fmla="*/ 2 w 277"/>
                  <a:gd name="T55" fmla="*/ 173 h 227"/>
                  <a:gd name="T56" fmla="*/ 0 w 277"/>
                  <a:gd name="T57" fmla="*/ 138 h 227"/>
                  <a:gd name="T58" fmla="*/ 2 w 277"/>
                  <a:gd name="T59" fmla="*/ 100 h 227"/>
                  <a:gd name="T60" fmla="*/ 13 w 277"/>
                  <a:gd name="T61" fmla="*/ 67 h 227"/>
                  <a:gd name="T62" fmla="*/ 39 w 277"/>
                  <a:gd name="T63" fmla="*/ 47 h 227"/>
                  <a:gd name="T64" fmla="*/ 76 w 277"/>
                  <a:gd name="T65" fmla="*/ 16 h 227"/>
                  <a:gd name="T66" fmla="*/ 126 w 277"/>
                  <a:gd name="T67" fmla="*/ 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227">
                    <a:moveTo>
                      <a:pt x="149" y="0"/>
                    </a:moveTo>
                    <a:lnTo>
                      <a:pt x="183" y="4"/>
                    </a:lnTo>
                    <a:lnTo>
                      <a:pt x="212" y="16"/>
                    </a:lnTo>
                    <a:lnTo>
                      <a:pt x="238" y="34"/>
                    </a:lnTo>
                    <a:lnTo>
                      <a:pt x="259" y="57"/>
                    </a:lnTo>
                    <a:lnTo>
                      <a:pt x="271" y="81"/>
                    </a:lnTo>
                    <a:lnTo>
                      <a:pt x="277" y="104"/>
                    </a:lnTo>
                    <a:lnTo>
                      <a:pt x="277" y="128"/>
                    </a:lnTo>
                    <a:lnTo>
                      <a:pt x="275" y="154"/>
                    </a:lnTo>
                    <a:lnTo>
                      <a:pt x="275" y="164"/>
                    </a:lnTo>
                    <a:lnTo>
                      <a:pt x="273" y="177"/>
                    </a:lnTo>
                    <a:lnTo>
                      <a:pt x="271" y="195"/>
                    </a:lnTo>
                    <a:lnTo>
                      <a:pt x="269" y="199"/>
                    </a:lnTo>
                    <a:lnTo>
                      <a:pt x="269" y="205"/>
                    </a:lnTo>
                    <a:lnTo>
                      <a:pt x="267" y="213"/>
                    </a:lnTo>
                    <a:lnTo>
                      <a:pt x="263" y="221"/>
                    </a:lnTo>
                    <a:lnTo>
                      <a:pt x="261" y="227"/>
                    </a:lnTo>
                    <a:lnTo>
                      <a:pt x="251" y="227"/>
                    </a:lnTo>
                    <a:lnTo>
                      <a:pt x="251" y="221"/>
                    </a:lnTo>
                    <a:lnTo>
                      <a:pt x="251" y="215"/>
                    </a:lnTo>
                    <a:lnTo>
                      <a:pt x="253" y="209"/>
                    </a:lnTo>
                    <a:lnTo>
                      <a:pt x="253" y="205"/>
                    </a:lnTo>
                    <a:lnTo>
                      <a:pt x="253" y="201"/>
                    </a:lnTo>
                    <a:lnTo>
                      <a:pt x="253" y="175"/>
                    </a:lnTo>
                    <a:lnTo>
                      <a:pt x="251" y="148"/>
                    </a:lnTo>
                    <a:lnTo>
                      <a:pt x="244" y="136"/>
                    </a:lnTo>
                    <a:lnTo>
                      <a:pt x="232" y="128"/>
                    </a:lnTo>
                    <a:lnTo>
                      <a:pt x="214" y="124"/>
                    </a:lnTo>
                    <a:lnTo>
                      <a:pt x="196" y="122"/>
                    </a:lnTo>
                    <a:lnTo>
                      <a:pt x="181" y="120"/>
                    </a:lnTo>
                    <a:lnTo>
                      <a:pt x="165" y="120"/>
                    </a:lnTo>
                    <a:lnTo>
                      <a:pt x="133" y="110"/>
                    </a:lnTo>
                    <a:lnTo>
                      <a:pt x="106" y="93"/>
                    </a:lnTo>
                    <a:lnTo>
                      <a:pt x="102" y="89"/>
                    </a:lnTo>
                    <a:lnTo>
                      <a:pt x="96" y="87"/>
                    </a:lnTo>
                    <a:lnTo>
                      <a:pt x="90" y="83"/>
                    </a:lnTo>
                    <a:lnTo>
                      <a:pt x="84" y="81"/>
                    </a:lnTo>
                    <a:lnTo>
                      <a:pt x="72" y="83"/>
                    </a:lnTo>
                    <a:lnTo>
                      <a:pt x="61" y="93"/>
                    </a:lnTo>
                    <a:lnTo>
                      <a:pt x="53" y="104"/>
                    </a:lnTo>
                    <a:lnTo>
                      <a:pt x="41" y="124"/>
                    </a:lnTo>
                    <a:lnTo>
                      <a:pt x="29" y="146"/>
                    </a:lnTo>
                    <a:lnTo>
                      <a:pt x="21" y="167"/>
                    </a:lnTo>
                    <a:lnTo>
                      <a:pt x="21" y="183"/>
                    </a:lnTo>
                    <a:lnTo>
                      <a:pt x="21" y="199"/>
                    </a:lnTo>
                    <a:lnTo>
                      <a:pt x="21" y="209"/>
                    </a:lnTo>
                    <a:lnTo>
                      <a:pt x="21" y="219"/>
                    </a:lnTo>
                    <a:lnTo>
                      <a:pt x="21" y="223"/>
                    </a:lnTo>
                    <a:lnTo>
                      <a:pt x="21" y="227"/>
                    </a:lnTo>
                    <a:lnTo>
                      <a:pt x="7" y="227"/>
                    </a:lnTo>
                    <a:lnTo>
                      <a:pt x="7" y="223"/>
                    </a:lnTo>
                    <a:lnTo>
                      <a:pt x="7" y="221"/>
                    </a:lnTo>
                    <a:lnTo>
                      <a:pt x="7" y="211"/>
                    </a:lnTo>
                    <a:lnTo>
                      <a:pt x="7" y="201"/>
                    </a:lnTo>
                    <a:lnTo>
                      <a:pt x="5" y="191"/>
                    </a:lnTo>
                    <a:lnTo>
                      <a:pt x="2" y="173"/>
                    </a:lnTo>
                    <a:lnTo>
                      <a:pt x="2" y="154"/>
                    </a:lnTo>
                    <a:lnTo>
                      <a:pt x="0" y="138"/>
                    </a:lnTo>
                    <a:lnTo>
                      <a:pt x="0" y="120"/>
                    </a:lnTo>
                    <a:lnTo>
                      <a:pt x="2" y="100"/>
                    </a:lnTo>
                    <a:lnTo>
                      <a:pt x="5" y="83"/>
                    </a:lnTo>
                    <a:lnTo>
                      <a:pt x="13" y="67"/>
                    </a:lnTo>
                    <a:lnTo>
                      <a:pt x="23" y="53"/>
                    </a:lnTo>
                    <a:lnTo>
                      <a:pt x="39" y="47"/>
                    </a:lnTo>
                    <a:lnTo>
                      <a:pt x="55" y="30"/>
                    </a:lnTo>
                    <a:lnTo>
                      <a:pt x="76" y="16"/>
                    </a:lnTo>
                    <a:lnTo>
                      <a:pt x="100" y="8"/>
                    </a:lnTo>
                    <a:lnTo>
                      <a:pt x="126" y="2"/>
                    </a:lnTo>
                    <a:lnTo>
                      <a:pt x="149" y="0"/>
                    </a:lnTo>
                    <a:close/>
                  </a:path>
                </a:pathLst>
              </a:custGeom>
              <a:solidFill>
                <a:srgbClr val="0078D3"/>
              </a:solidFill>
              <a:ln w="0">
                <a:solidFill>
                  <a:srgbClr val="0078D3"/>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25" name="Freeform 739">
                <a:extLst>
                  <a:ext uri="{FF2B5EF4-FFF2-40B4-BE49-F238E27FC236}">
                    <a16:creationId xmlns:a16="http://schemas.microsoft.com/office/drawing/2014/main" id="{839A662F-BC4F-4DF6-87A1-701C106B83BA}"/>
                  </a:ext>
                </a:extLst>
              </p:cNvPr>
              <p:cNvSpPr>
                <a:spLocks/>
              </p:cNvSpPr>
              <p:nvPr/>
            </p:nvSpPr>
            <p:spPr bwMode="auto">
              <a:xfrm>
                <a:off x="8836356" y="1762284"/>
                <a:ext cx="260789" cy="289312"/>
              </a:xfrm>
              <a:custGeom>
                <a:avLst/>
                <a:gdLst>
                  <a:gd name="T0" fmla="*/ 233 w 384"/>
                  <a:gd name="T1" fmla="*/ 4 h 426"/>
                  <a:gd name="T2" fmla="*/ 302 w 384"/>
                  <a:gd name="T3" fmla="*/ 36 h 426"/>
                  <a:gd name="T4" fmla="*/ 343 w 384"/>
                  <a:gd name="T5" fmla="*/ 89 h 426"/>
                  <a:gd name="T6" fmla="*/ 361 w 384"/>
                  <a:gd name="T7" fmla="*/ 152 h 426"/>
                  <a:gd name="T8" fmla="*/ 361 w 384"/>
                  <a:gd name="T9" fmla="*/ 213 h 426"/>
                  <a:gd name="T10" fmla="*/ 380 w 384"/>
                  <a:gd name="T11" fmla="*/ 239 h 426"/>
                  <a:gd name="T12" fmla="*/ 382 w 384"/>
                  <a:gd name="T13" fmla="*/ 278 h 426"/>
                  <a:gd name="T14" fmla="*/ 365 w 384"/>
                  <a:gd name="T15" fmla="*/ 314 h 426"/>
                  <a:gd name="T16" fmla="*/ 288 w 384"/>
                  <a:gd name="T17" fmla="*/ 391 h 426"/>
                  <a:gd name="T18" fmla="*/ 286 w 384"/>
                  <a:gd name="T19" fmla="*/ 398 h 426"/>
                  <a:gd name="T20" fmla="*/ 254 w 384"/>
                  <a:gd name="T21" fmla="*/ 426 h 426"/>
                  <a:gd name="T22" fmla="*/ 246 w 384"/>
                  <a:gd name="T23" fmla="*/ 424 h 426"/>
                  <a:gd name="T24" fmla="*/ 239 w 384"/>
                  <a:gd name="T25" fmla="*/ 414 h 426"/>
                  <a:gd name="T26" fmla="*/ 243 w 384"/>
                  <a:gd name="T27" fmla="*/ 406 h 426"/>
                  <a:gd name="T28" fmla="*/ 272 w 384"/>
                  <a:gd name="T29" fmla="*/ 379 h 426"/>
                  <a:gd name="T30" fmla="*/ 280 w 384"/>
                  <a:gd name="T31" fmla="*/ 381 h 426"/>
                  <a:gd name="T32" fmla="*/ 331 w 384"/>
                  <a:gd name="T33" fmla="*/ 320 h 426"/>
                  <a:gd name="T34" fmla="*/ 349 w 384"/>
                  <a:gd name="T35" fmla="*/ 209 h 426"/>
                  <a:gd name="T36" fmla="*/ 349 w 384"/>
                  <a:gd name="T37" fmla="*/ 152 h 426"/>
                  <a:gd name="T38" fmla="*/ 333 w 384"/>
                  <a:gd name="T39" fmla="*/ 93 h 426"/>
                  <a:gd name="T40" fmla="*/ 294 w 384"/>
                  <a:gd name="T41" fmla="*/ 46 h 426"/>
                  <a:gd name="T42" fmla="*/ 231 w 384"/>
                  <a:gd name="T43" fmla="*/ 16 h 426"/>
                  <a:gd name="T44" fmla="*/ 154 w 384"/>
                  <a:gd name="T45" fmla="*/ 16 h 426"/>
                  <a:gd name="T46" fmla="*/ 89 w 384"/>
                  <a:gd name="T47" fmla="*/ 46 h 426"/>
                  <a:gd name="T48" fmla="*/ 52 w 384"/>
                  <a:gd name="T49" fmla="*/ 93 h 426"/>
                  <a:gd name="T50" fmla="*/ 36 w 384"/>
                  <a:gd name="T51" fmla="*/ 152 h 426"/>
                  <a:gd name="T52" fmla="*/ 34 w 384"/>
                  <a:gd name="T53" fmla="*/ 209 h 426"/>
                  <a:gd name="T54" fmla="*/ 52 w 384"/>
                  <a:gd name="T55" fmla="*/ 320 h 426"/>
                  <a:gd name="T56" fmla="*/ 16 w 384"/>
                  <a:gd name="T57" fmla="*/ 314 h 426"/>
                  <a:gd name="T58" fmla="*/ 0 w 384"/>
                  <a:gd name="T59" fmla="*/ 278 h 426"/>
                  <a:gd name="T60" fmla="*/ 2 w 384"/>
                  <a:gd name="T61" fmla="*/ 239 h 426"/>
                  <a:gd name="T62" fmla="*/ 22 w 384"/>
                  <a:gd name="T63" fmla="*/ 213 h 426"/>
                  <a:gd name="T64" fmla="*/ 22 w 384"/>
                  <a:gd name="T65" fmla="*/ 152 h 426"/>
                  <a:gd name="T66" fmla="*/ 40 w 384"/>
                  <a:gd name="T67" fmla="*/ 89 h 426"/>
                  <a:gd name="T68" fmla="*/ 83 w 384"/>
                  <a:gd name="T69" fmla="*/ 36 h 426"/>
                  <a:gd name="T70" fmla="*/ 152 w 384"/>
                  <a:gd name="T71" fmla="*/ 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426">
                    <a:moveTo>
                      <a:pt x="191" y="0"/>
                    </a:moveTo>
                    <a:lnTo>
                      <a:pt x="233" y="4"/>
                    </a:lnTo>
                    <a:lnTo>
                      <a:pt x="270" y="18"/>
                    </a:lnTo>
                    <a:lnTo>
                      <a:pt x="302" y="36"/>
                    </a:lnTo>
                    <a:lnTo>
                      <a:pt x="325" y="60"/>
                    </a:lnTo>
                    <a:lnTo>
                      <a:pt x="343" y="89"/>
                    </a:lnTo>
                    <a:lnTo>
                      <a:pt x="355" y="121"/>
                    </a:lnTo>
                    <a:lnTo>
                      <a:pt x="361" y="152"/>
                    </a:lnTo>
                    <a:lnTo>
                      <a:pt x="363" y="184"/>
                    </a:lnTo>
                    <a:lnTo>
                      <a:pt x="361" y="213"/>
                    </a:lnTo>
                    <a:lnTo>
                      <a:pt x="374" y="223"/>
                    </a:lnTo>
                    <a:lnTo>
                      <a:pt x="380" y="239"/>
                    </a:lnTo>
                    <a:lnTo>
                      <a:pt x="384" y="259"/>
                    </a:lnTo>
                    <a:lnTo>
                      <a:pt x="382" y="278"/>
                    </a:lnTo>
                    <a:lnTo>
                      <a:pt x="376" y="302"/>
                    </a:lnTo>
                    <a:lnTo>
                      <a:pt x="365" y="314"/>
                    </a:lnTo>
                    <a:lnTo>
                      <a:pt x="349" y="320"/>
                    </a:lnTo>
                    <a:lnTo>
                      <a:pt x="288" y="391"/>
                    </a:lnTo>
                    <a:lnTo>
                      <a:pt x="288" y="394"/>
                    </a:lnTo>
                    <a:lnTo>
                      <a:pt x="286" y="398"/>
                    </a:lnTo>
                    <a:lnTo>
                      <a:pt x="258" y="424"/>
                    </a:lnTo>
                    <a:lnTo>
                      <a:pt x="254" y="426"/>
                    </a:lnTo>
                    <a:lnTo>
                      <a:pt x="250" y="426"/>
                    </a:lnTo>
                    <a:lnTo>
                      <a:pt x="246" y="424"/>
                    </a:lnTo>
                    <a:lnTo>
                      <a:pt x="241" y="418"/>
                    </a:lnTo>
                    <a:lnTo>
                      <a:pt x="239" y="414"/>
                    </a:lnTo>
                    <a:lnTo>
                      <a:pt x="239" y="410"/>
                    </a:lnTo>
                    <a:lnTo>
                      <a:pt x="243" y="406"/>
                    </a:lnTo>
                    <a:lnTo>
                      <a:pt x="268" y="381"/>
                    </a:lnTo>
                    <a:lnTo>
                      <a:pt x="272" y="379"/>
                    </a:lnTo>
                    <a:lnTo>
                      <a:pt x="276" y="379"/>
                    </a:lnTo>
                    <a:lnTo>
                      <a:pt x="280" y="381"/>
                    </a:lnTo>
                    <a:lnTo>
                      <a:pt x="333" y="320"/>
                    </a:lnTo>
                    <a:lnTo>
                      <a:pt x="331" y="320"/>
                    </a:lnTo>
                    <a:lnTo>
                      <a:pt x="349" y="209"/>
                    </a:lnTo>
                    <a:lnTo>
                      <a:pt x="349" y="209"/>
                    </a:lnTo>
                    <a:lnTo>
                      <a:pt x="351" y="182"/>
                    </a:lnTo>
                    <a:lnTo>
                      <a:pt x="349" y="152"/>
                    </a:lnTo>
                    <a:lnTo>
                      <a:pt x="343" y="123"/>
                    </a:lnTo>
                    <a:lnTo>
                      <a:pt x="333" y="93"/>
                    </a:lnTo>
                    <a:lnTo>
                      <a:pt x="315" y="67"/>
                    </a:lnTo>
                    <a:lnTo>
                      <a:pt x="294" y="46"/>
                    </a:lnTo>
                    <a:lnTo>
                      <a:pt x="266" y="28"/>
                    </a:lnTo>
                    <a:lnTo>
                      <a:pt x="231" y="16"/>
                    </a:lnTo>
                    <a:lnTo>
                      <a:pt x="191" y="12"/>
                    </a:lnTo>
                    <a:lnTo>
                      <a:pt x="154" y="16"/>
                    </a:lnTo>
                    <a:lnTo>
                      <a:pt x="120" y="28"/>
                    </a:lnTo>
                    <a:lnTo>
                      <a:pt x="89" y="46"/>
                    </a:lnTo>
                    <a:lnTo>
                      <a:pt x="67" y="67"/>
                    </a:lnTo>
                    <a:lnTo>
                      <a:pt x="52" y="93"/>
                    </a:lnTo>
                    <a:lnTo>
                      <a:pt x="42" y="123"/>
                    </a:lnTo>
                    <a:lnTo>
                      <a:pt x="36" y="152"/>
                    </a:lnTo>
                    <a:lnTo>
                      <a:pt x="34" y="182"/>
                    </a:lnTo>
                    <a:lnTo>
                      <a:pt x="34" y="209"/>
                    </a:lnTo>
                    <a:lnTo>
                      <a:pt x="34" y="209"/>
                    </a:lnTo>
                    <a:lnTo>
                      <a:pt x="52" y="320"/>
                    </a:lnTo>
                    <a:lnTo>
                      <a:pt x="32" y="320"/>
                    </a:lnTo>
                    <a:lnTo>
                      <a:pt x="16" y="314"/>
                    </a:lnTo>
                    <a:lnTo>
                      <a:pt x="6" y="300"/>
                    </a:lnTo>
                    <a:lnTo>
                      <a:pt x="0" y="278"/>
                    </a:lnTo>
                    <a:lnTo>
                      <a:pt x="0" y="259"/>
                    </a:lnTo>
                    <a:lnTo>
                      <a:pt x="2" y="239"/>
                    </a:lnTo>
                    <a:lnTo>
                      <a:pt x="10" y="223"/>
                    </a:lnTo>
                    <a:lnTo>
                      <a:pt x="22" y="213"/>
                    </a:lnTo>
                    <a:lnTo>
                      <a:pt x="20" y="184"/>
                    </a:lnTo>
                    <a:lnTo>
                      <a:pt x="22" y="152"/>
                    </a:lnTo>
                    <a:lnTo>
                      <a:pt x="28" y="121"/>
                    </a:lnTo>
                    <a:lnTo>
                      <a:pt x="40" y="89"/>
                    </a:lnTo>
                    <a:lnTo>
                      <a:pt x="58" y="60"/>
                    </a:lnTo>
                    <a:lnTo>
                      <a:pt x="83" y="36"/>
                    </a:lnTo>
                    <a:lnTo>
                      <a:pt x="115" y="18"/>
                    </a:lnTo>
                    <a:lnTo>
                      <a:pt x="152" y="4"/>
                    </a:lnTo>
                    <a:lnTo>
                      <a:pt x="191" y="0"/>
                    </a:lnTo>
                    <a:close/>
                  </a:path>
                </a:pathLst>
              </a:custGeom>
              <a:solidFill>
                <a:srgbClr val="0078D3"/>
              </a:solidFill>
              <a:ln w="0">
                <a:solidFill>
                  <a:srgbClr val="0078D3"/>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grpSp>
      <p:grpSp>
        <p:nvGrpSpPr>
          <p:cNvPr id="26" name="Group 25">
            <a:extLst>
              <a:ext uri="{FF2B5EF4-FFF2-40B4-BE49-F238E27FC236}">
                <a16:creationId xmlns:a16="http://schemas.microsoft.com/office/drawing/2014/main" id="{57A3976C-6B17-44E2-9734-15C4C6F3F990}"/>
              </a:ext>
            </a:extLst>
          </p:cNvPr>
          <p:cNvGrpSpPr/>
          <p:nvPr/>
        </p:nvGrpSpPr>
        <p:grpSpPr>
          <a:xfrm>
            <a:off x="1307661" y="3486092"/>
            <a:ext cx="514086" cy="488595"/>
            <a:chOff x="7771092" y="4169735"/>
            <a:chExt cx="875142" cy="786170"/>
          </a:xfrm>
        </p:grpSpPr>
        <p:sp>
          <p:nvSpPr>
            <p:cNvPr id="27" name="Rectangle 26">
              <a:extLst>
                <a:ext uri="{FF2B5EF4-FFF2-40B4-BE49-F238E27FC236}">
                  <a16:creationId xmlns:a16="http://schemas.microsoft.com/office/drawing/2014/main" id="{754C4B69-0522-4280-8D84-28BF6C87EB10}"/>
                </a:ext>
              </a:extLst>
            </p:cNvPr>
            <p:cNvSpPr/>
            <p:nvPr/>
          </p:nvSpPr>
          <p:spPr bwMode="auto">
            <a:xfrm>
              <a:off x="7771092" y="4169735"/>
              <a:ext cx="875142" cy="786170"/>
            </a:xfrm>
            <a:prstGeom prst="rect">
              <a:avLst/>
            </a:prstGeom>
            <a:solidFill>
              <a:srgbClr val="50E6FF">
                <a:lumMod val="60000"/>
                <a:lumOff val="40000"/>
              </a:srgbClr>
            </a:solidFill>
            <a:ln w="19050"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0">
              <a:extLst>
                <a:ext uri="{FF2B5EF4-FFF2-40B4-BE49-F238E27FC236}">
                  <a16:creationId xmlns:a16="http://schemas.microsoft.com/office/drawing/2014/main" id="{0571BA1D-9659-4971-A09C-6231F73365F9}"/>
                </a:ext>
              </a:extLst>
            </p:cNvPr>
            <p:cNvGrpSpPr>
              <a:grpSpLocks noChangeAspect="1"/>
            </p:cNvGrpSpPr>
            <p:nvPr/>
          </p:nvGrpSpPr>
          <p:grpSpPr bwMode="auto">
            <a:xfrm>
              <a:off x="7885262" y="4290522"/>
              <a:ext cx="636599" cy="557250"/>
              <a:chOff x="3764" y="3313"/>
              <a:chExt cx="353" cy="309"/>
            </a:xfrm>
          </p:grpSpPr>
          <p:sp>
            <p:nvSpPr>
              <p:cNvPr id="29" name="Freeform 21">
                <a:extLst>
                  <a:ext uri="{FF2B5EF4-FFF2-40B4-BE49-F238E27FC236}">
                    <a16:creationId xmlns:a16="http://schemas.microsoft.com/office/drawing/2014/main" id="{7DDEFA77-6BEB-436A-A7A3-1B22E9498530}"/>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0" name="Freeform 22">
                <a:extLst>
                  <a:ext uri="{FF2B5EF4-FFF2-40B4-BE49-F238E27FC236}">
                    <a16:creationId xmlns:a16="http://schemas.microsoft.com/office/drawing/2014/main" id="{890D45BF-DAEC-4412-A381-0E2F761D3127}"/>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1" name="Freeform 23">
                <a:extLst>
                  <a:ext uri="{FF2B5EF4-FFF2-40B4-BE49-F238E27FC236}">
                    <a16:creationId xmlns:a16="http://schemas.microsoft.com/office/drawing/2014/main" id="{8A415DC8-586E-41B3-92DD-EBFE02A7C7D7}"/>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2" name="Freeform 24">
                <a:extLst>
                  <a:ext uri="{FF2B5EF4-FFF2-40B4-BE49-F238E27FC236}">
                    <a16:creationId xmlns:a16="http://schemas.microsoft.com/office/drawing/2014/main" id="{10D2273A-A485-46C8-8D6F-DF3F168D71DD}"/>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3" name="Freeform 25">
                <a:extLst>
                  <a:ext uri="{FF2B5EF4-FFF2-40B4-BE49-F238E27FC236}">
                    <a16:creationId xmlns:a16="http://schemas.microsoft.com/office/drawing/2014/main" id="{04D78459-CE29-4FBE-8D94-EB5181EDF170}"/>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4" name="Freeform 26">
                <a:extLst>
                  <a:ext uri="{FF2B5EF4-FFF2-40B4-BE49-F238E27FC236}">
                    <a16:creationId xmlns:a16="http://schemas.microsoft.com/office/drawing/2014/main" id="{E03CD439-E602-4ADD-B06F-140C6F7905B1}"/>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5" name="Freeform 27">
                <a:extLst>
                  <a:ext uri="{FF2B5EF4-FFF2-40B4-BE49-F238E27FC236}">
                    <a16:creationId xmlns:a16="http://schemas.microsoft.com/office/drawing/2014/main" id="{BB0CFDF7-FFE6-410D-AB3B-BCDF0AD424D9}"/>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6" name="Freeform 28">
                <a:extLst>
                  <a:ext uri="{FF2B5EF4-FFF2-40B4-BE49-F238E27FC236}">
                    <a16:creationId xmlns:a16="http://schemas.microsoft.com/office/drawing/2014/main" id="{16D98E44-485E-4C00-9BF3-BC24F3D4F7A6}"/>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7" name="Freeform 29">
                <a:extLst>
                  <a:ext uri="{FF2B5EF4-FFF2-40B4-BE49-F238E27FC236}">
                    <a16:creationId xmlns:a16="http://schemas.microsoft.com/office/drawing/2014/main" id="{FD3B9025-966E-4DEA-A89D-AC3CF28ABE2B}"/>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8" name="Freeform 30">
                <a:extLst>
                  <a:ext uri="{FF2B5EF4-FFF2-40B4-BE49-F238E27FC236}">
                    <a16:creationId xmlns:a16="http://schemas.microsoft.com/office/drawing/2014/main" id="{2F04EE3D-44C4-40BD-8180-D995DA0E89D5}"/>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9" name="Freeform 31">
                <a:extLst>
                  <a:ext uri="{FF2B5EF4-FFF2-40B4-BE49-F238E27FC236}">
                    <a16:creationId xmlns:a16="http://schemas.microsoft.com/office/drawing/2014/main" id="{44F0E836-20B1-40B5-816E-3CBE71A1316E}"/>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40" name="Freeform 32">
                <a:extLst>
                  <a:ext uri="{FF2B5EF4-FFF2-40B4-BE49-F238E27FC236}">
                    <a16:creationId xmlns:a16="http://schemas.microsoft.com/office/drawing/2014/main" id="{D3DDB3EB-6112-44D0-86B1-2797C371AA9C}"/>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41" name="Freeform 33">
                <a:extLst>
                  <a:ext uri="{FF2B5EF4-FFF2-40B4-BE49-F238E27FC236}">
                    <a16:creationId xmlns:a16="http://schemas.microsoft.com/office/drawing/2014/main" id="{10BD80A8-5CB3-4551-88BE-406DD620D4B9}"/>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42" name="Freeform 34">
                <a:extLst>
                  <a:ext uri="{FF2B5EF4-FFF2-40B4-BE49-F238E27FC236}">
                    <a16:creationId xmlns:a16="http://schemas.microsoft.com/office/drawing/2014/main" id="{99DAD971-8CED-4120-8EE2-2B96EA4A6DB0}"/>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43" name="Freeform 35">
                <a:extLst>
                  <a:ext uri="{FF2B5EF4-FFF2-40B4-BE49-F238E27FC236}">
                    <a16:creationId xmlns:a16="http://schemas.microsoft.com/office/drawing/2014/main" id="{9F94C7F3-B75D-4E5D-8314-0C67A2344A60}"/>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44" name="Freeform 36">
                <a:extLst>
                  <a:ext uri="{FF2B5EF4-FFF2-40B4-BE49-F238E27FC236}">
                    <a16:creationId xmlns:a16="http://schemas.microsoft.com/office/drawing/2014/main" id="{84477E63-F2FA-4B39-8E5C-CDF7FD6FFF9C}"/>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45" name="Freeform 37">
                <a:extLst>
                  <a:ext uri="{FF2B5EF4-FFF2-40B4-BE49-F238E27FC236}">
                    <a16:creationId xmlns:a16="http://schemas.microsoft.com/office/drawing/2014/main" id="{4F0FFB0E-14A3-4997-A7E9-DE37946FF032}"/>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46" name="Freeform 38">
                <a:extLst>
                  <a:ext uri="{FF2B5EF4-FFF2-40B4-BE49-F238E27FC236}">
                    <a16:creationId xmlns:a16="http://schemas.microsoft.com/office/drawing/2014/main" id="{4AB1CC31-39F4-4E99-84A5-D307279A2581}"/>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grpSp>
        <p:nvGrpSpPr>
          <p:cNvPr id="47" name="Group 46" descr="eye, visual">
            <a:extLst>
              <a:ext uri="{FF2B5EF4-FFF2-40B4-BE49-F238E27FC236}">
                <a16:creationId xmlns:a16="http://schemas.microsoft.com/office/drawing/2014/main" id="{CC3B5943-369A-4D70-9F89-E0EE96CFBC04}"/>
              </a:ext>
            </a:extLst>
          </p:cNvPr>
          <p:cNvGrpSpPr/>
          <p:nvPr/>
        </p:nvGrpSpPr>
        <p:grpSpPr>
          <a:xfrm>
            <a:off x="1201313" y="2532136"/>
            <a:ext cx="663365" cy="376046"/>
            <a:chOff x="9125687" y="3118633"/>
            <a:chExt cx="502135" cy="275278"/>
          </a:xfrm>
        </p:grpSpPr>
        <p:sp>
          <p:nvSpPr>
            <p:cNvPr id="48" name="Freeform 5">
              <a:extLst>
                <a:ext uri="{FF2B5EF4-FFF2-40B4-BE49-F238E27FC236}">
                  <a16:creationId xmlns:a16="http://schemas.microsoft.com/office/drawing/2014/main" id="{FB38F8F2-6EED-441E-A4E8-EB7BA465B834}"/>
                </a:ext>
              </a:extLst>
            </p:cNvPr>
            <p:cNvSpPr>
              <a:spLocks/>
            </p:cNvSpPr>
            <p:nvPr/>
          </p:nvSpPr>
          <p:spPr bwMode="auto">
            <a:xfrm>
              <a:off x="9125687" y="3118633"/>
              <a:ext cx="502135" cy="275278"/>
            </a:xfrm>
            <a:custGeom>
              <a:avLst/>
              <a:gdLst>
                <a:gd name="T0" fmla="*/ 249 w 250"/>
                <a:gd name="T1" fmla="*/ 66 h 136"/>
                <a:gd name="T2" fmla="*/ 199 w 250"/>
                <a:gd name="T3" fmla="*/ 22 h 136"/>
                <a:gd name="T4" fmla="*/ 124 w 250"/>
                <a:gd name="T5" fmla="*/ 0 h 136"/>
                <a:gd name="T6" fmla="*/ 50 w 250"/>
                <a:gd name="T7" fmla="*/ 22 h 136"/>
                <a:gd name="T8" fmla="*/ 0 w 250"/>
                <a:gd name="T9" fmla="*/ 66 h 136"/>
                <a:gd name="T10" fmla="*/ 1 w 250"/>
                <a:gd name="T11" fmla="*/ 70 h 136"/>
                <a:gd name="T12" fmla="*/ 50 w 250"/>
                <a:gd name="T13" fmla="*/ 113 h 136"/>
                <a:gd name="T14" fmla="*/ 125 w 250"/>
                <a:gd name="T15" fmla="*/ 136 h 136"/>
                <a:gd name="T16" fmla="*/ 203 w 250"/>
                <a:gd name="T17" fmla="*/ 112 h 136"/>
                <a:gd name="T18" fmla="*/ 249 w 250"/>
                <a:gd name="T19" fmla="*/ 70 h 136"/>
                <a:gd name="T20" fmla="*/ 249 w 250"/>
                <a:gd name="T21" fmla="*/ 6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136">
                  <a:moveTo>
                    <a:pt x="249" y="66"/>
                  </a:moveTo>
                  <a:cubicBezTo>
                    <a:pt x="236" y="50"/>
                    <a:pt x="221" y="36"/>
                    <a:pt x="199" y="22"/>
                  </a:cubicBezTo>
                  <a:cubicBezTo>
                    <a:pt x="174" y="7"/>
                    <a:pt x="150" y="0"/>
                    <a:pt x="124" y="0"/>
                  </a:cubicBezTo>
                  <a:cubicBezTo>
                    <a:pt x="95" y="0"/>
                    <a:pt x="76" y="8"/>
                    <a:pt x="50" y="22"/>
                  </a:cubicBezTo>
                  <a:cubicBezTo>
                    <a:pt x="30" y="34"/>
                    <a:pt x="12" y="50"/>
                    <a:pt x="0" y="66"/>
                  </a:cubicBezTo>
                  <a:cubicBezTo>
                    <a:pt x="0" y="67"/>
                    <a:pt x="0" y="69"/>
                    <a:pt x="1" y="70"/>
                  </a:cubicBezTo>
                  <a:cubicBezTo>
                    <a:pt x="14" y="89"/>
                    <a:pt x="26" y="98"/>
                    <a:pt x="50" y="113"/>
                  </a:cubicBezTo>
                  <a:cubicBezTo>
                    <a:pt x="76" y="128"/>
                    <a:pt x="101" y="136"/>
                    <a:pt x="125" y="136"/>
                  </a:cubicBezTo>
                  <a:cubicBezTo>
                    <a:pt x="152" y="136"/>
                    <a:pt x="178" y="128"/>
                    <a:pt x="203" y="112"/>
                  </a:cubicBezTo>
                  <a:cubicBezTo>
                    <a:pt x="222" y="100"/>
                    <a:pt x="238" y="86"/>
                    <a:pt x="249" y="70"/>
                  </a:cubicBezTo>
                  <a:cubicBezTo>
                    <a:pt x="250" y="70"/>
                    <a:pt x="250" y="67"/>
                    <a:pt x="249" y="6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sp>
          <p:nvSpPr>
            <p:cNvPr id="49" name="Oval 6">
              <a:extLst>
                <a:ext uri="{FF2B5EF4-FFF2-40B4-BE49-F238E27FC236}">
                  <a16:creationId xmlns:a16="http://schemas.microsoft.com/office/drawing/2014/main" id="{C520125C-1CE2-4865-B224-504C9CB387AD}"/>
                </a:ext>
              </a:extLst>
            </p:cNvPr>
            <p:cNvSpPr>
              <a:spLocks noChangeArrowheads="1"/>
            </p:cNvSpPr>
            <p:nvPr/>
          </p:nvSpPr>
          <p:spPr bwMode="auto">
            <a:xfrm>
              <a:off x="9259250" y="3133334"/>
              <a:ext cx="235009" cy="237380"/>
            </a:xfrm>
            <a:prstGeom prst="ellipse">
              <a:avLst/>
            </a:prstGeom>
            <a:solidFill>
              <a:srgbClr val="50E6FF">
                <a:lumMod val="60000"/>
                <a:lumOff val="40000"/>
              </a:srgbClr>
            </a:solidFill>
            <a:ln>
              <a:noFill/>
            </a:ln>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sp>
          <p:nvSpPr>
            <p:cNvPr id="50" name="Oval 6">
              <a:extLst>
                <a:ext uri="{FF2B5EF4-FFF2-40B4-BE49-F238E27FC236}">
                  <a16:creationId xmlns:a16="http://schemas.microsoft.com/office/drawing/2014/main" id="{CED31D66-9735-4007-BBF5-85C1886B7B8A}"/>
                </a:ext>
              </a:extLst>
            </p:cNvPr>
            <p:cNvSpPr>
              <a:spLocks noChangeArrowheads="1"/>
            </p:cNvSpPr>
            <p:nvPr/>
          </p:nvSpPr>
          <p:spPr bwMode="auto">
            <a:xfrm>
              <a:off x="9334698" y="3209543"/>
              <a:ext cx="84114" cy="8496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grpSp>
      <p:grpSp>
        <p:nvGrpSpPr>
          <p:cNvPr id="51" name="Group 50">
            <a:extLst>
              <a:ext uri="{FF2B5EF4-FFF2-40B4-BE49-F238E27FC236}">
                <a16:creationId xmlns:a16="http://schemas.microsoft.com/office/drawing/2014/main" id="{D67EC277-CA81-4BF1-AD7D-6D6850630604}"/>
              </a:ext>
            </a:extLst>
          </p:cNvPr>
          <p:cNvGrpSpPr/>
          <p:nvPr/>
        </p:nvGrpSpPr>
        <p:grpSpPr>
          <a:xfrm rot="2700000">
            <a:off x="1264108" y="1419306"/>
            <a:ext cx="524623" cy="544413"/>
            <a:chOff x="1349297" y="3122177"/>
            <a:chExt cx="1040782" cy="1040780"/>
          </a:xfrm>
          <a:solidFill>
            <a:srgbClr val="FFFFFF"/>
          </a:solidFill>
        </p:grpSpPr>
        <p:sp>
          <p:nvSpPr>
            <p:cNvPr id="52" name="Freeform 35">
              <a:extLst>
                <a:ext uri="{FF2B5EF4-FFF2-40B4-BE49-F238E27FC236}">
                  <a16:creationId xmlns:a16="http://schemas.microsoft.com/office/drawing/2014/main" id="{EC330DA4-75E7-4F74-8675-FC65D7859D3C}"/>
                </a:ext>
              </a:extLst>
            </p:cNvPr>
            <p:cNvSpPr/>
            <p:nvPr/>
          </p:nvSpPr>
          <p:spPr bwMode="auto">
            <a:xfrm rot="5400000">
              <a:off x="2040673" y="3471748"/>
              <a:ext cx="356841" cy="341971"/>
            </a:xfrm>
            <a:custGeom>
              <a:avLst/>
              <a:gdLst>
                <a:gd name="connsiteX0" fmla="*/ 52258 w 356841"/>
                <a:gd name="connsiteY0" fmla="*/ 52258 h 341971"/>
                <a:gd name="connsiteX1" fmla="*/ 178420 w 356841"/>
                <a:gd name="connsiteY1" fmla="*/ 0 h 341971"/>
                <a:gd name="connsiteX2" fmla="*/ 178421 w 356841"/>
                <a:gd name="connsiteY2" fmla="*/ 1 h 341971"/>
                <a:gd name="connsiteX3" fmla="*/ 356841 w 356841"/>
                <a:gd name="connsiteY3" fmla="*/ 178421 h 341971"/>
                <a:gd name="connsiteX4" fmla="*/ 356841 w 356841"/>
                <a:gd name="connsiteY4" fmla="*/ 341971 h 341971"/>
                <a:gd name="connsiteX5" fmla="*/ 0 w 356841"/>
                <a:gd name="connsiteY5" fmla="*/ 341971 h 341971"/>
                <a:gd name="connsiteX6" fmla="*/ 0 w 356841"/>
                <a:gd name="connsiteY6" fmla="*/ 178420 h 341971"/>
                <a:gd name="connsiteX7" fmla="*/ 52258 w 356841"/>
                <a:gd name="connsiteY7" fmla="*/ 52258 h 34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841" h="341971">
                  <a:moveTo>
                    <a:pt x="52258" y="52258"/>
                  </a:moveTo>
                  <a:cubicBezTo>
                    <a:pt x="84546" y="19970"/>
                    <a:pt x="129151" y="-1"/>
                    <a:pt x="178420" y="0"/>
                  </a:cubicBezTo>
                  <a:lnTo>
                    <a:pt x="178421" y="1"/>
                  </a:lnTo>
                  <a:cubicBezTo>
                    <a:pt x="276959" y="1"/>
                    <a:pt x="356840" y="79882"/>
                    <a:pt x="356841" y="178421"/>
                  </a:cubicBezTo>
                  <a:lnTo>
                    <a:pt x="356841" y="341971"/>
                  </a:lnTo>
                  <a:lnTo>
                    <a:pt x="0" y="341971"/>
                  </a:lnTo>
                  <a:lnTo>
                    <a:pt x="0" y="178420"/>
                  </a:lnTo>
                  <a:cubicBezTo>
                    <a:pt x="0" y="129150"/>
                    <a:pt x="19971" y="84545"/>
                    <a:pt x="52258" y="52258"/>
                  </a:cubicBezTo>
                  <a:close/>
                </a:path>
              </a:pathLst>
            </a:custGeom>
            <a:solidFill>
              <a:srgbClr val="50E6FF">
                <a:lumMod val="60000"/>
                <a:lumOff val="40000"/>
              </a:srgbClr>
            </a:solidFill>
            <a:ln w="19050" cap="rnd">
              <a:solidFill>
                <a:srgbClr val="FFFFFF"/>
              </a:solidFill>
              <a:miter lim="800000"/>
              <a:headEnd/>
              <a:tailEnd/>
            </a:ln>
            <a:effectLst/>
          </p:spPr>
          <p:txBody>
            <a:bodyPr wrap="square" lIns="93260" tIns="46630" rIns="93260" bIns="46630" numCol="1" spcCol="0" rtlCol="0" fromWordArt="0" anchor="ctr" anchorCtr="0" forceAA="0" compatLnSpc="1"/>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53" name="Freeform 36">
              <a:extLst>
                <a:ext uri="{FF2B5EF4-FFF2-40B4-BE49-F238E27FC236}">
                  <a16:creationId xmlns:a16="http://schemas.microsoft.com/office/drawing/2014/main" id="{FA1F637D-59E9-40FD-9F34-D8AC9B6C5A48}"/>
                </a:ext>
              </a:extLst>
            </p:cNvPr>
            <p:cNvSpPr/>
            <p:nvPr/>
          </p:nvSpPr>
          <p:spPr bwMode="auto">
            <a:xfrm rot="5400000">
              <a:off x="1341863" y="3471747"/>
              <a:ext cx="356840" cy="341971"/>
            </a:xfrm>
            <a:custGeom>
              <a:avLst/>
              <a:gdLst>
                <a:gd name="connsiteX0" fmla="*/ 0 w 356840"/>
                <a:gd name="connsiteY0" fmla="*/ 0 h 341971"/>
                <a:gd name="connsiteX1" fmla="*/ 356840 w 356840"/>
                <a:gd name="connsiteY1" fmla="*/ 1 h 341971"/>
                <a:gd name="connsiteX2" fmla="*/ 356840 w 356840"/>
                <a:gd name="connsiteY2" fmla="*/ 163551 h 341971"/>
                <a:gd name="connsiteX3" fmla="*/ 178420 w 356840"/>
                <a:gd name="connsiteY3" fmla="*/ 341971 h 341971"/>
                <a:gd name="connsiteX4" fmla="*/ 178420 w 356840"/>
                <a:gd name="connsiteY4" fmla="*/ 341970 h 341971"/>
                <a:gd name="connsiteX5" fmla="*/ 0 w 356840"/>
                <a:gd name="connsiteY5" fmla="*/ 163550 h 341971"/>
                <a:gd name="connsiteX6" fmla="*/ 0 w 356840"/>
                <a:gd name="connsiteY6" fmla="*/ 0 h 34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840" h="341971">
                  <a:moveTo>
                    <a:pt x="0" y="0"/>
                  </a:moveTo>
                  <a:lnTo>
                    <a:pt x="356840" y="1"/>
                  </a:lnTo>
                  <a:lnTo>
                    <a:pt x="356840" y="163551"/>
                  </a:lnTo>
                  <a:cubicBezTo>
                    <a:pt x="356840" y="262089"/>
                    <a:pt x="276959" y="341970"/>
                    <a:pt x="178420" y="341971"/>
                  </a:cubicBezTo>
                  <a:lnTo>
                    <a:pt x="178420" y="341970"/>
                  </a:lnTo>
                  <a:cubicBezTo>
                    <a:pt x="79882" y="341970"/>
                    <a:pt x="1" y="262089"/>
                    <a:pt x="0" y="163550"/>
                  </a:cubicBezTo>
                  <a:lnTo>
                    <a:pt x="0" y="0"/>
                  </a:lnTo>
                  <a:close/>
                </a:path>
              </a:pathLst>
            </a:custGeom>
            <a:solidFill>
              <a:srgbClr val="50E6FF">
                <a:lumMod val="60000"/>
                <a:lumOff val="40000"/>
              </a:srgbClr>
            </a:solidFill>
            <a:ln w="19050" cap="rnd">
              <a:solidFill>
                <a:srgbClr val="FFFFFF"/>
              </a:solidFill>
              <a:miter lim="800000"/>
              <a:headEnd/>
              <a:tailEnd/>
            </a:ln>
            <a:effectLst/>
          </p:spPr>
          <p:txBody>
            <a:bodyPr wrap="square" lIns="93260" tIns="46630" rIns="93260" bIns="46630" numCol="1" spcCol="0" rtlCol="0" fromWordArt="0" anchor="ctr" anchorCtr="0" forceAA="0" compatLnSpc="1"/>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54" name="Rounded Rectangle 37">
              <a:extLst>
                <a:ext uri="{FF2B5EF4-FFF2-40B4-BE49-F238E27FC236}">
                  <a16:creationId xmlns:a16="http://schemas.microsoft.com/office/drawing/2014/main" id="{831D6F96-A280-4230-9E5C-278E6BC19213}"/>
                </a:ext>
              </a:extLst>
            </p:cNvPr>
            <p:cNvSpPr/>
            <p:nvPr/>
          </p:nvSpPr>
          <p:spPr bwMode="auto">
            <a:xfrm rot="5400000">
              <a:off x="1349130" y="3464147"/>
              <a:ext cx="1040780" cy="356839"/>
            </a:xfrm>
            <a:prstGeom prst="roundRect">
              <a:avLst>
                <a:gd name="adj" fmla="val 50000"/>
              </a:avLst>
            </a:prstGeom>
            <a:solidFill>
              <a:srgbClr val="0078D3"/>
            </a:solid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nvGrpSpPr>
            <p:cNvPr id="55" name="Group 54">
              <a:extLst>
                <a:ext uri="{FF2B5EF4-FFF2-40B4-BE49-F238E27FC236}">
                  <a16:creationId xmlns:a16="http://schemas.microsoft.com/office/drawing/2014/main" id="{AA27661C-C894-4ECC-A060-7E6571F5BB50}"/>
                </a:ext>
              </a:extLst>
            </p:cNvPr>
            <p:cNvGrpSpPr/>
            <p:nvPr/>
          </p:nvGrpSpPr>
          <p:grpSpPr>
            <a:xfrm>
              <a:off x="1940029" y="3517313"/>
              <a:ext cx="45720" cy="217170"/>
              <a:chOff x="1859166" y="3501176"/>
              <a:chExt cx="45720" cy="217170"/>
            </a:xfrm>
            <a:grpFill/>
          </p:grpSpPr>
          <p:sp>
            <p:nvSpPr>
              <p:cNvPr id="64" name="Oval 63">
                <a:extLst>
                  <a:ext uri="{FF2B5EF4-FFF2-40B4-BE49-F238E27FC236}">
                    <a16:creationId xmlns:a16="http://schemas.microsoft.com/office/drawing/2014/main" id="{D0FE4805-2AB1-4131-9766-3A026F7CD019}"/>
                  </a:ext>
                </a:extLst>
              </p:cNvPr>
              <p:cNvSpPr/>
              <p:nvPr/>
            </p:nvSpPr>
            <p:spPr bwMode="auto">
              <a:xfrm>
                <a:off x="1859166" y="3501176"/>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65" name="Oval 64">
                <a:extLst>
                  <a:ext uri="{FF2B5EF4-FFF2-40B4-BE49-F238E27FC236}">
                    <a16:creationId xmlns:a16="http://schemas.microsoft.com/office/drawing/2014/main" id="{AD2DC7DF-172D-4571-8B55-336644B88CA2}"/>
                  </a:ext>
                </a:extLst>
              </p:cNvPr>
              <p:cNvSpPr/>
              <p:nvPr/>
            </p:nvSpPr>
            <p:spPr bwMode="auto">
              <a:xfrm>
                <a:off x="1859166" y="3586901"/>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66" name="Oval 65">
                <a:extLst>
                  <a:ext uri="{FF2B5EF4-FFF2-40B4-BE49-F238E27FC236}">
                    <a16:creationId xmlns:a16="http://schemas.microsoft.com/office/drawing/2014/main" id="{1CF7A3C4-704D-444B-AB6B-FB7223CD72F9}"/>
                  </a:ext>
                </a:extLst>
              </p:cNvPr>
              <p:cNvSpPr/>
              <p:nvPr/>
            </p:nvSpPr>
            <p:spPr bwMode="auto">
              <a:xfrm>
                <a:off x="1859166" y="3672626"/>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56" name="Group 55">
              <a:extLst>
                <a:ext uri="{FF2B5EF4-FFF2-40B4-BE49-F238E27FC236}">
                  <a16:creationId xmlns:a16="http://schemas.microsoft.com/office/drawing/2014/main" id="{20D3FCD0-5D6F-4288-951C-0B5045B704A8}"/>
                </a:ext>
              </a:extLst>
            </p:cNvPr>
            <p:cNvGrpSpPr/>
            <p:nvPr/>
          </p:nvGrpSpPr>
          <p:grpSpPr>
            <a:xfrm>
              <a:off x="1847981" y="3517313"/>
              <a:ext cx="45720" cy="217170"/>
              <a:chOff x="1859166" y="3501176"/>
              <a:chExt cx="45720" cy="217170"/>
            </a:xfrm>
            <a:grpFill/>
          </p:grpSpPr>
          <p:sp>
            <p:nvSpPr>
              <p:cNvPr id="61" name="Oval 60">
                <a:extLst>
                  <a:ext uri="{FF2B5EF4-FFF2-40B4-BE49-F238E27FC236}">
                    <a16:creationId xmlns:a16="http://schemas.microsoft.com/office/drawing/2014/main" id="{EB61CFFB-5634-42FF-9AA0-F8D229D5030C}"/>
                  </a:ext>
                </a:extLst>
              </p:cNvPr>
              <p:cNvSpPr/>
              <p:nvPr/>
            </p:nvSpPr>
            <p:spPr bwMode="auto">
              <a:xfrm>
                <a:off x="1859166" y="3501176"/>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62" name="Oval 61">
                <a:extLst>
                  <a:ext uri="{FF2B5EF4-FFF2-40B4-BE49-F238E27FC236}">
                    <a16:creationId xmlns:a16="http://schemas.microsoft.com/office/drawing/2014/main" id="{CF14FEBA-B583-4140-8053-61C7B7CE0B56}"/>
                  </a:ext>
                </a:extLst>
              </p:cNvPr>
              <p:cNvSpPr/>
              <p:nvPr/>
            </p:nvSpPr>
            <p:spPr bwMode="auto">
              <a:xfrm>
                <a:off x="1859166" y="3586901"/>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63" name="Oval 62">
                <a:extLst>
                  <a:ext uri="{FF2B5EF4-FFF2-40B4-BE49-F238E27FC236}">
                    <a16:creationId xmlns:a16="http://schemas.microsoft.com/office/drawing/2014/main" id="{53A02F6C-D434-4404-A618-8321B41D5835}"/>
                  </a:ext>
                </a:extLst>
              </p:cNvPr>
              <p:cNvSpPr/>
              <p:nvPr/>
            </p:nvSpPr>
            <p:spPr bwMode="auto">
              <a:xfrm>
                <a:off x="1859166" y="3672626"/>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57" name="Group 56">
              <a:extLst>
                <a:ext uri="{FF2B5EF4-FFF2-40B4-BE49-F238E27FC236}">
                  <a16:creationId xmlns:a16="http://schemas.microsoft.com/office/drawing/2014/main" id="{54B9AC6F-81A1-47E2-B5C6-D1EC0B2F3EEC}"/>
                </a:ext>
              </a:extLst>
            </p:cNvPr>
            <p:cNvGrpSpPr/>
            <p:nvPr/>
          </p:nvGrpSpPr>
          <p:grpSpPr>
            <a:xfrm>
              <a:off x="1755933" y="3517313"/>
              <a:ext cx="45720" cy="217170"/>
              <a:chOff x="1859166" y="3501176"/>
              <a:chExt cx="45720" cy="217170"/>
            </a:xfrm>
            <a:grpFill/>
          </p:grpSpPr>
          <p:sp>
            <p:nvSpPr>
              <p:cNvPr id="58" name="Oval 57">
                <a:extLst>
                  <a:ext uri="{FF2B5EF4-FFF2-40B4-BE49-F238E27FC236}">
                    <a16:creationId xmlns:a16="http://schemas.microsoft.com/office/drawing/2014/main" id="{C11AB3D6-2D8F-42A0-A72C-110F5343B1C1}"/>
                  </a:ext>
                </a:extLst>
              </p:cNvPr>
              <p:cNvSpPr/>
              <p:nvPr/>
            </p:nvSpPr>
            <p:spPr bwMode="auto">
              <a:xfrm>
                <a:off x="1859166" y="3501176"/>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59" name="Oval 58">
                <a:extLst>
                  <a:ext uri="{FF2B5EF4-FFF2-40B4-BE49-F238E27FC236}">
                    <a16:creationId xmlns:a16="http://schemas.microsoft.com/office/drawing/2014/main" id="{949B0B5D-AC54-4CD5-9814-7FCD36547293}"/>
                  </a:ext>
                </a:extLst>
              </p:cNvPr>
              <p:cNvSpPr/>
              <p:nvPr/>
            </p:nvSpPr>
            <p:spPr bwMode="auto">
              <a:xfrm>
                <a:off x="1859166" y="3586901"/>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60" name="Oval 59">
                <a:extLst>
                  <a:ext uri="{FF2B5EF4-FFF2-40B4-BE49-F238E27FC236}">
                    <a16:creationId xmlns:a16="http://schemas.microsoft.com/office/drawing/2014/main" id="{D49A6031-3D0F-4864-BA99-61428CFA069C}"/>
                  </a:ext>
                </a:extLst>
              </p:cNvPr>
              <p:cNvSpPr/>
              <p:nvPr/>
            </p:nvSpPr>
            <p:spPr bwMode="auto">
              <a:xfrm>
                <a:off x="1859166" y="3672626"/>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grpSp>
        <p:nvGrpSpPr>
          <p:cNvPr id="67" name="Group 66" descr="scale, elasticity">
            <a:extLst>
              <a:ext uri="{FF2B5EF4-FFF2-40B4-BE49-F238E27FC236}">
                <a16:creationId xmlns:a16="http://schemas.microsoft.com/office/drawing/2014/main" id="{E8B4ED2E-0088-4D89-AFBA-81317431B300}"/>
              </a:ext>
            </a:extLst>
          </p:cNvPr>
          <p:cNvGrpSpPr/>
          <p:nvPr/>
        </p:nvGrpSpPr>
        <p:grpSpPr>
          <a:xfrm>
            <a:off x="1279419" y="5522574"/>
            <a:ext cx="504952" cy="454681"/>
            <a:chOff x="690617" y="3992880"/>
            <a:chExt cx="367168" cy="365760"/>
          </a:xfrm>
        </p:grpSpPr>
        <p:sp>
          <p:nvSpPr>
            <p:cNvPr id="68" name="Freeform 330">
              <a:extLst>
                <a:ext uri="{FF2B5EF4-FFF2-40B4-BE49-F238E27FC236}">
                  <a16:creationId xmlns:a16="http://schemas.microsoft.com/office/drawing/2014/main" id="{BAFF84B9-F94A-448C-87E5-04259BDC188E}"/>
                </a:ext>
              </a:extLst>
            </p:cNvPr>
            <p:cNvSpPr>
              <a:spLocks noEditPoints="1"/>
            </p:cNvSpPr>
            <p:nvPr/>
          </p:nvSpPr>
          <p:spPr bwMode="auto">
            <a:xfrm>
              <a:off x="690617" y="3992880"/>
              <a:ext cx="367168" cy="365760"/>
            </a:xfrm>
            <a:custGeom>
              <a:avLst/>
              <a:gdLst>
                <a:gd name="T0" fmla="*/ 233 w 261"/>
                <a:gd name="T1" fmla="*/ 27 h 260"/>
                <a:gd name="T2" fmla="*/ 233 w 261"/>
                <a:gd name="T3" fmla="*/ 233 h 260"/>
                <a:gd name="T4" fmla="*/ 27 w 261"/>
                <a:gd name="T5" fmla="*/ 233 h 260"/>
                <a:gd name="T6" fmla="*/ 27 w 261"/>
                <a:gd name="T7" fmla="*/ 27 h 260"/>
                <a:gd name="T8" fmla="*/ 233 w 261"/>
                <a:gd name="T9" fmla="*/ 27 h 260"/>
                <a:gd name="T10" fmla="*/ 261 w 261"/>
                <a:gd name="T11" fmla="*/ 0 h 260"/>
                <a:gd name="T12" fmla="*/ 0 w 261"/>
                <a:gd name="T13" fmla="*/ 0 h 260"/>
                <a:gd name="T14" fmla="*/ 0 w 261"/>
                <a:gd name="T15" fmla="*/ 260 h 260"/>
                <a:gd name="T16" fmla="*/ 261 w 261"/>
                <a:gd name="T17" fmla="*/ 260 h 260"/>
                <a:gd name="T18" fmla="*/ 261 w 261"/>
                <a:gd name="T19"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 h="260">
                  <a:moveTo>
                    <a:pt x="233" y="27"/>
                  </a:moveTo>
                  <a:lnTo>
                    <a:pt x="233" y="233"/>
                  </a:lnTo>
                  <a:lnTo>
                    <a:pt x="27" y="233"/>
                  </a:lnTo>
                  <a:lnTo>
                    <a:pt x="27" y="27"/>
                  </a:lnTo>
                  <a:lnTo>
                    <a:pt x="233" y="27"/>
                  </a:lnTo>
                  <a:close/>
                  <a:moveTo>
                    <a:pt x="261" y="0"/>
                  </a:moveTo>
                  <a:lnTo>
                    <a:pt x="0" y="0"/>
                  </a:lnTo>
                  <a:lnTo>
                    <a:pt x="0" y="260"/>
                  </a:lnTo>
                  <a:lnTo>
                    <a:pt x="261" y="260"/>
                  </a:lnTo>
                  <a:lnTo>
                    <a:pt x="26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sp>
          <p:nvSpPr>
            <p:cNvPr id="69" name="Rectangle 331">
              <a:extLst>
                <a:ext uri="{FF2B5EF4-FFF2-40B4-BE49-F238E27FC236}">
                  <a16:creationId xmlns:a16="http://schemas.microsoft.com/office/drawing/2014/main" id="{747EBBD5-CE4D-46D8-AFC8-BBAF4E8388CA}"/>
                </a:ext>
              </a:extLst>
            </p:cNvPr>
            <p:cNvSpPr>
              <a:spLocks noChangeArrowheads="1"/>
            </p:cNvSpPr>
            <p:nvPr/>
          </p:nvSpPr>
          <p:spPr bwMode="auto">
            <a:xfrm>
              <a:off x="690617" y="4185607"/>
              <a:ext cx="173033" cy="17303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sp>
          <p:nvSpPr>
            <p:cNvPr id="70" name="Freeform 332">
              <a:extLst>
                <a:ext uri="{FF2B5EF4-FFF2-40B4-BE49-F238E27FC236}">
                  <a16:creationId xmlns:a16="http://schemas.microsoft.com/office/drawing/2014/main" id="{691B7C77-0D39-4938-83D1-873259ACF257}"/>
                </a:ext>
              </a:extLst>
            </p:cNvPr>
            <p:cNvSpPr>
              <a:spLocks/>
            </p:cNvSpPr>
            <p:nvPr/>
          </p:nvSpPr>
          <p:spPr bwMode="auto">
            <a:xfrm>
              <a:off x="922734" y="3992880"/>
              <a:ext cx="135050" cy="135050"/>
            </a:xfrm>
            <a:custGeom>
              <a:avLst/>
              <a:gdLst>
                <a:gd name="T0" fmla="*/ 0 w 96"/>
                <a:gd name="T1" fmla="*/ 0 h 96"/>
                <a:gd name="T2" fmla="*/ 0 w 96"/>
                <a:gd name="T3" fmla="*/ 27 h 96"/>
                <a:gd name="T4" fmla="*/ 68 w 96"/>
                <a:gd name="T5" fmla="*/ 27 h 96"/>
                <a:gd name="T6" fmla="*/ 68 w 96"/>
                <a:gd name="T7" fmla="*/ 96 h 96"/>
                <a:gd name="T8" fmla="*/ 96 w 96"/>
                <a:gd name="T9" fmla="*/ 96 h 96"/>
                <a:gd name="T10" fmla="*/ 96 w 96"/>
                <a:gd name="T11" fmla="*/ 0 h 96"/>
                <a:gd name="T12" fmla="*/ 0 w 96"/>
                <a:gd name="T13" fmla="*/ 0 h 96"/>
              </a:gdLst>
              <a:ahLst/>
              <a:cxnLst>
                <a:cxn ang="0">
                  <a:pos x="T0" y="T1"/>
                </a:cxn>
                <a:cxn ang="0">
                  <a:pos x="T2" y="T3"/>
                </a:cxn>
                <a:cxn ang="0">
                  <a:pos x="T4" y="T5"/>
                </a:cxn>
                <a:cxn ang="0">
                  <a:pos x="T6" y="T7"/>
                </a:cxn>
                <a:cxn ang="0">
                  <a:pos x="T8" y="T9"/>
                </a:cxn>
                <a:cxn ang="0">
                  <a:pos x="T10" y="T11"/>
                </a:cxn>
                <a:cxn ang="0">
                  <a:pos x="T12" y="T13"/>
                </a:cxn>
              </a:cxnLst>
              <a:rect l="0" t="0" r="r" b="b"/>
              <a:pathLst>
                <a:path w="96" h="96">
                  <a:moveTo>
                    <a:pt x="0" y="0"/>
                  </a:moveTo>
                  <a:lnTo>
                    <a:pt x="0" y="27"/>
                  </a:lnTo>
                  <a:lnTo>
                    <a:pt x="68" y="27"/>
                  </a:lnTo>
                  <a:lnTo>
                    <a:pt x="68" y="96"/>
                  </a:lnTo>
                  <a:lnTo>
                    <a:pt x="96" y="96"/>
                  </a:lnTo>
                  <a:lnTo>
                    <a:pt x="96"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grpSp>
      <p:grpSp>
        <p:nvGrpSpPr>
          <p:cNvPr id="71" name="Graphic 261" descr="protect">
            <a:extLst>
              <a:ext uri="{FF2B5EF4-FFF2-40B4-BE49-F238E27FC236}">
                <a16:creationId xmlns:a16="http://schemas.microsoft.com/office/drawing/2014/main" id="{789B858B-56CA-44C8-AB23-EC137F0F3A01}"/>
              </a:ext>
            </a:extLst>
          </p:cNvPr>
          <p:cNvGrpSpPr/>
          <p:nvPr/>
        </p:nvGrpSpPr>
        <p:grpSpPr>
          <a:xfrm>
            <a:off x="1285303" y="4517565"/>
            <a:ext cx="500728" cy="475415"/>
            <a:chOff x="10236634" y="4964871"/>
            <a:chExt cx="220903" cy="218255"/>
          </a:xfrm>
        </p:grpSpPr>
        <p:sp>
          <p:nvSpPr>
            <p:cNvPr id="72" name="Freeform: Shape 71">
              <a:extLst>
                <a:ext uri="{FF2B5EF4-FFF2-40B4-BE49-F238E27FC236}">
                  <a16:creationId xmlns:a16="http://schemas.microsoft.com/office/drawing/2014/main" id="{84A8D094-771E-4166-A701-C9B3801B84FF}"/>
                </a:ext>
              </a:extLst>
            </p:cNvPr>
            <p:cNvSpPr/>
            <p:nvPr/>
          </p:nvSpPr>
          <p:spPr>
            <a:xfrm>
              <a:off x="10236634" y="5111093"/>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73" name="Freeform: Shape 72">
              <a:extLst>
                <a:ext uri="{FF2B5EF4-FFF2-40B4-BE49-F238E27FC236}">
                  <a16:creationId xmlns:a16="http://schemas.microsoft.com/office/drawing/2014/main" id="{7D945C09-F91B-40B8-A8F4-E927EAA0CAFE}"/>
                </a:ext>
              </a:extLst>
            </p:cNvPr>
            <p:cNvSpPr/>
            <p:nvPr/>
          </p:nvSpPr>
          <p:spPr>
            <a:xfrm>
              <a:off x="10236634" y="508618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50E6FF"/>
            </a:solidFill>
            <a:ln w="476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74" name="Freeform: Shape 73">
              <a:extLst>
                <a:ext uri="{FF2B5EF4-FFF2-40B4-BE49-F238E27FC236}">
                  <a16:creationId xmlns:a16="http://schemas.microsoft.com/office/drawing/2014/main" id="{2A2B19D4-66C7-44EA-9B1E-F30A16CABE96}"/>
                </a:ext>
              </a:extLst>
            </p:cNvPr>
            <p:cNvSpPr/>
            <p:nvPr/>
          </p:nvSpPr>
          <p:spPr>
            <a:xfrm>
              <a:off x="10236634" y="506095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75" name="Freeform: Shape 74">
              <a:extLst>
                <a:ext uri="{FF2B5EF4-FFF2-40B4-BE49-F238E27FC236}">
                  <a16:creationId xmlns:a16="http://schemas.microsoft.com/office/drawing/2014/main" id="{4280B79A-3AB0-4874-B72A-7F2EEA71D7C1}"/>
                </a:ext>
              </a:extLst>
            </p:cNvPr>
            <p:cNvSpPr/>
            <p:nvPr/>
          </p:nvSpPr>
          <p:spPr>
            <a:xfrm>
              <a:off x="10236634" y="5035234"/>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76" name="Freeform: Shape 75">
              <a:extLst>
                <a:ext uri="{FF2B5EF4-FFF2-40B4-BE49-F238E27FC236}">
                  <a16:creationId xmlns:a16="http://schemas.microsoft.com/office/drawing/2014/main" id="{4FB2F15D-91B1-4595-A641-255CA40758CB}"/>
                </a:ext>
              </a:extLst>
            </p:cNvPr>
            <p:cNvSpPr/>
            <p:nvPr/>
          </p:nvSpPr>
          <p:spPr>
            <a:xfrm>
              <a:off x="10236634" y="5011542"/>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0078D4"/>
            </a:solidFill>
            <a:ln w="476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77" name="Freeform: Shape 76">
              <a:extLst>
                <a:ext uri="{FF2B5EF4-FFF2-40B4-BE49-F238E27FC236}">
                  <a16:creationId xmlns:a16="http://schemas.microsoft.com/office/drawing/2014/main" id="{88C9D7DB-9214-4EAD-8819-C0934AAEA897}"/>
                </a:ext>
              </a:extLst>
            </p:cNvPr>
            <p:cNvSpPr/>
            <p:nvPr/>
          </p:nvSpPr>
          <p:spPr>
            <a:xfrm>
              <a:off x="10236634" y="4986555"/>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78" name="Freeform: Shape 77">
              <a:extLst>
                <a:ext uri="{FF2B5EF4-FFF2-40B4-BE49-F238E27FC236}">
                  <a16:creationId xmlns:a16="http://schemas.microsoft.com/office/drawing/2014/main" id="{CBF473A0-7CB9-4078-98B2-B150C3538A1B}"/>
                </a:ext>
              </a:extLst>
            </p:cNvPr>
            <p:cNvSpPr/>
            <p:nvPr/>
          </p:nvSpPr>
          <p:spPr>
            <a:xfrm>
              <a:off x="10236634" y="4964871"/>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0"/>
                    <a:pt x="219690" y="37954"/>
                  </a:cubicBezTo>
                  <a:cubicBezTo>
                    <a:pt x="219690" y="17987"/>
                    <a:pt x="170914" y="1801"/>
                    <a:pt x="110746" y="1801"/>
                  </a:cubicBezTo>
                  <a:cubicBezTo>
                    <a:pt x="50577" y="1801"/>
                    <a:pt x="1801" y="17987"/>
                    <a:pt x="1801" y="37954"/>
                  </a:cubicBezTo>
                  <a:cubicBezTo>
                    <a:pt x="1801" y="57920"/>
                    <a:pt x="50577" y="74106"/>
                    <a:pt x="110746" y="74106"/>
                  </a:cubicBezTo>
                  <a:close/>
                </a:path>
              </a:pathLst>
            </a:custGeom>
            <a:solidFill>
              <a:srgbClr val="163E6A"/>
            </a:solidFill>
            <a:ln w="476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grpSp>
        <p:nvGrpSpPr>
          <p:cNvPr id="79" name="Graphic 291" descr="gear, wrench, engineer">
            <a:extLst>
              <a:ext uri="{FF2B5EF4-FFF2-40B4-BE49-F238E27FC236}">
                <a16:creationId xmlns:a16="http://schemas.microsoft.com/office/drawing/2014/main" id="{AF93591E-BE3D-46EB-AE24-85C1FBB4A67C}"/>
              </a:ext>
            </a:extLst>
          </p:cNvPr>
          <p:cNvGrpSpPr/>
          <p:nvPr/>
        </p:nvGrpSpPr>
        <p:grpSpPr>
          <a:xfrm>
            <a:off x="7006940" y="3486091"/>
            <a:ext cx="514086" cy="488595"/>
            <a:chOff x="3513079" y="2994448"/>
            <a:chExt cx="498751" cy="498751"/>
          </a:xfrm>
        </p:grpSpPr>
        <p:sp>
          <p:nvSpPr>
            <p:cNvPr id="80" name="Freeform: Shape 79">
              <a:extLst>
                <a:ext uri="{FF2B5EF4-FFF2-40B4-BE49-F238E27FC236}">
                  <a16:creationId xmlns:a16="http://schemas.microsoft.com/office/drawing/2014/main" id="{B14A3883-9E2D-480C-9113-6FF8CC23514D}"/>
                </a:ext>
              </a:extLst>
            </p:cNvPr>
            <p:cNvSpPr/>
            <p:nvPr/>
          </p:nvSpPr>
          <p:spPr>
            <a:xfrm>
              <a:off x="3510968" y="2992337"/>
              <a:ext cx="498751" cy="498751"/>
            </a:xfrm>
            <a:custGeom>
              <a:avLst/>
              <a:gdLst>
                <a:gd name="connsiteX0" fmla="*/ 499635 w 498751"/>
                <a:gd name="connsiteY0" fmla="*/ 277035 h 498751"/>
                <a:gd name="connsiteX1" fmla="*/ 499635 w 498751"/>
                <a:gd name="connsiteY1" fmla="*/ 224623 h 498751"/>
                <a:gd name="connsiteX2" fmla="*/ 445560 w 498751"/>
                <a:gd name="connsiteY2" fmla="*/ 224623 h 498751"/>
                <a:gd name="connsiteX3" fmla="*/ 407060 w 498751"/>
                <a:gd name="connsiteY3" fmla="*/ 131698 h 498751"/>
                <a:gd name="connsiteX4" fmla="*/ 445298 w 498751"/>
                <a:gd name="connsiteY4" fmla="*/ 93460 h 498751"/>
                <a:gd name="connsiteX5" fmla="*/ 408285 w 498751"/>
                <a:gd name="connsiteY5" fmla="*/ 56448 h 498751"/>
                <a:gd name="connsiteX6" fmla="*/ 370048 w 498751"/>
                <a:gd name="connsiteY6" fmla="*/ 94686 h 498751"/>
                <a:gd name="connsiteX7" fmla="*/ 277123 w 498751"/>
                <a:gd name="connsiteY7" fmla="*/ 56186 h 498751"/>
                <a:gd name="connsiteX8" fmla="*/ 277123 w 498751"/>
                <a:gd name="connsiteY8" fmla="*/ 2111 h 498751"/>
                <a:gd name="connsiteX9" fmla="*/ 224710 w 498751"/>
                <a:gd name="connsiteY9" fmla="*/ 2111 h 498751"/>
                <a:gd name="connsiteX10" fmla="*/ 224710 w 498751"/>
                <a:gd name="connsiteY10" fmla="*/ 56186 h 498751"/>
                <a:gd name="connsiteX11" fmla="*/ 131785 w 498751"/>
                <a:gd name="connsiteY11" fmla="*/ 94686 h 498751"/>
                <a:gd name="connsiteX12" fmla="*/ 93548 w 498751"/>
                <a:gd name="connsiteY12" fmla="*/ 56448 h 498751"/>
                <a:gd name="connsiteX13" fmla="*/ 56536 w 498751"/>
                <a:gd name="connsiteY13" fmla="*/ 93460 h 498751"/>
                <a:gd name="connsiteX14" fmla="*/ 94773 w 498751"/>
                <a:gd name="connsiteY14" fmla="*/ 131698 h 498751"/>
                <a:gd name="connsiteX15" fmla="*/ 56273 w 498751"/>
                <a:gd name="connsiteY15" fmla="*/ 224623 h 498751"/>
                <a:gd name="connsiteX16" fmla="*/ 2111 w 498751"/>
                <a:gd name="connsiteY16" fmla="*/ 224623 h 498751"/>
                <a:gd name="connsiteX17" fmla="*/ 2111 w 498751"/>
                <a:gd name="connsiteY17" fmla="*/ 277035 h 498751"/>
                <a:gd name="connsiteX18" fmla="*/ 56186 w 498751"/>
                <a:gd name="connsiteY18" fmla="*/ 277035 h 498751"/>
                <a:gd name="connsiteX19" fmla="*/ 112010 w 498751"/>
                <a:gd name="connsiteY19" fmla="*/ 389735 h 498751"/>
                <a:gd name="connsiteX20" fmla="*/ 224710 w 498751"/>
                <a:gd name="connsiteY20" fmla="*/ 445560 h 498751"/>
                <a:gd name="connsiteX21" fmla="*/ 224710 w 498751"/>
                <a:gd name="connsiteY21" fmla="*/ 499635 h 498751"/>
                <a:gd name="connsiteX22" fmla="*/ 277123 w 498751"/>
                <a:gd name="connsiteY22" fmla="*/ 499635 h 498751"/>
                <a:gd name="connsiteX23" fmla="*/ 277123 w 498751"/>
                <a:gd name="connsiteY23" fmla="*/ 445560 h 498751"/>
                <a:gd name="connsiteX24" fmla="*/ 370048 w 498751"/>
                <a:gd name="connsiteY24" fmla="*/ 407060 h 498751"/>
                <a:gd name="connsiteX25" fmla="*/ 408285 w 498751"/>
                <a:gd name="connsiteY25" fmla="*/ 445298 h 498751"/>
                <a:gd name="connsiteX26" fmla="*/ 445298 w 498751"/>
                <a:gd name="connsiteY26" fmla="*/ 408285 h 498751"/>
                <a:gd name="connsiteX27" fmla="*/ 407060 w 498751"/>
                <a:gd name="connsiteY27" fmla="*/ 370048 h 498751"/>
                <a:gd name="connsiteX28" fmla="*/ 445560 w 498751"/>
                <a:gd name="connsiteY28" fmla="*/ 277123 h 498751"/>
                <a:gd name="connsiteX29" fmla="*/ 499635 w 498751"/>
                <a:gd name="connsiteY29" fmla="*/ 277123 h 498751"/>
                <a:gd name="connsiteX30" fmla="*/ 499635 w 498751"/>
                <a:gd name="connsiteY30" fmla="*/ 277035 h 498751"/>
                <a:gd name="connsiteX31" fmla="*/ 106848 w 498751"/>
                <a:gd name="connsiteY31" fmla="*/ 250873 h 498751"/>
                <a:gd name="connsiteX32" fmla="*/ 139573 w 498751"/>
                <a:gd name="connsiteY32" fmla="*/ 159523 h 498751"/>
                <a:gd name="connsiteX33" fmla="*/ 222786 w 498751"/>
                <a:gd name="connsiteY33" fmla="*/ 109648 h 498751"/>
                <a:gd name="connsiteX34" fmla="*/ 318773 w 498751"/>
                <a:gd name="connsiteY34" fmla="*/ 123910 h 498751"/>
                <a:gd name="connsiteX35" fmla="*/ 383960 w 498751"/>
                <a:gd name="connsiteY35" fmla="*/ 195835 h 498751"/>
                <a:gd name="connsiteX36" fmla="*/ 388685 w 498751"/>
                <a:gd name="connsiteY36" fmla="*/ 292785 h 498751"/>
                <a:gd name="connsiteX37" fmla="*/ 330848 w 498751"/>
                <a:gd name="connsiteY37" fmla="*/ 370748 h 498751"/>
                <a:gd name="connsiteX38" fmla="*/ 236698 w 498751"/>
                <a:gd name="connsiteY38" fmla="*/ 394285 h 498751"/>
                <a:gd name="connsiteX39" fmla="*/ 148936 w 498751"/>
                <a:gd name="connsiteY39" fmla="*/ 352810 h 498751"/>
                <a:gd name="connsiteX40" fmla="*/ 117610 w 498751"/>
                <a:gd name="connsiteY40" fmla="*/ 306085 h 498751"/>
                <a:gd name="connsiteX41" fmla="*/ 106848 w 498751"/>
                <a:gd name="connsiteY41" fmla="*/ 250873 h 49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98751" h="498751">
                  <a:moveTo>
                    <a:pt x="499635" y="277035"/>
                  </a:moveTo>
                  <a:lnTo>
                    <a:pt x="499635" y="224623"/>
                  </a:lnTo>
                  <a:lnTo>
                    <a:pt x="445560" y="224623"/>
                  </a:lnTo>
                  <a:cubicBezTo>
                    <a:pt x="441098" y="190848"/>
                    <a:pt x="427798" y="158823"/>
                    <a:pt x="407060" y="131698"/>
                  </a:cubicBezTo>
                  <a:lnTo>
                    <a:pt x="445298" y="93460"/>
                  </a:lnTo>
                  <a:lnTo>
                    <a:pt x="408285" y="56448"/>
                  </a:lnTo>
                  <a:lnTo>
                    <a:pt x="370048" y="94686"/>
                  </a:lnTo>
                  <a:cubicBezTo>
                    <a:pt x="342923" y="73948"/>
                    <a:pt x="310898" y="60648"/>
                    <a:pt x="277123" y="56186"/>
                  </a:cubicBezTo>
                  <a:lnTo>
                    <a:pt x="277123" y="2111"/>
                  </a:lnTo>
                  <a:lnTo>
                    <a:pt x="224710" y="2111"/>
                  </a:lnTo>
                  <a:lnTo>
                    <a:pt x="224710" y="56186"/>
                  </a:lnTo>
                  <a:cubicBezTo>
                    <a:pt x="190935" y="60648"/>
                    <a:pt x="158911" y="73948"/>
                    <a:pt x="131785" y="94686"/>
                  </a:cubicBezTo>
                  <a:lnTo>
                    <a:pt x="93548" y="56448"/>
                  </a:lnTo>
                  <a:lnTo>
                    <a:pt x="56536" y="93460"/>
                  </a:lnTo>
                  <a:lnTo>
                    <a:pt x="94773" y="131698"/>
                  </a:lnTo>
                  <a:cubicBezTo>
                    <a:pt x="74036" y="158823"/>
                    <a:pt x="60736" y="190848"/>
                    <a:pt x="56273" y="224623"/>
                  </a:cubicBezTo>
                  <a:lnTo>
                    <a:pt x="2111" y="224623"/>
                  </a:lnTo>
                  <a:lnTo>
                    <a:pt x="2111" y="277035"/>
                  </a:lnTo>
                  <a:lnTo>
                    <a:pt x="56186" y="277035"/>
                  </a:lnTo>
                  <a:cubicBezTo>
                    <a:pt x="61961" y="319648"/>
                    <a:pt x="81561" y="359285"/>
                    <a:pt x="112010" y="389735"/>
                  </a:cubicBezTo>
                  <a:cubicBezTo>
                    <a:pt x="142461" y="420185"/>
                    <a:pt x="182011" y="439785"/>
                    <a:pt x="224710" y="445560"/>
                  </a:cubicBezTo>
                  <a:lnTo>
                    <a:pt x="224710" y="499635"/>
                  </a:lnTo>
                  <a:lnTo>
                    <a:pt x="277123" y="499635"/>
                  </a:lnTo>
                  <a:lnTo>
                    <a:pt x="277123" y="445560"/>
                  </a:lnTo>
                  <a:cubicBezTo>
                    <a:pt x="310898" y="441098"/>
                    <a:pt x="342923" y="427798"/>
                    <a:pt x="370048" y="407060"/>
                  </a:cubicBezTo>
                  <a:lnTo>
                    <a:pt x="408285" y="445298"/>
                  </a:lnTo>
                  <a:lnTo>
                    <a:pt x="445298" y="408285"/>
                  </a:lnTo>
                  <a:lnTo>
                    <a:pt x="407060" y="370048"/>
                  </a:lnTo>
                  <a:cubicBezTo>
                    <a:pt x="427798" y="342923"/>
                    <a:pt x="441098" y="310898"/>
                    <a:pt x="445560" y="277123"/>
                  </a:cubicBezTo>
                  <a:lnTo>
                    <a:pt x="499635" y="277123"/>
                  </a:lnTo>
                  <a:lnTo>
                    <a:pt x="499635" y="277035"/>
                  </a:lnTo>
                  <a:close/>
                  <a:moveTo>
                    <a:pt x="106848" y="250873"/>
                  </a:moveTo>
                  <a:cubicBezTo>
                    <a:pt x="106848" y="217535"/>
                    <a:pt x="118398" y="185248"/>
                    <a:pt x="139573" y="159523"/>
                  </a:cubicBezTo>
                  <a:cubicBezTo>
                    <a:pt x="160748" y="133798"/>
                    <a:pt x="190148" y="116123"/>
                    <a:pt x="222786" y="109648"/>
                  </a:cubicBezTo>
                  <a:cubicBezTo>
                    <a:pt x="255423" y="103173"/>
                    <a:pt x="289373" y="108161"/>
                    <a:pt x="318773" y="123910"/>
                  </a:cubicBezTo>
                  <a:cubicBezTo>
                    <a:pt x="348173" y="139573"/>
                    <a:pt x="371185" y="165035"/>
                    <a:pt x="383960" y="195835"/>
                  </a:cubicBezTo>
                  <a:cubicBezTo>
                    <a:pt x="396735" y="226635"/>
                    <a:pt x="398397" y="260848"/>
                    <a:pt x="388685" y="292785"/>
                  </a:cubicBezTo>
                  <a:cubicBezTo>
                    <a:pt x="378973" y="324635"/>
                    <a:pt x="358585" y="352197"/>
                    <a:pt x="330848" y="370748"/>
                  </a:cubicBezTo>
                  <a:cubicBezTo>
                    <a:pt x="303110" y="389298"/>
                    <a:pt x="269860" y="397610"/>
                    <a:pt x="236698" y="394285"/>
                  </a:cubicBezTo>
                  <a:cubicBezTo>
                    <a:pt x="203535" y="391048"/>
                    <a:pt x="172560" y="376347"/>
                    <a:pt x="148936" y="352810"/>
                  </a:cubicBezTo>
                  <a:cubicBezTo>
                    <a:pt x="135548" y="339510"/>
                    <a:pt x="124873" y="323585"/>
                    <a:pt x="117610" y="306085"/>
                  </a:cubicBezTo>
                  <a:cubicBezTo>
                    <a:pt x="110523" y="288498"/>
                    <a:pt x="106761" y="269773"/>
                    <a:pt x="106848" y="250873"/>
                  </a:cubicBezTo>
                  <a:close/>
                </a:path>
              </a:pathLst>
            </a:custGeom>
            <a:solidFill>
              <a:srgbClr val="163E6A"/>
            </a:solidFill>
            <a:ln w="5159"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81" name="Freeform: Shape 80">
              <a:extLst>
                <a:ext uri="{FF2B5EF4-FFF2-40B4-BE49-F238E27FC236}">
                  <a16:creationId xmlns:a16="http://schemas.microsoft.com/office/drawing/2014/main" id="{C27B0588-5595-48AE-8445-1BA69473D5CE}"/>
                </a:ext>
              </a:extLst>
            </p:cNvPr>
            <p:cNvSpPr/>
            <p:nvPr/>
          </p:nvSpPr>
          <p:spPr>
            <a:xfrm>
              <a:off x="3525494" y="3127375"/>
              <a:ext cx="348087" cy="348087"/>
            </a:xfrm>
            <a:custGeom>
              <a:avLst/>
              <a:gdLst>
                <a:gd name="connsiteX0" fmla="*/ 286398 w 348086"/>
                <a:gd name="connsiteY0" fmla="*/ 124333 h 348086"/>
                <a:gd name="connsiteX1" fmla="*/ 226548 w 348086"/>
                <a:gd name="connsiteY1" fmla="*/ 64483 h 348086"/>
                <a:gd name="connsiteX2" fmla="*/ 280448 w 348086"/>
                <a:gd name="connsiteY2" fmla="*/ 10583 h 348086"/>
                <a:gd name="connsiteX3" fmla="*/ 216923 w 348086"/>
                <a:gd name="connsiteY3" fmla="*/ 4108 h 348086"/>
                <a:gd name="connsiteX4" fmla="*/ 160310 w 348086"/>
                <a:gd name="connsiteY4" fmla="*/ 33683 h 348086"/>
                <a:gd name="connsiteX5" fmla="*/ 129335 w 348086"/>
                <a:gd name="connsiteY5" fmla="*/ 89508 h 348086"/>
                <a:gd name="connsiteX6" fmla="*/ 134235 w 348086"/>
                <a:gd name="connsiteY6" fmla="*/ 153121 h 348086"/>
                <a:gd name="connsiteX7" fmla="*/ 15236 w 348086"/>
                <a:gd name="connsiteY7" fmla="*/ 272121 h 348086"/>
                <a:gd name="connsiteX8" fmla="*/ 2111 w 348086"/>
                <a:gd name="connsiteY8" fmla="*/ 303883 h 348086"/>
                <a:gd name="connsiteX9" fmla="*/ 15236 w 348086"/>
                <a:gd name="connsiteY9" fmla="*/ 335645 h 348086"/>
                <a:gd name="connsiteX10" fmla="*/ 46998 w 348086"/>
                <a:gd name="connsiteY10" fmla="*/ 348770 h 348086"/>
                <a:gd name="connsiteX11" fmla="*/ 78760 w 348086"/>
                <a:gd name="connsiteY11" fmla="*/ 335645 h 348086"/>
                <a:gd name="connsiteX12" fmla="*/ 197760 w 348086"/>
                <a:gd name="connsiteY12" fmla="*/ 216645 h 348086"/>
                <a:gd name="connsiteX13" fmla="*/ 261373 w 348086"/>
                <a:gd name="connsiteY13" fmla="*/ 221546 h 348086"/>
                <a:gd name="connsiteX14" fmla="*/ 317198 w 348086"/>
                <a:gd name="connsiteY14" fmla="*/ 190571 h 348086"/>
                <a:gd name="connsiteX15" fmla="*/ 346773 w 348086"/>
                <a:gd name="connsiteY15" fmla="*/ 134045 h 348086"/>
                <a:gd name="connsiteX16" fmla="*/ 340298 w 348086"/>
                <a:gd name="connsiteY16" fmla="*/ 70521 h 348086"/>
                <a:gd name="connsiteX17" fmla="*/ 286398 w 348086"/>
                <a:gd name="connsiteY17" fmla="*/ 124333 h 348086"/>
                <a:gd name="connsiteX18" fmla="*/ 63011 w 348086"/>
                <a:gd name="connsiteY18" fmla="*/ 319633 h 348086"/>
                <a:gd name="connsiteX19" fmla="*/ 51548 w 348086"/>
                <a:gd name="connsiteY19" fmla="*/ 325758 h 348086"/>
                <a:gd name="connsiteX20" fmla="*/ 38598 w 348086"/>
                <a:gd name="connsiteY20" fmla="*/ 324445 h 348086"/>
                <a:gd name="connsiteX21" fmla="*/ 28536 w 348086"/>
                <a:gd name="connsiteY21" fmla="*/ 316220 h 348086"/>
                <a:gd name="connsiteX22" fmla="*/ 24773 w 348086"/>
                <a:gd name="connsiteY22" fmla="*/ 303795 h 348086"/>
                <a:gd name="connsiteX23" fmla="*/ 28536 w 348086"/>
                <a:gd name="connsiteY23" fmla="*/ 291371 h 348086"/>
                <a:gd name="connsiteX24" fmla="*/ 38598 w 348086"/>
                <a:gd name="connsiteY24" fmla="*/ 283146 h 348086"/>
                <a:gd name="connsiteX25" fmla="*/ 51548 w 348086"/>
                <a:gd name="connsiteY25" fmla="*/ 281833 h 348086"/>
                <a:gd name="connsiteX26" fmla="*/ 63011 w 348086"/>
                <a:gd name="connsiteY26" fmla="*/ 287958 h 348086"/>
                <a:gd name="connsiteX27" fmla="*/ 69573 w 348086"/>
                <a:gd name="connsiteY27" fmla="*/ 303795 h 348086"/>
                <a:gd name="connsiteX28" fmla="*/ 63011 w 348086"/>
                <a:gd name="connsiteY28" fmla="*/ 319633 h 34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086" h="348086">
                  <a:moveTo>
                    <a:pt x="286398" y="124333"/>
                  </a:moveTo>
                  <a:lnTo>
                    <a:pt x="226548" y="64483"/>
                  </a:lnTo>
                  <a:lnTo>
                    <a:pt x="280448" y="10583"/>
                  </a:lnTo>
                  <a:cubicBezTo>
                    <a:pt x="260410" y="2271"/>
                    <a:pt x="238273" y="-4"/>
                    <a:pt x="216923" y="4108"/>
                  </a:cubicBezTo>
                  <a:cubicBezTo>
                    <a:pt x="195573" y="8221"/>
                    <a:pt x="175885" y="18458"/>
                    <a:pt x="160310" y="33683"/>
                  </a:cubicBezTo>
                  <a:cubicBezTo>
                    <a:pt x="144735" y="48821"/>
                    <a:pt x="133973" y="68246"/>
                    <a:pt x="129335" y="89508"/>
                  </a:cubicBezTo>
                  <a:cubicBezTo>
                    <a:pt x="124698" y="110771"/>
                    <a:pt x="126448" y="132908"/>
                    <a:pt x="134235" y="153121"/>
                  </a:cubicBezTo>
                  <a:lnTo>
                    <a:pt x="15236" y="272121"/>
                  </a:lnTo>
                  <a:cubicBezTo>
                    <a:pt x="6836" y="280520"/>
                    <a:pt x="2111" y="291983"/>
                    <a:pt x="2111" y="303883"/>
                  </a:cubicBezTo>
                  <a:cubicBezTo>
                    <a:pt x="2111" y="315783"/>
                    <a:pt x="6836" y="327158"/>
                    <a:pt x="15236" y="335645"/>
                  </a:cubicBezTo>
                  <a:cubicBezTo>
                    <a:pt x="23636" y="344046"/>
                    <a:pt x="35098" y="348770"/>
                    <a:pt x="46998" y="348770"/>
                  </a:cubicBezTo>
                  <a:cubicBezTo>
                    <a:pt x="58898" y="348770"/>
                    <a:pt x="70273" y="344046"/>
                    <a:pt x="78760" y="335645"/>
                  </a:cubicBezTo>
                  <a:lnTo>
                    <a:pt x="197760" y="216645"/>
                  </a:lnTo>
                  <a:cubicBezTo>
                    <a:pt x="218060" y="224520"/>
                    <a:pt x="240110" y="226183"/>
                    <a:pt x="261373" y="221546"/>
                  </a:cubicBezTo>
                  <a:cubicBezTo>
                    <a:pt x="282635" y="216908"/>
                    <a:pt x="301973" y="206146"/>
                    <a:pt x="317198" y="190571"/>
                  </a:cubicBezTo>
                  <a:cubicBezTo>
                    <a:pt x="332335" y="174996"/>
                    <a:pt x="342660" y="155308"/>
                    <a:pt x="346773" y="134045"/>
                  </a:cubicBezTo>
                  <a:cubicBezTo>
                    <a:pt x="350885" y="112696"/>
                    <a:pt x="348610" y="90646"/>
                    <a:pt x="340298" y="70521"/>
                  </a:cubicBezTo>
                  <a:lnTo>
                    <a:pt x="286398" y="124333"/>
                  </a:lnTo>
                  <a:close/>
                  <a:moveTo>
                    <a:pt x="63011" y="319633"/>
                  </a:moveTo>
                  <a:cubicBezTo>
                    <a:pt x="59861" y="322783"/>
                    <a:pt x="55835" y="324883"/>
                    <a:pt x="51548" y="325758"/>
                  </a:cubicBezTo>
                  <a:cubicBezTo>
                    <a:pt x="47173" y="326633"/>
                    <a:pt x="42710" y="326196"/>
                    <a:pt x="38598" y="324445"/>
                  </a:cubicBezTo>
                  <a:cubicBezTo>
                    <a:pt x="34486" y="322783"/>
                    <a:pt x="30986" y="319896"/>
                    <a:pt x="28536" y="316220"/>
                  </a:cubicBezTo>
                  <a:cubicBezTo>
                    <a:pt x="26086" y="312545"/>
                    <a:pt x="24773" y="308170"/>
                    <a:pt x="24773" y="303795"/>
                  </a:cubicBezTo>
                  <a:cubicBezTo>
                    <a:pt x="24773" y="299333"/>
                    <a:pt x="26086" y="295045"/>
                    <a:pt x="28536" y="291371"/>
                  </a:cubicBezTo>
                  <a:cubicBezTo>
                    <a:pt x="30986" y="287696"/>
                    <a:pt x="34486" y="284808"/>
                    <a:pt x="38598" y="283146"/>
                  </a:cubicBezTo>
                  <a:cubicBezTo>
                    <a:pt x="42710" y="281483"/>
                    <a:pt x="47173" y="281046"/>
                    <a:pt x="51548" y="281833"/>
                  </a:cubicBezTo>
                  <a:cubicBezTo>
                    <a:pt x="55923" y="282708"/>
                    <a:pt x="59861" y="284808"/>
                    <a:pt x="63011" y="287958"/>
                  </a:cubicBezTo>
                  <a:cubicBezTo>
                    <a:pt x="67211" y="292158"/>
                    <a:pt x="69573" y="297846"/>
                    <a:pt x="69573" y="303795"/>
                  </a:cubicBezTo>
                  <a:cubicBezTo>
                    <a:pt x="69573" y="309746"/>
                    <a:pt x="67211" y="315433"/>
                    <a:pt x="63011" y="319633"/>
                  </a:cubicBezTo>
                  <a:close/>
                </a:path>
              </a:pathLst>
            </a:custGeom>
            <a:solidFill>
              <a:srgbClr val="0078D4"/>
            </a:solidFill>
            <a:ln w="5159"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spTree>
    <p:extLst>
      <p:ext uri="{BB962C8B-B14F-4D97-AF65-F5344CB8AC3E}">
        <p14:creationId xmlns:p14="http://schemas.microsoft.com/office/powerpoint/2010/main" val="183048486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Azure SQL Database —   Everything built in</a:t>
            </a:r>
          </a:p>
        </p:txBody>
      </p:sp>
      <p:graphicFrame>
        <p:nvGraphicFramePr>
          <p:cNvPr id="92" name="Diagram 91">
            <a:extLst>
              <a:ext uri="{FF2B5EF4-FFF2-40B4-BE49-F238E27FC236}">
                <a16:creationId xmlns:a16="http://schemas.microsoft.com/office/drawing/2014/main" id="{86D3A0DF-D1CF-4EC1-9563-C47B416D89EC}"/>
              </a:ext>
            </a:extLst>
          </p:cNvPr>
          <p:cNvGraphicFramePr/>
          <p:nvPr>
            <p:extLst>
              <p:ext uri="{D42A27DB-BD31-4B8C-83A1-F6EECF244321}">
                <p14:modId xmlns:p14="http://schemas.microsoft.com/office/powerpoint/2010/main" val="1382066673"/>
              </p:ext>
            </p:extLst>
          </p:nvPr>
        </p:nvGraphicFramePr>
        <p:xfrm>
          <a:off x="92414" y="1388660"/>
          <a:ext cx="629613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3" name="Diagram 92">
            <a:extLst>
              <a:ext uri="{FF2B5EF4-FFF2-40B4-BE49-F238E27FC236}">
                <a16:creationId xmlns:a16="http://schemas.microsoft.com/office/drawing/2014/main" id="{7D66D5AF-A306-4D50-8528-637B69C93FB1}"/>
              </a:ext>
            </a:extLst>
          </p:cNvPr>
          <p:cNvGraphicFramePr/>
          <p:nvPr>
            <p:extLst>
              <p:ext uri="{D42A27DB-BD31-4B8C-83A1-F6EECF244321}">
                <p14:modId xmlns:p14="http://schemas.microsoft.com/office/powerpoint/2010/main" val="633516728"/>
              </p:ext>
            </p:extLst>
          </p:nvPr>
        </p:nvGraphicFramePr>
        <p:xfrm>
          <a:off x="5833259" y="1377470"/>
          <a:ext cx="6002804" cy="48196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94" name="Light_Bulb">
            <a:extLst>
              <a:ext uri="{FF2B5EF4-FFF2-40B4-BE49-F238E27FC236}">
                <a16:creationId xmlns:a16="http://schemas.microsoft.com/office/drawing/2014/main" id="{2207B0DF-63B9-49D5-92A4-53AFDA6D725B}"/>
              </a:ext>
            </a:extLst>
          </p:cNvPr>
          <p:cNvGrpSpPr/>
          <p:nvPr/>
        </p:nvGrpSpPr>
        <p:grpSpPr>
          <a:xfrm>
            <a:off x="6821529" y="5528012"/>
            <a:ext cx="435656" cy="625152"/>
            <a:chOff x="2026143" y="1624779"/>
            <a:chExt cx="497504" cy="772427"/>
          </a:xfrm>
        </p:grpSpPr>
        <p:sp>
          <p:nvSpPr>
            <p:cNvPr id="95" name="Freeform: Shape 94">
              <a:extLst>
                <a:ext uri="{FF2B5EF4-FFF2-40B4-BE49-F238E27FC236}">
                  <a16:creationId xmlns:a16="http://schemas.microsoft.com/office/drawing/2014/main" id="{6BE50417-7C3A-4D3E-A758-DF8618452C48}"/>
                </a:ext>
              </a:extLst>
            </p:cNvPr>
            <p:cNvSpPr/>
            <p:nvPr/>
          </p:nvSpPr>
          <p:spPr>
            <a:xfrm>
              <a:off x="2026143" y="1624779"/>
              <a:ext cx="497504" cy="597006"/>
            </a:xfrm>
            <a:custGeom>
              <a:avLst/>
              <a:gdLst/>
              <a:ahLst/>
              <a:cxnLst/>
              <a:rect l="0" t="0" r="0" b="0"/>
              <a:pathLst>
                <a:path w="497504" h="597005">
                  <a:moveTo>
                    <a:pt x="499595" y="253364"/>
                  </a:moveTo>
                  <a:cubicBezTo>
                    <a:pt x="499595" y="111852"/>
                    <a:pt x="379088" y="-2021"/>
                    <a:pt x="235365" y="9034"/>
                  </a:cubicBezTo>
                  <a:cubicBezTo>
                    <a:pt x="113752" y="17879"/>
                    <a:pt x="15357" y="117380"/>
                    <a:pt x="8724" y="240097"/>
                  </a:cubicBezTo>
                  <a:cubicBezTo>
                    <a:pt x="4301" y="315276"/>
                    <a:pt x="34152" y="382715"/>
                    <a:pt x="83902" y="430255"/>
                  </a:cubicBezTo>
                  <a:cubicBezTo>
                    <a:pt x="128125" y="472266"/>
                    <a:pt x="151342" y="531967"/>
                    <a:pt x="151342" y="592773"/>
                  </a:cubicBezTo>
                  <a:lnTo>
                    <a:pt x="151342" y="597195"/>
                  </a:lnTo>
                  <a:lnTo>
                    <a:pt x="358082" y="597195"/>
                  </a:lnTo>
                  <a:lnTo>
                    <a:pt x="358082" y="592773"/>
                  </a:lnTo>
                  <a:cubicBezTo>
                    <a:pt x="358082" y="530861"/>
                    <a:pt x="384616" y="471160"/>
                    <a:pt x="428839" y="428043"/>
                  </a:cubicBezTo>
                  <a:cubicBezTo>
                    <a:pt x="471956" y="382715"/>
                    <a:pt x="499595" y="320804"/>
                    <a:pt x="499595" y="253364"/>
                  </a:cubicBezTo>
                  <a:close/>
                </a:path>
              </a:pathLst>
            </a:custGeom>
            <a:solidFill>
              <a:srgbClr val="0078D4"/>
            </a:solidFill>
            <a:ln w="9525" cap="flat">
              <a:noFill/>
              <a:prstDash val="solid"/>
              <a:miter/>
            </a:ln>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96" name="Freeform: Shape 95">
              <a:extLst>
                <a:ext uri="{FF2B5EF4-FFF2-40B4-BE49-F238E27FC236}">
                  <a16:creationId xmlns:a16="http://schemas.microsoft.com/office/drawing/2014/main" id="{6C637E8E-3351-488D-92DA-3FA061929F47}"/>
                </a:ext>
              </a:extLst>
            </p:cNvPr>
            <p:cNvSpPr/>
            <p:nvPr/>
          </p:nvSpPr>
          <p:spPr>
            <a:xfrm>
              <a:off x="2142659" y="1811257"/>
              <a:ext cx="121612" cy="475393"/>
            </a:xfrm>
            <a:custGeom>
              <a:avLst/>
              <a:gdLst/>
              <a:ahLst/>
              <a:cxnLst/>
              <a:rect l="0" t="0" r="0" b="0"/>
              <a:pathLst>
                <a:path w="121612" h="475393">
                  <a:moveTo>
                    <a:pt x="105582" y="118848"/>
                  </a:moveTo>
                  <a:lnTo>
                    <a:pt x="104476" y="100054"/>
                  </a:lnTo>
                  <a:cubicBezTo>
                    <a:pt x="104476" y="100054"/>
                    <a:pt x="104476" y="100054"/>
                    <a:pt x="104476" y="100054"/>
                  </a:cubicBezTo>
                  <a:lnTo>
                    <a:pt x="103370" y="55831"/>
                  </a:lnTo>
                  <a:cubicBezTo>
                    <a:pt x="103370" y="30403"/>
                    <a:pt x="82365" y="8292"/>
                    <a:pt x="55831" y="8292"/>
                  </a:cubicBezTo>
                  <a:cubicBezTo>
                    <a:pt x="30403" y="8292"/>
                    <a:pt x="8292" y="29297"/>
                    <a:pt x="8292" y="55831"/>
                  </a:cubicBezTo>
                  <a:lnTo>
                    <a:pt x="8292" y="58042"/>
                  </a:lnTo>
                  <a:cubicBezTo>
                    <a:pt x="8292" y="76837"/>
                    <a:pt x="19347" y="94526"/>
                    <a:pt x="37036" y="101159"/>
                  </a:cubicBezTo>
                  <a:lnTo>
                    <a:pt x="38142" y="101159"/>
                  </a:lnTo>
                  <a:cubicBezTo>
                    <a:pt x="53620" y="107793"/>
                    <a:pt x="69098" y="112215"/>
                    <a:pt x="84576" y="115532"/>
                  </a:cubicBezTo>
                  <a:lnTo>
                    <a:pt x="96737" y="470418"/>
                  </a:lnTo>
                  <a:lnTo>
                    <a:pt x="115532" y="469312"/>
                  </a:lnTo>
                  <a:lnTo>
                    <a:pt x="105582" y="118848"/>
                  </a:lnTo>
                  <a:cubicBezTo>
                    <a:pt x="105582" y="118848"/>
                    <a:pt x="105582" y="118848"/>
                    <a:pt x="105582" y="118848"/>
                  </a:cubicBezTo>
                  <a:close/>
                  <a:moveTo>
                    <a:pt x="46987" y="84576"/>
                  </a:moveTo>
                  <a:lnTo>
                    <a:pt x="45881" y="84576"/>
                  </a:lnTo>
                  <a:cubicBezTo>
                    <a:pt x="34825" y="80153"/>
                    <a:pt x="28192" y="70203"/>
                    <a:pt x="28192" y="59148"/>
                  </a:cubicBezTo>
                  <a:lnTo>
                    <a:pt x="28192" y="56937"/>
                  </a:lnTo>
                  <a:cubicBezTo>
                    <a:pt x="28192" y="41459"/>
                    <a:pt x="40353" y="29297"/>
                    <a:pt x="55831" y="29297"/>
                  </a:cubicBezTo>
                  <a:cubicBezTo>
                    <a:pt x="71309" y="29297"/>
                    <a:pt x="83470" y="41459"/>
                    <a:pt x="83470" y="58042"/>
                  </a:cubicBezTo>
                  <a:lnTo>
                    <a:pt x="84576" y="98948"/>
                  </a:lnTo>
                  <a:cubicBezTo>
                    <a:pt x="72415" y="93420"/>
                    <a:pt x="59148" y="88998"/>
                    <a:pt x="46987" y="84576"/>
                  </a:cubicBezTo>
                  <a:close/>
                </a:path>
              </a:pathLst>
            </a:custGeom>
            <a:solidFill>
              <a:srgbClr val="FFFFFF"/>
            </a:solidFill>
            <a:ln w="9525" cap="flat">
              <a:noFill/>
              <a:prstDash val="solid"/>
              <a:miter/>
            </a:ln>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97" name="Freeform: Shape 96">
              <a:extLst>
                <a:ext uri="{FF2B5EF4-FFF2-40B4-BE49-F238E27FC236}">
                  <a16:creationId xmlns:a16="http://schemas.microsoft.com/office/drawing/2014/main" id="{10D263C2-5D91-48FA-A209-A253743A9B6A}"/>
                </a:ext>
              </a:extLst>
            </p:cNvPr>
            <p:cNvSpPr/>
            <p:nvPr/>
          </p:nvSpPr>
          <p:spPr>
            <a:xfrm>
              <a:off x="2253215" y="1811257"/>
              <a:ext cx="154779" cy="475393"/>
            </a:xfrm>
            <a:custGeom>
              <a:avLst/>
              <a:gdLst/>
              <a:ahLst/>
              <a:cxnLst/>
              <a:rect l="0" t="0" r="0" b="0"/>
              <a:pathLst>
                <a:path w="154779" h="475393">
                  <a:moveTo>
                    <a:pt x="108898" y="8292"/>
                  </a:moveTo>
                  <a:lnTo>
                    <a:pt x="108898" y="8292"/>
                  </a:lnTo>
                  <a:cubicBezTo>
                    <a:pt x="82365" y="8292"/>
                    <a:pt x="61359" y="29297"/>
                    <a:pt x="61359" y="54725"/>
                  </a:cubicBezTo>
                  <a:lnTo>
                    <a:pt x="60253" y="98948"/>
                  </a:lnTo>
                  <a:cubicBezTo>
                    <a:pt x="42564" y="101159"/>
                    <a:pt x="25981" y="101159"/>
                    <a:pt x="8292" y="100054"/>
                  </a:cubicBezTo>
                  <a:lnTo>
                    <a:pt x="9397" y="118848"/>
                  </a:lnTo>
                  <a:cubicBezTo>
                    <a:pt x="25981" y="119954"/>
                    <a:pt x="43670" y="119954"/>
                    <a:pt x="60253" y="117743"/>
                  </a:cubicBezTo>
                  <a:lnTo>
                    <a:pt x="46987" y="470418"/>
                  </a:lnTo>
                  <a:lnTo>
                    <a:pt x="65781" y="471524"/>
                  </a:lnTo>
                  <a:lnTo>
                    <a:pt x="77942" y="116637"/>
                  </a:lnTo>
                  <a:lnTo>
                    <a:pt x="79048" y="96737"/>
                  </a:lnTo>
                  <a:lnTo>
                    <a:pt x="80154" y="55831"/>
                  </a:lnTo>
                  <a:cubicBezTo>
                    <a:pt x="80154" y="40353"/>
                    <a:pt x="92315" y="28192"/>
                    <a:pt x="107793" y="28192"/>
                  </a:cubicBezTo>
                  <a:lnTo>
                    <a:pt x="108898" y="28192"/>
                  </a:lnTo>
                  <a:cubicBezTo>
                    <a:pt x="124376" y="28192"/>
                    <a:pt x="136537" y="40353"/>
                    <a:pt x="136537" y="55831"/>
                  </a:cubicBezTo>
                  <a:lnTo>
                    <a:pt x="136537" y="58042"/>
                  </a:lnTo>
                  <a:cubicBezTo>
                    <a:pt x="136537" y="69098"/>
                    <a:pt x="129904" y="79048"/>
                    <a:pt x="118848" y="83470"/>
                  </a:cubicBezTo>
                  <a:cubicBezTo>
                    <a:pt x="111109" y="86787"/>
                    <a:pt x="102265" y="90104"/>
                    <a:pt x="93420" y="92315"/>
                  </a:cubicBezTo>
                  <a:lnTo>
                    <a:pt x="92315" y="112215"/>
                  </a:lnTo>
                  <a:cubicBezTo>
                    <a:pt x="103370" y="108898"/>
                    <a:pt x="114426" y="105581"/>
                    <a:pt x="125482" y="101159"/>
                  </a:cubicBezTo>
                  <a:cubicBezTo>
                    <a:pt x="143171" y="93420"/>
                    <a:pt x="154226" y="76837"/>
                    <a:pt x="154226" y="58042"/>
                  </a:cubicBezTo>
                  <a:lnTo>
                    <a:pt x="154226" y="55831"/>
                  </a:lnTo>
                  <a:cubicBezTo>
                    <a:pt x="156438" y="29297"/>
                    <a:pt x="135432" y="8292"/>
                    <a:pt x="108898" y="8292"/>
                  </a:cubicBezTo>
                  <a:close/>
                </a:path>
              </a:pathLst>
            </a:custGeom>
            <a:solidFill>
              <a:srgbClr val="FFFFFF"/>
            </a:solidFill>
            <a:ln w="9525" cap="flat">
              <a:noFill/>
              <a:prstDash val="solid"/>
              <a:miter/>
            </a:ln>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98" name="Freeform: Shape 97">
              <a:extLst>
                <a:ext uri="{FF2B5EF4-FFF2-40B4-BE49-F238E27FC236}">
                  <a16:creationId xmlns:a16="http://schemas.microsoft.com/office/drawing/2014/main" id="{AA7CA667-2434-41F3-8CEE-232161D8A2D0}"/>
                </a:ext>
              </a:extLst>
            </p:cNvPr>
            <p:cNvSpPr/>
            <p:nvPr/>
          </p:nvSpPr>
          <p:spPr>
            <a:xfrm>
              <a:off x="2169192" y="2209260"/>
              <a:ext cx="221113" cy="187946"/>
            </a:xfrm>
            <a:custGeom>
              <a:avLst/>
              <a:gdLst/>
              <a:ahLst/>
              <a:cxnLst/>
              <a:rect l="0" t="0" r="0" b="0"/>
              <a:pathLst>
                <a:path w="221113" h="187946">
                  <a:moveTo>
                    <a:pt x="8292" y="8292"/>
                  </a:moveTo>
                  <a:lnTo>
                    <a:pt x="8292" y="125482"/>
                  </a:lnTo>
                  <a:cubicBezTo>
                    <a:pt x="8292" y="142065"/>
                    <a:pt x="21559" y="156438"/>
                    <a:pt x="39248" y="156438"/>
                  </a:cubicBezTo>
                  <a:lnTo>
                    <a:pt x="81259" y="156438"/>
                  </a:lnTo>
                  <a:lnTo>
                    <a:pt x="81259" y="182971"/>
                  </a:lnTo>
                  <a:lnTo>
                    <a:pt x="144276" y="182971"/>
                  </a:lnTo>
                  <a:lnTo>
                    <a:pt x="144276" y="156438"/>
                  </a:lnTo>
                  <a:lnTo>
                    <a:pt x="186288" y="156438"/>
                  </a:lnTo>
                  <a:cubicBezTo>
                    <a:pt x="202871" y="156438"/>
                    <a:pt x="217244" y="143171"/>
                    <a:pt x="217244" y="125482"/>
                  </a:cubicBezTo>
                  <a:lnTo>
                    <a:pt x="217244" y="8292"/>
                  </a:lnTo>
                  <a:lnTo>
                    <a:pt x="8292" y="8292"/>
                  </a:lnTo>
                  <a:close/>
                </a:path>
              </a:pathLst>
            </a:custGeom>
            <a:solidFill>
              <a:srgbClr val="163E6A"/>
            </a:solidFill>
            <a:ln w="9525" cap="flat">
              <a:noFill/>
              <a:prstDash val="solid"/>
              <a:miter/>
            </a:ln>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99" name="Freeform: Shape 98">
              <a:extLst>
                <a:ext uri="{FF2B5EF4-FFF2-40B4-BE49-F238E27FC236}">
                  <a16:creationId xmlns:a16="http://schemas.microsoft.com/office/drawing/2014/main" id="{281FA5D3-D64D-4816-9967-859D2FD34414}"/>
                </a:ext>
              </a:extLst>
            </p:cNvPr>
            <p:cNvSpPr/>
            <p:nvPr/>
          </p:nvSpPr>
          <p:spPr>
            <a:xfrm>
              <a:off x="2169192" y="2242427"/>
              <a:ext cx="176891" cy="33167"/>
            </a:xfrm>
            <a:custGeom>
              <a:avLst/>
              <a:gdLst/>
              <a:ahLst/>
              <a:cxnLst/>
              <a:rect l="0" t="0" r="0" b="0"/>
              <a:pathLst>
                <a:path w="176890" h="33166">
                  <a:moveTo>
                    <a:pt x="8292" y="8292"/>
                  </a:moveTo>
                  <a:lnTo>
                    <a:pt x="173021" y="8292"/>
                  </a:lnTo>
                  <a:lnTo>
                    <a:pt x="173021" y="31509"/>
                  </a:lnTo>
                  <a:lnTo>
                    <a:pt x="8292" y="31509"/>
                  </a:lnTo>
                  <a:close/>
                </a:path>
              </a:pathLst>
            </a:custGeom>
            <a:solidFill>
              <a:srgbClr val="0078D4"/>
            </a:solidFill>
            <a:ln w="9525" cap="flat">
              <a:noFill/>
              <a:prstDash val="solid"/>
              <a:miter/>
            </a:ln>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00" name="Freeform: Shape 99">
              <a:extLst>
                <a:ext uri="{FF2B5EF4-FFF2-40B4-BE49-F238E27FC236}">
                  <a16:creationId xmlns:a16="http://schemas.microsoft.com/office/drawing/2014/main" id="{EE07CA21-318B-43C7-A079-6F8A500A4917}"/>
                </a:ext>
              </a:extLst>
            </p:cNvPr>
            <p:cNvSpPr/>
            <p:nvPr/>
          </p:nvSpPr>
          <p:spPr>
            <a:xfrm>
              <a:off x="2169192" y="2294389"/>
              <a:ext cx="176891" cy="33167"/>
            </a:xfrm>
            <a:custGeom>
              <a:avLst/>
              <a:gdLst/>
              <a:ahLst/>
              <a:cxnLst/>
              <a:rect l="0" t="0" r="0" b="0"/>
              <a:pathLst>
                <a:path w="176890" h="33166">
                  <a:moveTo>
                    <a:pt x="8292" y="8292"/>
                  </a:moveTo>
                  <a:lnTo>
                    <a:pt x="173021" y="8292"/>
                  </a:lnTo>
                  <a:lnTo>
                    <a:pt x="173021" y="31509"/>
                  </a:lnTo>
                  <a:lnTo>
                    <a:pt x="8292" y="31509"/>
                  </a:lnTo>
                  <a:close/>
                </a:path>
              </a:pathLst>
            </a:custGeom>
            <a:solidFill>
              <a:srgbClr val="0078D4"/>
            </a:solidFill>
            <a:ln w="9525" cap="flat">
              <a:noFill/>
              <a:prstDash val="solid"/>
              <a:miter/>
            </a:ln>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grpSp>
        <p:nvGrpSpPr>
          <p:cNvPr id="101" name="Group 100">
            <a:extLst>
              <a:ext uri="{FF2B5EF4-FFF2-40B4-BE49-F238E27FC236}">
                <a16:creationId xmlns:a16="http://schemas.microsoft.com/office/drawing/2014/main" id="{47472821-1132-4762-B775-C6929235F8F2}"/>
              </a:ext>
            </a:extLst>
          </p:cNvPr>
          <p:cNvGrpSpPr/>
          <p:nvPr/>
        </p:nvGrpSpPr>
        <p:grpSpPr>
          <a:xfrm>
            <a:off x="6782035" y="1542498"/>
            <a:ext cx="645413" cy="401737"/>
            <a:chOff x="6579943" y="1275628"/>
            <a:chExt cx="670649" cy="451667"/>
          </a:xfrm>
        </p:grpSpPr>
        <p:sp>
          <p:nvSpPr>
            <p:cNvPr id="102" name="Freeform 5">
              <a:extLst>
                <a:ext uri="{FF2B5EF4-FFF2-40B4-BE49-F238E27FC236}">
                  <a16:creationId xmlns:a16="http://schemas.microsoft.com/office/drawing/2014/main" id="{8D46E3DC-9F31-4DB2-9B4A-3397FE8675F1}"/>
                </a:ext>
              </a:extLst>
            </p:cNvPr>
            <p:cNvSpPr>
              <a:spLocks/>
            </p:cNvSpPr>
            <p:nvPr/>
          </p:nvSpPr>
          <p:spPr bwMode="auto">
            <a:xfrm>
              <a:off x="6579943" y="1275628"/>
              <a:ext cx="670649" cy="451667"/>
            </a:xfrm>
            <a:custGeom>
              <a:avLst/>
              <a:gdLst>
                <a:gd name="T0" fmla="*/ 113 w 172"/>
                <a:gd name="T1" fmla="*/ 103 h 104"/>
                <a:gd name="T2" fmla="*/ 146 w 172"/>
                <a:gd name="T3" fmla="*/ 103 h 104"/>
                <a:gd name="T4" fmla="*/ 172 w 172"/>
                <a:gd name="T5" fmla="*/ 77 h 104"/>
                <a:gd name="T6" fmla="*/ 146 w 172"/>
                <a:gd name="T7" fmla="*/ 51 h 104"/>
                <a:gd name="T8" fmla="*/ 135 w 172"/>
                <a:gd name="T9" fmla="*/ 54 h 104"/>
                <a:gd name="T10" fmla="*/ 138 w 172"/>
                <a:gd name="T11" fmla="*/ 40 h 104"/>
                <a:gd name="T12" fmla="*/ 98 w 172"/>
                <a:gd name="T13" fmla="*/ 0 h 104"/>
                <a:gd name="T14" fmla="*/ 60 w 172"/>
                <a:gd name="T15" fmla="*/ 31 h 104"/>
                <a:gd name="T16" fmla="*/ 44 w 172"/>
                <a:gd name="T17" fmla="*/ 24 h 104"/>
                <a:gd name="T18" fmla="*/ 23 w 172"/>
                <a:gd name="T19" fmla="*/ 46 h 104"/>
                <a:gd name="T20" fmla="*/ 23 w 172"/>
                <a:gd name="T21" fmla="*/ 46 h 104"/>
                <a:gd name="T22" fmla="*/ 0 w 172"/>
                <a:gd name="T23" fmla="*/ 74 h 104"/>
                <a:gd name="T24" fmla="*/ 29 w 172"/>
                <a:gd name="T25" fmla="*/ 103 h 104"/>
                <a:gd name="T26" fmla="*/ 55 w 172"/>
                <a:gd name="T27" fmla="*/ 104 h 104"/>
                <a:gd name="T28" fmla="*/ 99 w 172"/>
                <a:gd name="T29"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2" h="104">
                  <a:moveTo>
                    <a:pt x="113" y="103"/>
                  </a:moveTo>
                  <a:cubicBezTo>
                    <a:pt x="132" y="103"/>
                    <a:pt x="146" y="103"/>
                    <a:pt x="146" y="103"/>
                  </a:cubicBezTo>
                  <a:cubicBezTo>
                    <a:pt x="160" y="103"/>
                    <a:pt x="172" y="92"/>
                    <a:pt x="172" y="77"/>
                  </a:cubicBezTo>
                  <a:cubicBezTo>
                    <a:pt x="172" y="63"/>
                    <a:pt x="160" y="51"/>
                    <a:pt x="146" y="51"/>
                  </a:cubicBezTo>
                  <a:cubicBezTo>
                    <a:pt x="142" y="51"/>
                    <a:pt x="139" y="52"/>
                    <a:pt x="135" y="54"/>
                  </a:cubicBezTo>
                  <a:cubicBezTo>
                    <a:pt x="137" y="49"/>
                    <a:pt x="138" y="45"/>
                    <a:pt x="138" y="40"/>
                  </a:cubicBezTo>
                  <a:cubicBezTo>
                    <a:pt x="138" y="18"/>
                    <a:pt x="120" y="0"/>
                    <a:pt x="98" y="0"/>
                  </a:cubicBezTo>
                  <a:cubicBezTo>
                    <a:pt x="79" y="0"/>
                    <a:pt x="64" y="13"/>
                    <a:pt x="60" y="31"/>
                  </a:cubicBezTo>
                  <a:cubicBezTo>
                    <a:pt x="56" y="27"/>
                    <a:pt x="50" y="24"/>
                    <a:pt x="44" y="24"/>
                  </a:cubicBezTo>
                  <a:cubicBezTo>
                    <a:pt x="33" y="24"/>
                    <a:pt x="23" y="34"/>
                    <a:pt x="23" y="46"/>
                  </a:cubicBezTo>
                  <a:cubicBezTo>
                    <a:pt x="23" y="46"/>
                    <a:pt x="23" y="46"/>
                    <a:pt x="23" y="46"/>
                  </a:cubicBezTo>
                  <a:cubicBezTo>
                    <a:pt x="10" y="49"/>
                    <a:pt x="0" y="60"/>
                    <a:pt x="0" y="74"/>
                  </a:cubicBezTo>
                  <a:cubicBezTo>
                    <a:pt x="0" y="90"/>
                    <a:pt x="13" y="103"/>
                    <a:pt x="29" y="103"/>
                  </a:cubicBezTo>
                  <a:cubicBezTo>
                    <a:pt x="30" y="103"/>
                    <a:pt x="30" y="104"/>
                    <a:pt x="55" y="104"/>
                  </a:cubicBezTo>
                  <a:cubicBezTo>
                    <a:pt x="76" y="104"/>
                    <a:pt x="80" y="95"/>
                    <a:pt x="99" y="74"/>
                  </a:cubicBezTo>
                </a:path>
              </a:pathLst>
            </a:custGeom>
            <a:noFill/>
            <a:ln w="19050" cap="rnd">
              <a:solidFill>
                <a:srgbClr val="163E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03" name="Freeform 6">
              <a:extLst>
                <a:ext uri="{FF2B5EF4-FFF2-40B4-BE49-F238E27FC236}">
                  <a16:creationId xmlns:a16="http://schemas.microsoft.com/office/drawing/2014/main" id="{5344AEF5-4FEF-41B6-826D-C7F5129C39A7}"/>
                </a:ext>
              </a:extLst>
            </p:cNvPr>
            <p:cNvSpPr>
              <a:spLocks/>
            </p:cNvSpPr>
            <p:nvPr/>
          </p:nvSpPr>
          <p:spPr bwMode="auto">
            <a:xfrm>
              <a:off x="6908363" y="1532609"/>
              <a:ext cx="76708" cy="96613"/>
            </a:xfrm>
            <a:custGeom>
              <a:avLst/>
              <a:gdLst>
                <a:gd name="T0" fmla="*/ 0 w 35"/>
                <a:gd name="T1" fmla="*/ 16 h 40"/>
                <a:gd name="T2" fmla="*/ 35 w 35"/>
                <a:gd name="T3" fmla="*/ 0 h 40"/>
                <a:gd name="T4" fmla="*/ 33 w 35"/>
                <a:gd name="T5" fmla="*/ 40 h 40"/>
                <a:gd name="T6" fmla="*/ 0 w 35"/>
                <a:gd name="T7" fmla="*/ 16 h 40"/>
              </a:gdLst>
              <a:ahLst/>
              <a:cxnLst>
                <a:cxn ang="0">
                  <a:pos x="T0" y="T1"/>
                </a:cxn>
                <a:cxn ang="0">
                  <a:pos x="T2" y="T3"/>
                </a:cxn>
                <a:cxn ang="0">
                  <a:pos x="T4" y="T5"/>
                </a:cxn>
                <a:cxn ang="0">
                  <a:pos x="T6" y="T7"/>
                </a:cxn>
              </a:cxnLst>
              <a:rect l="0" t="0" r="r" b="b"/>
              <a:pathLst>
                <a:path w="35" h="40">
                  <a:moveTo>
                    <a:pt x="0" y="16"/>
                  </a:moveTo>
                  <a:lnTo>
                    <a:pt x="35" y="0"/>
                  </a:lnTo>
                  <a:lnTo>
                    <a:pt x="33" y="40"/>
                  </a:lnTo>
                  <a:lnTo>
                    <a:pt x="0" y="16"/>
                  </a:lnTo>
                  <a:close/>
                </a:path>
              </a:pathLst>
            </a:custGeom>
            <a:solidFill>
              <a:srgbClr val="163E6A"/>
            </a:solidFill>
            <a:ln w="9525">
              <a:solidFill>
                <a:srgbClr val="163E6A"/>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grpSp>
        <p:nvGrpSpPr>
          <p:cNvPr id="104" name="Group 103">
            <a:extLst>
              <a:ext uri="{FF2B5EF4-FFF2-40B4-BE49-F238E27FC236}">
                <a16:creationId xmlns:a16="http://schemas.microsoft.com/office/drawing/2014/main" id="{E8DA4887-7DDE-4AF9-9C37-C52FD2E7A7B3}"/>
              </a:ext>
            </a:extLst>
          </p:cNvPr>
          <p:cNvGrpSpPr/>
          <p:nvPr/>
        </p:nvGrpSpPr>
        <p:grpSpPr>
          <a:xfrm>
            <a:off x="6802661" y="2588161"/>
            <a:ext cx="468321" cy="488595"/>
            <a:chOff x="9592192" y="1744460"/>
            <a:chExt cx="551498" cy="552450"/>
          </a:xfrm>
        </p:grpSpPr>
        <p:sp>
          <p:nvSpPr>
            <p:cNvPr id="105" name="Freeform: Shape 104">
              <a:extLst>
                <a:ext uri="{FF2B5EF4-FFF2-40B4-BE49-F238E27FC236}">
                  <a16:creationId xmlns:a16="http://schemas.microsoft.com/office/drawing/2014/main" id="{A0FBA1A3-D975-4782-B103-AF51976213DC}"/>
                </a:ext>
              </a:extLst>
            </p:cNvPr>
            <p:cNvSpPr/>
            <p:nvPr/>
          </p:nvSpPr>
          <p:spPr>
            <a:xfrm>
              <a:off x="9848415" y="1744460"/>
              <a:ext cx="295275" cy="552450"/>
            </a:xfrm>
            <a:custGeom>
              <a:avLst/>
              <a:gdLst/>
              <a:ahLst/>
              <a:cxnLst/>
              <a:rect l="0" t="0" r="0" b="0"/>
              <a:pathLst>
                <a:path w="295275" h="552450">
                  <a:moveTo>
                    <a:pt x="19526" y="7144"/>
                  </a:moveTo>
                  <a:lnTo>
                    <a:pt x="7144" y="246221"/>
                  </a:lnTo>
                  <a:lnTo>
                    <a:pt x="19526" y="547211"/>
                  </a:lnTo>
                  <a:lnTo>
                    <a:pt x="42386" y="534829"/>
                  </a:lnTo>
                  <a:cubicBezTo>
                    <a:pt x="194786" y="451009"/>
                    <a:pt x="290036" y="290036"/>
                    <a:pt x="290036" y="115729"/>
                  </a:cubicBezTo>
                  <a:lnTo>
                    <a:pt x="290036" y="7144"/>
                  </a:lnTo>
                  <a:lnTo>
                    <a:pt x="290036" y="7144"/>
                  </a:lnTo>
                  <a:cubicBezTo>
                    <a:pt x="204311" y="50006"/>
                    <a:pt x="104299" y="50006"/>
                    <a:pt x="19526" y="7144"/>
                  </a:cubicBezTo>
                  <a:lnTo>
                    <a:pt x="19526" y="7144"/>
                  </a:lnTo>
                  <a:close/>
                </a:path>
              </a:pathLst>
            </a:custGeom>
            <a:solidFill>
              <a:srgbClr val="50E6FF"/>
            </a:solidFill>
            <a:ln w="9525" cap="flat">
              <a:noFill/>
              <a:prstDash val="solid"/>
              <a:miter/>
            </a:ln>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06" name="Freeform: Shape 105">
              <a:extLst>
                <a:ext uri="{FF2B5EF4-FFF2-40B4-BE49-F238E27FC236}">
                  <a16:creationId xmlns:a16="http://schemas.microsoft.com/office/drawing/2014/main" id="{B0C6A6C3-7D24-4F3B-A637-39AAECAF77C8}"/>
                </a:ext>
              </a:extLst>
            </p:cNvPr>
            <p:cNvSpPr/>
            <p:nvPr/>
          </p:nvSpPr>
          <p:spPr>
            <a:xfrm>
              <a:off x="9592192" y="1744460"/>
              <a:ext cx="485775" cy="552450"/>
            </a:xfrm>
            <a:custGeom>
              <a:avLst/>
              <a:gdLst/>
              <a:ahLst/>
              <a:cxnLst/>
              <a:rect l="0" t="0" r="0" b="0"/>
              <a:pathLst>
                <a:path w="485775" h="552450">
                  <a:moveTo>
                    <a:pt x="481489" y="214789"/>
                  </a:moveTo>
                  <a:lnTo>
                    <a:pt x="442436" y="175736"/>
                  </a:lnTo>
                  <a:lnTo>
                    <a:pt x="277654" y="340519"/>
                  </a:lnTo>
                  <a:lnTo>
                    <a:pt x="277654" y="7144"/>
                  </a:lnTo>
                  <a:cubicBezTo>
                    <a:pt x="192881" y="50006"/>
                    <a:pt x="91916" y="50006"/>
                    <a:pt x="7144" y="7144"/>
                  </a:cubicBezTo>
                  <a:lnTo>
                    <a:pt x="7144" y="115729"/>
                  </a:lnTo>
                  <a:cubicBezTo>
                    <a:pt x="7144" y="290036"/>
                    <a:pt x="101441" y="450056"/>
                    <a:pt x="254794" y="534829"/>
                  </a:cubicBezTo>
                  <a:lnTo>
                    <a:pt x="277654" y="547211"/>
                  </a:lnTo>
                  <a:lnTo>
                    <a:pt x="277654" y="419576"/>
                  </a:lnTo>
                  <a:lnTo>
                    <a:pt x="481489" y="214789"/>
                  </a:lnTo>
                  <a:close/>
                </a:path>
              </a:pathLst>
            </a:custGeom>
            <a:solidFill>
              <a:srgbClr val="0078D3"/>
            </a:solidFill>
            <a:ln w="9525" cap="flat">
              <a:noFill/>
              <a:prstDash val="solid"/>
              <a:miter/>
            </a:ln>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07" name="Freeform: Shape 106">
              <a:extLst>
                <a:ext uri="{FF2B5EF4-FFF2-40B4-BE49-F238E27FC236}">
                  <a16:creationId xmlns:a16="http://schemas.microsoft.com/office/drawing/2014/main" id="{C85C9588-E14E-42F8-BC8D-1DF7D530B01B}"/>
                </a:ext>
              </a:extLst>
            </p:cNvPr>
            <p:cNvSpPr/>
            <p:nvPr/>
          </p:nvSpPr>
          <p:spPr bwMode="auto">
            <a:xfrm rot="18900000">
              <a:off x="9773899" y="1883265"/>
              <a:ext cx="284225" cy="150955"/>
            </a:xfrm>
            <a:custGeom>
              <a:avLst/>
              <a:gdLst>
                <a:gd name="connsiteX0" fmla="*/ 284225 w 284225"/>
                <a:gd name="connsiteY0" fmla="*/ 107849 h 150955"/>
                <a:gd name="connsiteX1" fmla="*/ 284225 w 284225"/>
                <a:gd name="connsiteY1" fmla="*/ 150955 h 150955"/>
                <a:gd name="connsiteX2" fmla="*/ 0 w 284225"/>
                <a:gd name="connsiteY2" fmla="*/ 150955 h 150955"/>
                <a:gd name="connsiteX3" fmla="*/ 0 w 284225"/>
                <a:gd name="connsiteY3" fmla="*/ 0 h 150955"/>
                <a:gd name="connsiteX4" fmla="*/ 43779 w 284225"/>
                <a:gd name="connsiteY4" fmla="*/ 0 h 150955"/>
                <a:gd name="connsiteX5" fmla="*/ 43779 w 284225"/>
                <a:gd name="connsiteY5" fmla="*/ 107176 h 150955"/>
                <a:gd name="connsiteX6" fmla="*/ 284225 w 284225"/>
                <a:gd name="connsiteY6" fmla="*/ 107849 h 1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225" h="150955">
                  <a:moveTo>
                    <a:pt x="284225" y="107849"/>
                  </a:moveTo>
                  <a:lnTo>
                    <a:pt x="284225" y="150955"/>
                  </a:lnTo>
                  <a:lnTo>
                    <a:pt x="0" y="150955"/>
                  </a:lnTo>
                  <a:lnTo>
                    <a:pt x="0" y="0"/>
                  </a:lnTo>
                  <a:lnTo>
                    <a:pt x="43779" y="0"/>
                  </a:lnTo>
                  <a:lnTo>
                    <a:pt x="43779" y="107176"/>
                  </a:lnTo>
                  <a:lnTo>
                    <a:pt x="284225" y="107849"/>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8" name="Group 107">
            <a:extLst>
              <a:ext uri="{FF2B5EF4-FFF2-40B4-BE49-F238E27FC236}">
                <a16:creationId xmlns:a16="http://schemas.microsoft.com/office/drawing/2014/main" id="{D26C9917-D19F-4145-85B1-B06F41CDE89C}"/>
              </a:ext>
            </a:extLst>
          </p:cNvPr>
          <p:cNvGrpSpPr/>
          <p:nvPr/>
        </p:nvGrpSpPr>
        <p:grpSpPr>
          <a:xfrm>
            <a:off x="6766000" y="4499614"/>
            <a:ext cx="524617" cy="596384"/>
            <a:chOff x="9654309" y="1660397"/>
            <a:chExt cx="577922" cy="641131"/>
          </a:xfrm>
        </p:grpSpPr>
        <p:sp>
          <p:nvSpPr>
            <p:cNvPr id="109" name="Oval 108">
              <a:extLst>
                <a:ext uri="{FF2B5EF4-FFF2-40B4-BE49-F238E27FC236}">
                  <a16:creationId xmlns:a16="http://schemas.microsoft.com/office/drawing/2014/main" id="{9542F226-46EB-40B3-9156-43EE5558C1E0}"/>
                </a:ext>
              </a:extLst>
            </p:cNvPr>
            <p:cNvSpPr/>
            <p:nvPr/>
          </p:nvSpPr>
          <p:spPr bwMode="auto">
            <a:xfrm>
              <a:off x="9761229" y="1802607"/>
              <a:ext cx="361195" cy="447674"/>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0" name="Group 109">
              <a:extLst>
                <a:ext uri="{FF2B5EF4-FFF2-40B4-BE49-F238E27FC236}">
                  <a16:creationId xmlns:a16="http://schemas.microsoft.com/office/drawing/2014/main" id="{7FD82E05-DA11-4D08-A625-56FF89FAF092}"/>
                </a:ext>
              </a:extLst>
            </p:cNvPr>
            <p:cNvGrpSpPr/>
            <p:nvPr/>
          </p:nvGrpSpPr>
          <p:grpSpPr>
            <a:xfrm>
              <a:off x="9654309" y="1660397"/>
              <a:ext cx="577922" cy="641131"/>
              <a:chOff x="8836356" y="1762284"/>
              <a:chExt cx="260789" cy="289312"/>
            </a:xfrm>
          </p:grpSpPr>
          <p:sp>
            <p:nvSpPr>
              <p:cNvPr id="111" name="Freeform 732">
                <a:extLst>
                  <a:ext uri="{FF2B5EF4-FFF2-40B4-BE49-F238E27FC236}">
                    <a16:creationId xmlns:a16="http://schemas.microsoft.com/office/drawing/2014/main" id="{4AA665C6-F905-4E2B-BA0E-9B49FBC0FF88}"/>
                  </a:ext>
                </a:extLst>
              </p:cNvPr>
              <p:cNvSpPr>
                <a:spLocks/>
              </p:cNvSpPr>
              <p:nvPr/>
            </p:nvSpPr>
            <p:spPr bwMode="auto">
              <a:xfrm>
                <a:off x="8874605" y="1789464"/>
                <a:ext cx="182986" cy="148759"/>
              </a:xfrm>
              <a:custGeom>
                <a:avLst/>
                <a:gdLst>
                  <a:gd name="T0" fmla="*/ 183 w 277"/>
                  <a:gd name="T1" fmla="*/ 4 h 227"/>
                  <a:gd name="T2" fmla="*/ 238 w 277"/>
                  <a:gd name="T3" fmla="*/ 34 h 227"/>
                  <a:gd name="T4" fmla="*/ 271 w 277"/>
                  <a:gd name="T5" fmla="*/ 81 h 227"/>
                  <a:gd name="T6" fmla="*/ 277 w 277"/>
                  <a:gd name="T7" fmla="*/ 128 h 227"/>
                  <a:gd name="T8" fmla="*/ 275 w 277"/>
                  <a:gd name="T9" fmla="*/ 164 h 227"/>
                  <a:gd name="T10" fmla="*/ 271 w 277"/>
                  <a:gd name="T11" fmla="*/ 195 h 227"/>
                  <a:gd name="T12" fmla="*/ 269 w 277"/>
                  <a:gd name="T13" fmla="*/ 205 h 227"/>
                  <a:gd name="T14" fmla="*/ 263 w 277"/>
                  <a:gd name="T15" fmla="*/ 221 h 227"/>
                  <a:gd name="T16" fmla="*/ 251 w 277"/>
                  <a:gd name="T17" fmla="*/ 227 h 227"/>
                  <a:gd name="T18" fmla="*/ 251 w 277"/>
                  <a:gd name="T19" fmla="*/ 215 h 227"/>
                  <a:gd name="T20" fmla="*/ 253 w 277"/>
                  <a:gd name="T21" fmla="*/ 205 h 227"/>
                  <a:gd name="T22" fmla="*/ 253 w 277"/>
                  <a:gd name="T23" fmla="*/ 175 h 227"/>
                  <a:gd name="T24" fmla="*/ 244 w 277"/>
                  <a:gd name="T25" fmla="*/ 136 h 227"/>
                  <a:gd name="T26" fmla="*/ 214 w 277"/>
                  <a:gd name="T27" fmla="*/ 124 h 227"/>
                  <a:gd name="T28" fmla="*/ 181 w 277"/>
                  <a:gd name="T29" fmla="*/ 120 h 227"/>
                  <a:gd name="T30" fmla="*/ 133 w 277"/>
                  <a:gd name="T31" fmla="*/ 110 h 227"/>
                  <a:gd name="T32" fmla="*/ 102 w 277"/>
                  <a:gd name="T33" fmla="*/ 89 h 227"/>
                  <a:gd name="T34" fmla="*/ 90 w 277"/>
                  <a:gd name="T35" fmla="*/ 83 h 227"/>
                  <a:gd name="T36" fmla="*/ 72 w 277"/>
                  <a:gd name="T37" fmla="*/ 83 h 227"/>
                  <a:gd name="T38" fmla="*/ 53 w 277"/>
                  <a:gd name="T39" fmla="*/ 104 h 227"/>
                  <a:gd name="T40" fmla="*/ 29 w 277"/>
                  <a:gd name="T41" fmla="*/ 146 h 227"/>
                  <a:gd name="T42" fmla="*/ 21 w 277"/>
                  <a:gd name="T43" fmla="*/ 183 h 227"/>
                  <a:gd name="T44" fmla="*/ 21 w 277"/>
                  <a:gd name="T45" fmla="*/ 209 h 227"/>
                  <a:gd name="T46" fmla="*/ 21 w 277"/>
                  <a:gd name="T47" fmla="*/ 223 h 227"/>
                  <a:gd name="T48" fmla="*/ 7 w 277"/>
                  <a:gd name="T49" fmla="*/ 227 h 227"/>
                  <a:gd name="T50" fmla="*/ 7 w 277"/>
                  <a:gd name="T51" fmla="*/ 221 h 227"/>
                  <a:gd name="T52" fmla="*/ 7 w 277"/>
                  <a:gd name="T53" fmla="*/ 201 h 227"/>
                  <a:gd name="T54" fmla="*/ 2 w 277"/>
                  <a:gd name="T55" fmla="*/ 173 h 227"/>
                  <a:gd name="T56" fmla="*/ 0 w 277"/>
                  <a:gd name="T57" fmla="*/ 138 h 227"/>
                  <a:gd name="T58" fmla="*/ 2 w 277"/>
                  <a:gd name="T59" fmla="*/ 100 h 227"/>
                  <a:gd name="T60" fmla="*/ 13 w 277"/>
                  <a:gd name="T61" fmla="*/ 67 h 227"/>
                  <a:gd name="T62" fmla="*/ 39 w 277"/>
                  <a:gd name="T63" fmla="*/ 47 h 227"/>
                  <a:gd name="T64" fmla="*/ 76 w 277"/>
                  <a:gd name="T65" fmla="*/ 16 h 227"/>
                  <a:gd name="T66" fmla="*/ 126 w 277"/>
                  <a:gd name="T67" fmla="*/ 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227">
                    <a:moveTo>
                      <a:pt x="149" y="0"/>
                    </a:moveTo>
                    <a:lnTo>
                      <a:pt x="183" y="4"/>
                    </a:lnTo>
                    <a:lnTo>
                      <a:pt x="212" y="16"/>
                    </a:lnTo>
                    <a:lnTo>
                      <a:pt x="238" y="34"/>
                    </a:lnTo>
                    <a:lnTo>
                      <a:pt x="259" y="57"/>
                    </a:lnTo>
                    <a:lnTo>
                      <a:pt x="271" y="81"/>
                    </a:lnTo>
                    <a:lnTo>
                      <a:pt x="277" y="104"/>
                    </a:lnTo>
                    <a:lnTo>
                      <a:pt x="277" y="128"/>
                    </a:lnTo>
                    <a:lnTo>
                      <a:pt x="275" y="154"/>
                    </a:lnTo>
                    <a:lnTo>
                      <a:pt x="275" y="164"/>
                    </a:lnTo>
                    <a:lnTo>
                      <a:pt x="273" y="177"/>
                    </a:lnTo>
                    <a:lnTo>
                      <a:pt x="271" y="195"/>
                    </a:lnTo>
                    <a:lnTo>
                      <a:pt x="269" y="199"/>
                    </a:lnTo>
                    <a:lnTo>
                      <a:pt x="269" y="205"/>
                    </a:lnTo>
                    <a:lnTo>
                      <a:pt x="267" y="213"/>
                    </a:lnTo>
                    <a:lnTo>
                      <a:pt x="263" y="221"/>
                    </a:lnTo>
                    <a:lnTo>
                      <a:pt x="261" y="227"/>
                    </a:lnTo>
                    <a:lnTo>
                      <a:pt x="251" y="227"/>
                    </a:lnTo>
                    <a:lnTo>
                      <a:pt x="251" y="221"/>
                    </a:lnTo>
                    <a:lnTo>
                      <a:pt x="251" y="215"/>
                    </a:lnTo>
                    <a:lnTo>
                      <a:pt x="253" y="209"/>
                    </a:lnTo>
                    <a:lnTo>
                      <a:pt x="253" y="205"/>
                    </a:lnTo>
                    <a:lnTo>
                      <a:pt x="253" y="201"/>
                    </a:lnTo>
                    <a:lnTo>
                      <a:pt x="253" y="175"/>
                    </a:lnTo>
                    <a:lnTo>
                      <a:pt x="251" y="148"/>
                    </a:lnTo>
                    <a:lnTo>
                      <a:pt x="244" y="136"/>
                    </a:lnTo>
                    <a:lnTo>
                      <a:pt x="232" y="128"/>
                    </a:lnTo>
                    <a:lnTo>
                      <a:pt x="214" y="124"/>
                    </a:lnTo>
                    <a:lnTo>
                      <a:pt x="196" y="122"/>
                    </a:lnTo>
                    <a:lnTo>
                      <a:pt x="181" y="120"/>
                    </a:lnTo>
                    <a:lnTo>
                      <a:pt x="165" y="120"/>
                    </a:lnTo>
                    <a:lnTo>
                      <a:pt x="133" y="110"/>
                    </a:lnTo>
                    <a:lnTo>
                      <a:pt x="106" y="93"/>
                    </a:lnTo>
                    <a:lnTo>
                      <a:pt x="102" y="89"/>
                    </a:lnTo>
                    <a:lnTo>
                      <a:pt x="96" y="87"/>
                    </a:lnTo>
                    <a:lnTo>
                      <a:pt x="90" y="83"/>
                    </a:lnTo>
                    <a:lnTo>
                      <a:pt x="84" y="81"/>
                    </a:lnTo>
                    <a:lnTo>
                      <a:pt x="72" y="83"/>
                    </a:lnTo>
                    <a:lnTo>
                      <a:pt x="61" y="93"/>
                    </a:lnTo>
                    <a:lnTo>
                      <a:pt x="53" y="104"/>
                    </a:lnTo>
                    <a:lnTo>
                      <a:pt x="41" y="124"/>
                    </a:lnTo>
                    <a:lnTo>
                      <a:pt x="29" y="146"/>
                    </a:lnTo>
                    <a:lnTo>
                      <a:pt x="21" y="167"/>
                    </a:lnTo>
                    <a:lnTo>
                      <a:pt x="21" y="183"/>
                    </a:lnTo>
                    <a:lnTo>
                      <a:pt x="21" y="199"/>
                    </a:lnTo>
                    <a:lnTo>
                      <a:pt x="21" y="209"/>
                    </a:lnTo>
                    <a:lnTo>
                      <a:pt x="21" y="219"/>
                    </a:lnTo>
                    <a:lnTo>
                      <a:pt x="21" y="223"/>
                    </a:lnTo>
                    <a:lnTo>
                      <a:pt x="21" y="227"/>
                    </a:lnTo>
                    <a:lnTo>
                      <a:pt x="7" y="227"/>
                    </a:lnTo>
                    <a:lnTo>
                      <a:pt x="7" y="223"/>
                    </a:lnTo>
                    <a:lnTo>
                      <a:pt x="7" y="221"/>
                    </a:lnTo>
                    <a:lnTo>
                      <a:pt x="7" y="211"/>
                    </a:lnTo>
                    <a:lnTo>
                      <a:pt x="7" y="201"/>
                    </a:lnTo>
                    <a:lnTo>
                      <a:pt x="5" y="191"/>
                    </a:lnTo>
                    <a:lnTo>
                      <a:pt x="2" y="173"/>
                    </a:lnTo>
                    <a:lnTo>
                      <a:pt x="2" y="154"/>
                    </a:lnTo>
                    <a:lnTo>
                      <a:pt x="0" y="138"/>
                    </a:lnTo>
                    <a:lnTo>
                      <a:pt x="0" y="120"/>
                    </a:lnTo>
                    <a:lnTo>
                      <a:pt x="2" y="100"/>
                    </a:lnTo>
                    <a:lnTo>
                      <a:pt x="5" y="83"/>
                    </a:lnTo>
                    <a:lnTo>
                      <a:pt x="13" y="67"/>
                    </a:lnTo>
                    <a:lnTo>
                      <a:pt x="23" y="53"/>
                    </a:lnTo>
                    <a:lnTo>
                      <a:pt x="39" y="47"/>
                    </a:lnTo>
                    <a:lnTo>
                      <a:pt x="55" y="30"/>
                    </a:lnTo>
                    <a:lnTo>
                      <a:pt x="76" y="16"/>
                    </a:lnTo>
                    <a:lnTo>
                      <a:pt x="100" y="8"/>
                    </a:lnTo>
                    <a:lnTo>
                      <a:pt x="126" y="2"/>
                    </a:lnTo>
                    <a:lnTo>
                      <a:pt x="149" y="0"/>
                    </a:lnTo>
                    <a:close/>
                  </a:path>
                </a:pathLst>
              </a:custGeom>
              <a:solidFill>
                <a:srgbClr val="0078D3"/>
              </a:solidFill>
              <a:ln w="0">
                <a:solidFill>
                  <a:srgbClr val="0078D3"/>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12" name="Freeform 739">
                <a:extLst>
                  <a:ext uri="{FF2B5EF4-FFF2-40B4-BE49-F238E27FC236}">
                    <a16:creationId xmlns:a16="http://schemas.microsoft.com/office/drawing/2014/main" id="{E341685A-D6DA-40C2-9DC1-6264B86749A2}"/>
                  </a:ext>
                </a:extLst>
              </p:cNvPr>
              <p:cNvSpPr>
                <a:spLocks/>
              </p:cNvSpPr>
              <p:nvPr/>
            </p:nvSpPr>
            <p:spPr bwMode="auto">
              <a:xfrm>
                <a:off x="8836356" y="1762284"/>
                <a:ext cx="260789" cy="289312"/>
              </a:xfrm>
              <a:custGeom>
                <a:avLst/>
                <a:gdLst>
                  <a:gd name="T0" fmla="*/ 233 w 384"/>
                  <a:gd name="T1" fmla="*/ 4 h 426"/>
                  <a:gd name="T2" fmla="*/ 302 w 384"/>
                  <a:gd name="T3" fmla="*/ 36 h 426"/>
                  <a:gd name="T4" fmla="*/ 343 w 384"/>
                  <a:gd name="T5" fmla="*/ 89 h 426"/>
                  <a:gd name="T6" fmla="*/ 361 w 384"/>
                  <a:gd name="T7" fmla="*/ 152 h 426"/>
                  <a:gd name="T8" fmla="*/ 361 w 384"/>
                  <a:gd name="T9" fmla="*/ 213 h 426"/>
                  <a:gd name="T10" fmla="*/ 380 w 384"/>
                  <a:gd name="T11" fmla="*/ 239 h 426"/>
                  <a:gd name="T12" fmla="*/ 382 w 384"/>
                  <a:gd name="T13" fmla="*/ 278 h 426"/>
                  <a:gd name="T14" fmla="*/ 365 w 384"/>
                  <a:gd name="T15" fmla="*/ 314 h 426"/>
                  <a:gd name="T16" fmla="*/ 288 w 384"/>
                  <a:gd name="T17" fmla="*/ 391 h 426"/>
                  <a:gd name="T18" fmla="*/ 286 w 384"/>
                  <a:gd name="T19" fmla="*/ 398 h 426"/>
                  <a:gd name="T20" fmla="*/ 254 w 384"/>
                  <a:gd name="T21" fmla="*/ 426 h 426"/>
                  <a:gd name="T22" fmla="*/ 246 w 384"/>
                  <a:gd name="T23" fmla="*/ 424 h 426"/>
                  <a:gd name="T24" fmla="*/ 239 w 384"/>
                  <a:gd name="T25" fmla="*/ 414 h 426"/>
                  <a:gd name="T26" fmla="*/ 243 w 384"/>
                  <a:gd name="T27" fmla="*/ 406 h 426"/>
                  <a:gd name="T28" fmla="*/ 272 w 384"/>
                  <a:gd name="T29" fmla="*/ 379 h 426"/>
                  <a:gd name="T30" fmla="*/ 280 w 384"/>
                  <a:gd name="T31" fmla="*/ 381 h 426"/>
                  <a:gd name="T32" fmla="*/ 331 w 384"/>
                  <a:gd name="T33" fmla="*/ 320 h 426"/>
                  <a:gd name="T34" fmla="*/ 349 w 384"/>
                  <a:gd name="T35" fmla="*/ 209 h 426"/>
                  <a:gd name="T36" fmla="*/ 349 w 384"/>
                  <a:gd name="T37" fmla="*/ 152 h 426"/>
                  <a:gd name="T38" fmla="*/ 333 w 384"/>
                  <a:gd name="T39" fmla="*/ 93 h 426"/>
                  <a:gd name="T40" fmla="*/ 294 w 384"/>
                  <a:gd name="T41" fmla="*/ 46 h 426"/>
                  <a:gd name="T42" fmla="*/ 231 w 384"/>
                  <a:gd name="T43" fmla="*/ 16 h 426"/>
                  <a:gd name="T44" fmla="*/ 154 w 384"/>
                  <a:gd name="T45" fmla="*/ 16 h 426"/>
                  <a:gd name="T46" fmla="*/ 89 w 384"/>
                  <a:gd name="T47" fmla="*/ 46 h 426"/>
                  <a:gd name="T48" fmla="*/ 52 w 384"/>
                  <a:gd name="T49" fmla="*/ 93 h 426"/>
                  <a:gd name="T50" fmla="*/ 36 w 384"/>
                  <a:gd name="T51" fmla="*/ 152 h 426"/>
                  <a:gd name="T52" fmla="*/ 34 w 384"/>
                  <a:gd name="T53" fmla="*/ 209 h 426"/>
                  <a:gd name="T54" fmla="*/ 52 w 384"/>
                  <a:gd name="T55" fmla="*/ 320 h 426"/>
                  <a:gd name="T56" fmla="*/ 16 w 384"/>
                  <a:gd name="T57" fmla="*/ 314 h 426"/>
                  <a:gd name="T58" fmla="*/ 0 w 384"/>
                  <a:gd name="T59" fmla="*/ 278 h 426"/>
                  <a:gd name="T60" fmla="*/ 2 w 384"/>
                  <a:gd name="T61" fmla="*/ 239 h 426"/>
                  <a:gd name="T62" fmla="*/ 22 w 384"/>
                  <a:gd name="T63" fmla="*/ 213 h 426"/>
                  <a:gd name="T64" fmla="*/ 22 w 384"/>
                  <a:gd name="T65" fmla="*/ 152 h 426"/>
                  <a:gd name="T66" fmla="*/ 40 w 384"/>
                  <a:gd name="T67" fmla="*/ 89 h 426"/>
                  <a:gd name="T68" fmla="*/ 83 w 384"/>
                  <a:gd name="T69" fmla="*/ 36 h 426"/>
                  <a:gd name="T70" fmla="*/ 152 w 384"/>
                  <a:gd name="T71" fmla="*/ 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426">
                    <a:moveTo>
                      <a:pt x="191" y="0"/>
                    </a:moveTo>
                    <a:lnTo>
                      <a:pt x="233" y="4"/>
                    </a:lnTo>
                    <a:lnTo>
                      <a:pt x="270" y="18"/>
                    </a:lnTo>
                    <a:lnTo>
                      <a:pt x="302" y="36"/>
                    </a:lnTo>
                    <a:lnTo>
                      <a:pt x="325" y="60"/>
                    </a:lnTo>
                    <a:lnTo>
                      <a:pt x="343" y="89"/>
                    </a:lnTo>
                    <a:lnTo>
                      <a:pt x="355" y="121"/>
                    </a:lnTo>
                    <a:lnTo>
                      <a:pt x="361" y="152"/>
                    </a:lnTo>
                    <a:lnTo>
                      <a:pt x="363" y="184"/>
                    </a:lnTo>
                    <a:lnTo>
                      <a:pt x="361" y="213"/>
                    </a:lnTo>
                    <a:lnTo>
                      <a:pt x="374" y="223"/>
                    </a:lnTo>
                    <a:lnTo>
                      <a:pt x="380" y="239"/>
                    </a:lnTo>
                    <a:lnTo>
                      <a:pt x="384" y="259"/>
                    </a:lnTo>
                    <a:lnTo>
                      <a:pt x="382" y="278"/>
                    </a:lnTo>
                    <a:lnTo>
                      <a:pt x="376" y="302"/>
                    </a:lnTo>
                    <a:lnTo>
                      <a:pt x="365" y="314"/>
                    </a:lnTo>
                    <a:lnTo>
                      <a:pt x="349" y="320"/>
                    </a:lnTo>
                    <a:lnTo>
                      <a:pt x="288" y="391"/>
                    </a:lnTo>
                    <a:lnTo>
                      <a:pt x="288" y="394"/>
                    </a:lnTo>
                    <a:lnTo>
                      <a:pt x="286" y="398"/>
                    </a:lnTo>
                    <a:lnTo>
                      <a:pt x="258" y="424"/>
                    </a:lnTo>
                    <a:lnTo>
                      <a:pt x="254" y="426"/>
                    </a:lnTo>
                    <a:lnTo>
                      <a:pt x="250" y="426"/>
                    </a:lnTo>
                    <a:lnTo>
                      <a:pt x="246" y="424"/>
                    </a:lnTo>
                    <a:lnTo>
                      <a:pt x="241" y="418"/>
                    </a:lnTo>
                    <a:lnTo>
                      <a:pt x="239" y="414"/>
                    </a:lnTo>
                    <a:lnTo>
                      <a:pt x="239" y="410"/>
                    </a:lnTo>
                    <a:lnTo>
                      <a:pt x="243" y="406"/>
                    </a:lnTo>
                    <a:lnTo>
                      <a:pt x="268" y="381"/>
                    </a:lnTo>
                    <a:lnTo>
                      <a:pt x="272" y="379"/>
                    </a:lnTo>
                    <a:lnTo>
                      <a:pt x="276" y="379"/>
                    </a:lnTo>
                    <a:lnTo>
                      <a:pt x="280" y="381"/>
                    </a:lnTo>
                    <a:lnTo>
                      <a:pt x="333" y="320"/>
                    </a:lnTo>
                    <a:lnTo>
                      <a:pt x="331" y="320"/>
                    </a:lnTo>
                    <a:lnTo>
                      <a:pt x="349" y="209"/>
                    </a:lnTo>
                    <a:lnTo>
                      <a:pt x="349" y="209"/>
                    </a:lnTo>
                    <a:lnTo>
                      <a:pt x="351" y="182"/>
                    </a:lnTo>
                    <a:lnTo>
                      <a:pt x="349" y="152"/>
                    </a:lnTo>
                    <a:lnTo>
                      <a:pt x="343" y="123"/>
                    </a:lnTo>
                    <a:lnTo>
                      <a:pt x="333" y="93"/>
                    </a:lnTo>
                    <a:lnTo>
                      <a:pt x="315" y="67"/>
                    </a:lnTo>
                    <a:lnTo>
                      <a:pt x="294" y="46"/>
                    </a:lnTo>
                    <a:lnTo>
                      <a:pt x="266" y="28"/>
                    </a:lnTo>
                    <a:lnTo>
                      <a:pt x="231" y="16"/>
                    </a:lnTo>
                    <a:lnTo>
                      <a:pt x="191" y="12"/>
                    </a:lnTo>
                    <a:lnTo>
                      <a:pt x="154" y="16"/>
                    </a:lnTo>
                    <a:lnTo>
                      <a:pt x="120" y="28"/>
                    </a:lnTo>
                    <a:lnTo>
                      <a:pt x="89" y="46"/>
                    </a:lnTo>
                    <a:lnTo>
                      <a:pt x="67" y="67"/>
                    </a:lnTo>
                    <a:lnTo>
                      <a:pt x="52" y="93"/>
                    </a:lnTo>
                    <a:lnTo>
                      <a:pt x="42" y="123"/>
                    </a:lnTo>
                    <a:lnTo>
                      <a:pt x="36" y="152"/>
                    </a:lnTo>
                    <a:lnTo>
                      <a:pt x="34" y="182"/>
                    </a:lnTo>
                    <a:lnTo>
                      <a:pt x="34" y="209"/>
                    </a:lnTo>
                    <a:lnTo>
                      <a:pt x="34" y="209"/>
                    </a:lnTo>
                    <a:lnTo>
                      <a:pt x="52" y="320"/>
                    </a:lnTo>
                    <a:lnTo>
                      <a:pt x="32" y="320"/>
                    </a:lnTo>
                    <a:lnTo>
                      <a:pt x="16" y="314"/>
                    </a:lnTo>
                    <a:lnTo>
                      <a:pt x="6" y="300"/>
                    </a:lnTo>
                    <a:lnTo>
                      <a:pt x="0" y="278"/>
                    </a:lnTo>
                    <a:lnTo>
                      <a:pt x="0" y="259"/>
                    </a:lnTo>
                    <a:lnTo>
                      <a:pt x="2" y="239"/>
                    </a:lnTo>
                    <a:lnTo>
                      <a:pt x="10" y="223"/>
                    </a:lnTo>
                    <a:lnTo>
                      <a:pt x="22" y="213"/>
                    </a:lnTo>
                    <a:lnTo>
                      <a:pt x="20" y="184"/>
                    </a:lnTo>
                    <a:lnTo>
                      <a:pt x="22" y="152"/>
                    </a:lnTo>
                    <a:lnTo>
                      <a:pt x="28" y="121"/>
                    </a:lnTo>
                    <a:lnTo>
                      <a:pt x="40" y="89"/>
                    </a:lnTo>
                    <a:lnTo>
                      <a:pt x="58" y="60"/>
                    </a:lnTo>
                    <a:lnTo>
                      <a:pt x="83" y="36"/>
                    </a:lnTo>
                    <a:lnTo>
                      <a:pt x="115" y="18"/>
                    </a:lnTo>
                    <a:lnTo>
                      <a:pt x="152" y="4"/>
                    </a:lnTo>
                    <a:lnTo>
                      <a:pt x="191" y="0"/>
                    </a:lnTo>
                    <a:close/>
                  </a:path>
                </a:pathLst>
              </a:custGeom>
              <a:solidFill>
                <a:srgbClr val="0078D3"/>
              </a:solidFill>
              <a:ln w="0">
                <a:solidFill>
                  <a:srgbClr val="0078D3"/>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grpSp>
      <p:grpSp>
        <p:nvGrpSpPr>
          <p:cNvPr id="113" name="Group 112">
            <a:extLst>
              <a:ext uri="{FF2B5EF4-FFF2-40B4-BE49-F238E27FC236}">
                <a16:creationId xmlns:a16="http://schemas.microsoft.com/office/drawing/2014/main" id="{B4FE5B4F-9B50-4C66-9FED-8F542915878B}"/>
              </a:ext>
            </a:extLst>
          </p:cNvPr>
          <p:cNvGrpSpPr/>
          <p:nvPr/>
        </p:nvGrpSpPr>
        <p:grpSpPr>
          <a:xfrm>
            <a:off x="1081778" y="3573448"/>
            <a:ext cx="534520" cy="488595"/>
            <a:chOff x="7771092" y="4169735"/>
            <a:chExt cx="875142" cy="786170"/>
          </a:xfrm>
        </p:grpSpPr>
        <p:sp>
          <p:nvSpPr>
            <p:cNvPr id="114" name="Rectangle 113">
              <a:extLst>
                <a:ext uri="{FF2B5EF4-FFF2-40B4-BE49-F238E27FC236}">
                  <a16:creationId xmlns:a16="http://schemas.microsoft.com/office/drawing/2014/main" id="{34E159B6-6AEB-4EC5-8618-9B6F9928D5C3}"/>
                </a:ext>
              </a:extLst>
            </p:cNvPr>
            <p:cNvSpPr/>
            <p:nvPr/>
          </p:nvSpPr>
          <p:spPr bwMode="auto">
            <a:xfrm>
              <a:off x="7771092" y="4169735"/>
              <a:ext cx="875142" cy="786170"/>
            </a:xfrm>
            <a:prstGeom prst="rect">
              <a:avLst/>
            </a:prstGeom>
            <a:solidFill>
              <a:srgbClr val="50E6FF">
                <a:lumMod val="60000"/>
                <a:lumOff val="40000"/>
              </a:srgbClr>
            </a:solidFill>
            <a:ln w="19050"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5" name="Group 20">
              <a:extLst>
                <a:ext uri="{FF2B5EF4-FFF2-40B4-BE49-F238E27FC236}">
                  <a16:creationId xmlns:a16="http://schemas.microsoft.com/office/drawing/2014/main" id="{FCCFDD4B-596F-41BB-A755-921F96E8A43F}"/>
                </a:ext>
              </a:extLst>
            </p:cNvPr>
            <p:cNvGrpSpPr>
              <a:grpSpLocks noChangeAspect="1"/>
            </p:cNvGrpSpPr>
            <p:nvPr/>
          </p:nvGrpSpPr>
          <p:grpSpPr bwMode="auto">
            <a:xfrm>
              <a:off x="7885262" y="4290522"/>
              <a:ext cx="636599" cy="557250"/>
              <a:chOff x="3764" y="3313"/>
              <a:chExt cx="353" cy="309"/>
            </a:xfrm>
          </p:grpSpPr>
          <p:sp>
            <p:nvSpPr>
              <p:cNvPr id="116" name="Freeform 21">
                <a:extLst>
                  <a:ext uri="{FF2B5EF4-FFF2-40B4-BE49-F238E27FC236}">
                    <a16:creationId xmlns:a16="http://schemas.microsoft.com/office/drawing/2014/main" id="{4C51264A-7AF0-4DEA-914D-E5E5AEC3B6C9}"/>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7" name="Freeform 22">
                <a:extLst>
                  <a:ext uri="{FF2B5EF4-FFF2-40B4-BE49-F238E27FC236}">
                    <a16:creationId xmlns:a16="http://schemas.microsoft.com/office/drawing/2014/main" id="{6A1CEB81-1F8F-4D64-8674-9D230492F170}"/>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8" name="Freeform 23">
                <a:extLst>
                  <a:ext uri="{FF2B5EF4-FFF2-40B4-BE49-F238E27FC236}">
                    <a16:creationId xmlns:a16="http://schemas.microsoft.com/office/drawing/2014/main" id="{D3DCA0A3-9E82-464A-8D73-C747372A4328}"/>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9" name="Freeform 24">
                <a:extLst>
                  <a:ext uri="{FF2B5EF4-FFF2-40B4-BE49-F238E27FC236}">
                    <a16:creationId xmlns:a16="http://schemas.microsoft.com/office/drawing/2014/main" id="{94B9091F-AA61-4301-AAF0-0F89D0E5EEAE}"/>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0" name="Freeform 25">
                <a:extLst>
                  <a:ext uri="{FF2B5EF4-FFF2-40B4-BE49-F238E27FC236}">
                    <a16:creationId xmlns:a16="http://schemas.microsoft.com/office/drawing/2014/main" id="{D83E30D6-1029-47E3-AB41-7E1A81F96E1D}"/>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1" name="Freeform 26">
                <a:extLst>
                  <a:ext uri="{FF2B5EF4-FFF2-40B4-BE49-F238E27FC236}">
                    <a16:creationId xmlns:a16="http://schemas.microsoft.com/office/drawing/2014/main" id="{14F8D0EA-F85B-4EB6-B1A0-F995BB1EF3DE}"/>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2" name="Freeform 27">
                <a:extLst>
                  <a:ext uri="{FF2B5EF4-FFF2-40B4-BE49-F238E27FC236}">
                    <a16:creationId xmlns:a16="http://schemas.microsoft.com/office/drawing/2014/main" id="{B08E8F04-122C-437A-B07C-EB6281B1ED9D}"/>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3" name="Freeform 28">
                <a:extLst>
                  <a:ext uri="{FF2B5EF4-FFF2-40B4-BE49-F238E27FC236}">
                    <a16:creationId xmlns:a16="http://schemas.microsoft.com/office/drawing/2014/main" id="{DBAD6455-26F9-43BF-85AF-C40CAA4D3E14}"/>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4" name="Freeform 29">
                <a:extLst>
                  <a:ext uri="{FF2B5EF4-FFF2-40B4-BE49-F238E27FC236}">
                    <a16:creationId xmlns:a16="http://schemas.microsoft.com/office/drawing/2014/main" id="{4B388BDC-3C9D-4848-B5F1-CDB073688E40}"/>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5" name="Freeform 30">
                <a:extLst>
                  <a:ext uri="{FF2B5EF4-FFF2-40B4-BE49-F238E27FC236}">
                    <a16:creationId xmlns:a16="http://schemas.microsoft.com/office/drawing/2014/main" id="{0B922873-1E60-433A-ABF6-85A644A9CFB2}"/>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6" name="Freeform 31">
                <a:extLst>
                  <a:ext uri="{FF2B5EF4-FFF2-40B4-BE49-F238E27FC236}">
                    <a16:creationId xmlns:a16="http://schemas.microsoft.com/office/drawing/2014/main" id="{519B9AF1-D6D1-4752-94A4-98DDF126AF89}"/>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7" name="Freeform 32">
                <a:extLst>
                  <a:ext uri="{FF2B5EF4-FFF2-40B4-BE49-F238E27FC236}">
                    <a16:creationId xmlns:a16="http://schemas.microsoft.com/office/drawing/2014/main" id="{8C64245E-46A9-4491-AD8D-B975422F87A8}"/>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8" name="Freeform 33">
                <a:extLst>
                  <a:ext uri="{FF2B5EF4-FFF2-40B4-BE49-F238E27FC236}">
                    <a16:creationId xmlns:a16="http://schemas.microsoft.com/office/drawing/2014/main" id="{DE286342-E161-4EF1-80B2-658D9464CF53}"/>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9" name="Freeform 34">
                <a:extLst>
                  <a:ext uri="{FF2B5EF4-FFF2-40B4-BE49-F238E27FC236}">
                    <a16:creationId xmlns:a16="http://schemas.microsoft.com/office/drawing/2014/main" id="{49FFAF6D-179F-4004-AE7C-7020B1746398}"/>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30" name="Freeform 35">
                <a:extLst>
                  <a:ext uri="{FF2B5EF4-FFF2-40B4-BE49-F238E27FC236}">
                    <a16:creationId xmlns:a16="http://schemas.microsoft.com/office/drawing/2014/main" id="{F1D4EF08-A23A-4E59-991E-9D9BA58D7DA6}"/>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31" name="Freeform 36">
                <a:extLst>
                  <a:ext uri="{FF2B5EF4-FFF2-40B4-BE49-F238E27FC236}">
                    <a16:creationId xmlns:a16="http://schemas.microsoft.com/office/drawing/2014/main" id="{525100E0-C263-4147-898D-2D97A8A1094E}"/>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32" name="Freeform 37">
                <a:extLst>
                  <a:ext uri="{FF2B5EF4-FFF2-40B4-BE49-F238E27FC236}">
                    <a16:creationId xmlns:a16="http://schemas.microsoft.com/office/drawing/2014/main" id="{3A446BDB-129A-4D84-A1C6-F60BD33DAD09}"/>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33" name="Freeform 38">
                <a:extLst>
                  <a:ext uri="{FF2B5EF4-FFF2-40B4-BE49-F238E27FC236}">
                    <a16:creationId xmlns:a16="http://schemas.microsoft.com/office/drawing/2014/main" id="{903E0341-7AA9-464A-9968-255CD1A906B5}"/>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grpSp>
        <p:nvGrpSpPr>
          <p:cNvPr id="134" name="Group 133" descr="eye, visual">
            <a:extLst>
              <a:ext uri="{FF2B5EF4-FFF2-40B4-BE49-F238E27FC236}">
                <a16:creationId xmlns:a16="http://schemas.microsoft.com/office/drawing/2014/main" id="{19BA3833-860D-43E7-AD5A-CFB91817952A}"/>
              </a:ext>
            </a:extLst>
          </p:cNvPr>
          <p:cNvGrpSpPr/>
          <p:nvPr/>
        </p:nvGrpSpPr>
        <p:grpSpPr>
          <a:xfrm>
            <a:off x="1007119" y="2588161"/>
            <a:ext cx="689733" cy="376046"/>
            <a:chOff x="9125687" y="3118633"/>
            <a:chExt cx="502135" cy="275278"/>
          </a:xfrm>
        </p:grpSpPr>
        <p:sp>
          <p:nvSpPr>
            <p:cNvPr id="135" name="Freeform 5">
              <a:extLst>
                <a:ext uri="{FF2B5EF4-FFF2-40B4-BE49-F238E27FC236}">
                  <a16:creationId xmlns:a16="http://schemas.microsoft.com/office/drawing/2014/main" id="{27AE3C8F-FCA9-4F7E-90E4-D3C8AB81CB70}"/>
                </a:ext>
              </a:extLst>
            </p:cNvPr>
            <p:cNvSpPr>
              <a:spLocks/>
            </p:cNvSpPr>
            <p:nvPr/>
          </p:nvSpPr>
          <p:spPr bwMode="auto">
            <a:xfrm>
              <a:off x="9125687" y="3118633"/>
              <a:ext cx="502135" cy="275278"/>
            </a:xfrm>
            <a:custGeom>
              <a:avLst/>
              <a:gdLst>
                <a:gd name="T0" fmla="*/ 249 w 250"/>
                <a:gd name="T1" fmla="*/ 66 h 136"/>
                <a:gd name="T2" fmla="*/ 199 w 250"/>
                <a:gd name="T3" fmla="*/ 22 h 136"/>
                <a:gd name="T4" fmla="*/ 124 w 250"/>
                <a:gd name="T5" fmla="*/ 0 h 136"/>
                <a:gd name="T6" fmla="*/ 50 w 250"/>
                <a:gd name="T7" fmla="*/ 22 h 136"/>
                <a:gd name="T8" fmla="*/ 0 w 250"/>
                <a:gd name="T9" fmla="*/ 66 h 136"/>
                <a:gd name="T10" fmla="*/ 1 w 250"/>
                <a:gd name="T11" fmla="*/ 70 h 136"/>
                <a:gd name="T12" fmla="*/ 50 w 250"/>
                <a:gd name="T13" fmla="*/ 113 h 136"/>
                <a:gd name="T14" fmla="*/ 125 w 250"/>
                <a:gd name="T15" fmla="*/ 136 h 136"/>
                <a:gd name="T16" fmla="*/ 203 w 250"/>
                <a:gd name="T17" fmla="*/ 112 h 136"/>
                <a:gd name="T18" fmla="*/ 249 w 250"/>
                <a:gd name="T19" fmla="*/ 70 h 136"/>
                <a:gd name="T20" fmla="*/ 249 w 250"/>
                <a:gd name="T21" fmla="*/ 6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136">
                  <a:moveTo>
                    <a:pt x="249" y="66"/>
                  </a:moveTo>
                  <a:cubicBezTo>
                    <a:pt x="236" y="50"/>
                    <a:pt x="221" y="36"/>
                    <a:pt x="199" y="22"/>
                  </a:cubicBezTo>
                  <a:cubicBezTo>
                    <a:pt x="174" y="7"/>
                    <a:pt x="150" y="0"/>
                    <a:pt x="124" y="0"/>
                  </a:cubicBezTo>
                  <a:cubicBezTo>
                    <a:pt x="95" y="0"/>
                    <a:pt x="76" y="8"/>
                    <a:pt x="50" y="22"/>
                  </a:cubicBezTo>
                  <a:cubicBezTo>
                    <a:pt x="30" y="34"/>
                    <a:pt x="12" y="50"/>
                    <a:pt x="0" y="66"/>
                  </a:cubicBezTo>
                  <a:cubicBezTo>
                    <a:pt x="0" y="67"/>
                    <a:pt x="0" y="69"/>
                    <a:pt x="1" y="70"/>
                  </a:cubicBezTo>
                  <a:cubicBezTo>
                    <a:pt x="14" y="89"/>
                    <a:pt x="26" y="98"/>
                    <a:pt x="50" y="113"/>
                  </a:cubicBezTo>
                  <a:cubicBezTo>
                    <a:pt x="76" y="128"/>
                    <a:pt x="101" y="136"/>
                    <a:pt x="125" y="136"/>
                  </a:cubicBezTo>
                  <a:cubicBezTo>
                    <a:pt x="152" y="136"/>
                    <a:pt x="178" y="128"/>
                    <a:pt x="203" y="112"/>
                  </a:cubicBezTo>
                  <a:cubicBezTo>
                    <a:pt x="222" y="100"/>
                    <a:pt x="238" y="86"/>
                    <a:pt x="249" y="70"/>
                  </a:cubicBezTo>
                  <a:cubicBezTo>
                    <a:pt x="250" y="70"/>
                    <a:pt x="250" y="67"/>
                    <a:pt x="249" y="6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sp>
          <p:nvSpPr>
            <p:cNvPr id="136" name="Oval 6">
              <a:extLst>
                <a:ext uri="{FF2B5EF4-FFF2-40B4-BE49-F238E27FC236}">
                  <a16:creationId xmlns:a16="http://schemas.microsoft.com/office/drawing/2014/main" id="{845C695B-8B8E-422C-834F-353733420C67}"/>
                </a:ext>
              </a:extLst>
            </p:cNvPr>
            <p:cNvSpPr>
              <a:spLocks noChangeArrowheads="1"/>
            </p:cNvSpPr>
            <p:nvPr/>
          </p:nvSpPr>
          <p:spPr bwMode="auto">
            <a:xfrm>
              <a:off x="9259250" y="3133334"/>
              <a:ext cx="235009" cy="237380"/>
            </a:xfrm>
            <a:prstGeom prst="ellipse">
              <a:avLst/>
            </a:prstGeom>
            <a:solidFill>
              <a:srgbClr val="50E6FF">
                <a:lumMod val="60000"/>
                <a:lumOff val="40000"/>
              </a:srgbClr>
            </a:solidFill>
            <a:ln>
              <a:noFill/>
            </a:ln>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sp>
          <p:nvSpPr>
            <p:cNvPr id="137" name="Oval 6">
              <a:extLst>
                <a:ext uri="{FF2B5EF4-FFF2-40B4-BE49-F238E27FC236}">
                  <a16:creationId xmlns:a16="http://schemas.microsoft.com/office/drawing/2014/main" id="{74A84A39-0C6E-4DBF-ABCC-6ED8EBF3163A}"/>
                </a:ext>
              </a:extLst>
            </p:cNvPr>
            <p:cNvSpPr>
              <a:spLocks noChangeArrowheads="1"/>
            </p:cNvSpPr>
            <p:nvPr/>
          </p:nvSpPr>
          <p:spPr bwMode="auto">
            <a:xfrm>
              <a:off x="9334698" y="3209543"/>
              <a:ext cx="84114" cy="8496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grpSp>
      <p:grpSp>
        <p:nvGrpSpPr>
          <p:cNvPr id="138" name="Group 137">
            <a:extLst>
              <a:ext uri="{FF2B5EF4-FFF2-40B4-BE49-F238E27FC236}">
                <a16:creationId xmlns:a16="http://schemas.microsoft.com/office/drawing/2014/main" id="{1E452A1A-0924-4D4A-B119-35BDD45BA966}"/>
              </a:ext>
            </a:extLst>
          </p:cNvPr>
          <p:cNvGrpSpPr/>
          <p:nvPr/>
        </p:nvGrpSpPr>
        <p:grpSpPr>
          <a:xfrm rot="2700000">
            <a:off x="1099952" y="1506421"/>
            <a:ext cx="524623" cy="566053"/>
            <a:chOff x="1349297" y="3122177"/>
            <a:chExt cx="1040782" cy="1040780"/>
          </a:xfrm>
          <a:solidFill>
            <a:srgbClr val="FFFFFF"/>
          </a:solidFill>
        </p:grpSpPr>
        <p:sp>
          <p:nvSpPr>
            <p:cNvPr id="139" name="Freeform 35">
              <a:extLst>
                <a:ext uri="{FF2B5EF4-FFF2-40B4-BE49-F238E27FC236}">
                  <a16:creationId xmlns:a16="http://schemas.microsoft.com/office/drawing/2014/main" id="{B103B09B-2A4D-440E-8851-33E1D9FC7990}"/>
                </a:ext>
              </a:extLst>
            </p:cNvPr>
            <p:cNvSpPr/>
            <p:nvPr/>
          </p:nvSpPr>
          <p:spPr bwMode="auto">
            <a:xfrm rot="5400000">
              <a:off x="2040673" y="3471748"/>
              <a:ext cx="356841" cy="341971"/>
            </a:xfrm>
            <a:custGeom>
              <a:avLst/>
              <a:gdLst>
                <a:gd name="connsiteX0" fmla="*/ 52258 w 356841"/>
                <a:gd name="connsiteY0" fmla="*/ 52258 h 341971"/>
                <a:gd name="connsiteX1" fmla="*/ 178420 w 356841"/>
                <a:gd name="connsiteY1" fmla="*/ 0 h 341971"/>
                <a:gd name="connsiteX2" fmla="*/ 178421 w 356841"/>
                <a:gd name="connsiteY2" fmla="*/ 1 h 341971"/>
                <a:gd name="connsiteX3" fmla="*/ 356841 w 356841"/>
                <a:gd name="connsiteY3" fmla="*/ 178421 h 341971"/>
                <a:gd name="connsiteX4" fmla="*/ 356841 w 356841"/>
                <a:gd name="connsiteY4" fmla="*/ 341971 h 341971"/>
                <a:gd name="connsiteX5" fmla="*/ 0 w 356841"/>
                <a:gd name="connsiteY5" fmla="*/ 341971 h 341971"/>
                <a:gd name="connsiteX6" fmla="*/ 0 w 356841"/>
                <a:gd name="connsiteY6" fmla="*/ 178420 h 341971"/>
                <a:gd name="connsiteX7" fmla="*/ 52258 w 356841"/>
                <a:gd name="connsiteY7" fmla="*/ 52258 h 34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841" h="341971">
                  <a:moveTo>
                    <a:pt x="52258" y="52258"/>
                  </a:moveTo>
                  <a:cubicBezTo>
                    <a:pt x="84546" y="19970"/>
                    <a:pt x="129151" y="-1"/>
                    <a:pt x="178420" y="0"/>
                  </a:cubicBezTo>
                  <a:lnTo>
                    <a:pt x="178421" y="1"/>
                  </a:lnTo>
                  <a:cubicBezTo>
                    <a:pt x="276959" y="1"/>
                    <a:pt x="356840" y="79882"/>
                    <a:pt x="356841" y="178421"/>
                  </a:cubicBezTo>
                  <a:lnTo>
                    <a:pt x="356841" y="341971"/>
                  </a:lnTo>
                  <a:lnTo>
                    <a:pt x="0" y="341971"/>
                  </a:lnTo>
                  <a:lnTo>
                    <a:pt x="0" y="178420"/>
                  </a:lnTo>
                  <a:cubicBezTo>
                    <a:pt x="0" y="129150"/>
                    <a:pt x="19971" y="84545"/>
                    <a:pt x="52258" y="52258"/>
                  </a:cubicBezTo>
                  <a:close/>
                </a:path>
              </a:pathLst>
            </a:custGeom>
            <a:solidFill>
              <a:srgbClr val="50E6FF">
                <a:lumMod val="60000"/>
                <a:lumOff val="40000"/>
              </a:srgbClr>
            </a:solidFill>
            <a:ln w="19050" cap="rnd">
              <a:solidFill>
                <a:srgbClr val="FFFFFF"/>
              </a:solidFill>
              <a:miter lim="800000"/>
              <a:headEnd/>
              <a:tailEnd/>
            </a:ln>
            <a:effectLst/>
          </p:spPr>
          <p:txBody>
            <a:bodyPr wrap="square" lIns="93260" tIns="46630" rIns="93260" bIns="46630" numCol="1" spcCol="0" rtlCol="0" fromWordArt="0" anchor="ctr" anchorCtr="0" forceAA="0" compatLnSpc="1"/>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40" name="Freeform 36">
              <a:extLst>
                <a:ext uri="{FF2B5EF4-FFF2-40B4-BE49-F238E27FC236}">
                  <a16:creationId xmlns:a16="http://schemas.microsoft.com/office/drawing/2014/main" id="{D3C96D78-C628-4DD1-B377-AEA18264CD63}"/>
                </a:ext>
              </a:extLst>
            </p:cNvPr>
            <p:cNvSpPr/>
            <p:nvPr/>
          </p:nvSpPr>
          <p:spPr bwMode="auto">
            <a:xfrm rot="5400000">
              <a:off x="1341863" y="3471747"/>
              <a:ext cx="356840" cy="341971"/>
            </a:xfrm>
            <a:custGeom>
              <a:avLst/>
              <a:gdLst>
                <a:gd name="connsiteX0" fmla="*/ 0 w 356840"/>
                <a:gd name="connsiteY0" fmla="*/ 0 h 341971"/>
                <a:gd name="connsiteX1" fmla="*/ 356840 w 356840"/>
                <a:gd name="connsiteY1" fmla="*/ 1 h 341971"/>
                <a:gd name="connsiteX2" fmla="*/ 356840 w 356840"/>
                <a:gd name="connsiteY2" fmla="*/ 163551 h 341971"/>
                <a:gd name="connsiteX3" fmla="*/ 178420 w 356840"/>
                <a:gd name="connsiteY3" fmla="*/ 341971 h 341971"/>
                <a:gd name="connsiteX4" fmla="*/ 178420 w 356840"/>
                <a:gd name="connsiteY4" fmla="*/ 341970 h 341971"/>
                <a:gd name="connsiteX5" fmla="*/ 0 w 356840"/>
                <a:gd name="connsiteY5" fmla="*/ 163550 h 341971"/>
                <a:gd name="connsiteX6" fmla="*/ 0 w 356840"/>
                <a:gd name="connsiteY6" fmla="*/ 0 h 34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840" h="341971">
                  <a:moveTo>
                    <a:pt x="0" y="0"/>
                  </a:moveTo>
                  <a:lnTo>
                    <a:pt x="356840" y="1"/>
                  </a:lnTo>
                  <a:lnTo>
                    <a:pt x="356840" y="163551"/>
                  </a:lnTo>
                  <a:cubicBezTo>
                    <a:pt x="356840" y="262089"/>
                    <a:pt x="276959" y="341970"/>
                    <a:pt x="178420" y="341971"/>
                  </a:cubicBezTo>
                  <a:lnTo>
                    <a:pt x="178420" y="341970"/>
                  </a:lnTo>
                  <a:cubicBezTo>
                    <a:pt x="79882" y="341970"/>
                    <a:pt x="1" y="262089"/>
                    <a:pt x="0" y="163550"/>
                  </a:cubicBezTo>
                  <a:lnTo>
                    <a:pt x="0" y="0"/>
                  </a:lnTo>
                  <a:close/>
                </a:path>
              </a:pathLst>
            </a:custGeom>
            <a:solidFill>
              <a:srgbClr val="50E6FF">
                <a:lumMod val="60000"/>
                <a:lumOff val="40000"/>
              </a:srgbClr>
            </a:solidFill>
            <a:ln w="19050" cap="rnd">
              <a:solidFill>
                <a:srgbClr val="FFFFFF"/>
              </a:solidFill>
              <a:miter lim="800000"/>
              <a:headEnd/>
              <a:tailEnd/>
            </a:ln>
            <a:effectLst/>
          </p:spPr>
          <p:txBody>
            <a:bodyPr wrap="square" lIns="93260" tIns="46630" rIns="93260" bIns="46630" numCol="1" spcCol="0" rtlCol="0" fromWordArt="0" anchor="ctr" anchorCtr="0" forceAA="0" compatLnSpc="1"/>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41" name="Rounded Rectangle 37">
              <a:extLst>
                <a:ext uri="{FF2B5EF4-FFF2-40B4-BE49-F238E27FC236}">
                  <a16:creationId xmlns:a16="http://schemas.microsoft.com/office/drawing/2014/main" id="{A72B54C0-0E6E-4DA3-BCD8-45CBCD751910}"/>
                </a:ext>
              </a:extLst>
            </p:cNvPr>
            <p:cNvSpPr/>
            <p:nvPr/>
          </p:nvSpPr>
          <p:spPr bwMode="auto">
            <a:xfrm rot="5400000">
              <a:off x="1349130" y="3464147"/>
              <a:ext cx="1040780" cy="356839"/>
            </a:xfrm>
            <a:prstGeom prst="roundRect">
              <a:avLst>
                <a:gd name="adj" fmla="val 50000"/>
              </a:avLst>
            </a:prstGeom>
            <a:solidFill>
              <a:srgbClr val="0078D3"/>
            </a:solid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nvGrpSpPr>
            <p:cNvPr id="142" name="Group 141">
              <a:extLst>
                <a:ext uri="{FF2B5EF4-FFF2-40B4-BE49-F238E27FC236}">
                  <a16:creationId xmlns:a16="http://schemas.microsoft.com/office/drawing/2014/main" id="{4E70D212-69E9-4667-ACEC-5984D6A19DE1}"/>
                </a:ext>
              </a:extLst>
            </p:cNvPr>
            <p:cNvGrpSpPr/>
            <p:nvPr/>
          </p:nvGrpSpPr>
          <p:grpSpPr>
            <a:xfrm>
              <a:off x="1940029" y="3517313"/>
              <a:ext cx="45720" cy="217170"/>
              <a:chOff x="1859166" y="3501176"/>
              <a:chExt cx="45720" cy="217170"/>
            </a:xfrm>
            <a:grpFill/>
          </p:grpSpPr>
          <p:sp>
            <p:nvSpPr>
              <p:cNvPr id="151" name="Oval 150">
                <a:extLst>
                  <a:ext uri="{FF2B5EF4-FFF2-40B4-BE49-F238E27FC236}">
                    <a16:creationId xmlns:a16="http://schemas.microsoft.com/office/drawing/2014/main" id="{45A54F14-C868-450B-9921-098FDB58AE24}"/>
                  </a:ext>
                </a:extLst>
              </p:cNvPr>
              <p:cNvSpPr/>
              <p:nvPr/>
            </p:nvSpPr>
            <p:spPr bwMode="auto">
              <a:xfrm>
                <a:off x="1859166" y="3501176"/>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52" name="Oval 151">
                <a:extLst>
                  <a:ext uri="{FF2B5EF4-FFF2-40B4-BE49-F238E27FC236}">
                    <a16:creationId xmlns:a16="http://schemas.microsoft.com/office/drawing/2014/main" id="{C3C589C1-AD44-4A08-A88C-9D552801E412}"/>
                  </a:ext>
                </a:extLst>
              </p:cNvPr>
              <p:cNvSpPr/>
              <p:nvPr/>
            </p:nvSpPr>
            <p:spPr bwMode="auto">
              <a:xfrm>
                <a:off x="1859166" y="3586901"/>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53" name="Oval 152">
                <a:extLst>
                  <a:ext uri="{FF2B5EF4-FFF2-40B4-BE49-F238E27FC236}">
                    <a16:creationId xmlns:a16="http://schemas.microsoft.com/office/drawing/2014/main" id="{89B85DAC-7179-4887-9388-CE268257C3B0}"/>
                  </a:ext>
                </a:extLst>
              </p:cNvPr>
              <p:cNvSpPr/>
              <p:nvPr/>
            </p:nvSpPr>
            <p:spPr bwMode="auto">
              <a:xfrm>
                <a:off x="1859166" y="3672626"/>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143" name="Group 142">
              <a:extLst>
                <a:ext uri="{FF2B5EF4-FFF2-40B4-BE49-F238E27FC236}">
                  <a16:creationId xmlns:a16="http://schemas.microsoft.com/office/drawing/2014/main" id="{6DC3F1A8-D1E5-4875-8478-FFC708E57757}"/>
                </a:ext>
              </a:extLst>
            </p:cNvPr>
            <p:cNvGrpSpPr/>
            <p:nvPr/>
          </p:nvGrpSpPr>
          <p:grpSpPr>
            <a:xfrm>
              <a:off x="1847981" y="3517313"/>
              <a:ext cx="45720" cy="217170"/>
              <a:chOff x="1859166" y="3501176"/>
              <a:chExt cx="45720" cy="217170"/>
            </a:xfrm>
            <a:grpFill/>
          </p:grpSpPr>
          <p:sp>
            <p:nvSpPr>
              <p:cNvPr id="148" name="Oval 147">
                <a:extLst>
                  <a:ext uri="{FF2B5EF4-FFF2-40B4-BE49-F238E27FC236}">
                    <a16:creationId xmlns:a16="http://schemas.microsoft.com/office/drawing/2014/main" id="{6F7AAEEE-D893-4E9A-91FF-88FA9A94EE9D}"/>
                  </a:ext>
                </a:extLst>
              </p:cNvPr>
              <p:cNvSpPr/>
              <p:nvPr/>
            </p:nvSpPr>
            <p:spPr bwMode="auto">
              <a:xfrm>
                <a:off x="1859166" y="3501176"/>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49" name="Oval 148">
                <a:extLst>
                  <a:ext uri="{FF2B5EF4-FFF2-40B4-BE49-F238E27FC236}">
                    <a16:creationId xmlns:a16="http://schemas.microsoft.com/office/drawing/2014/main" id="{068E8792-0A5A-4FFE-8EF2-FDA129F7EF09}"/>
                  </a:ext>
                </a:extLst>
              </p:cNvPr>
              <p:cNvSpPr/>
              <p:nvPr/>
            </p:nvSpPr>
            <p:spPr bwMode="auto">
              <a:xfrm>
                <a:off x="1859166" y="3586901"/>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50" name="Oval 149">
                <a:extLst>
                  <a:ext uri="{FF2B5EF4-FFF2-40B4-BE49-F238E27FC236}">
                    <a16:creationId xmlns:a16="http://schemas.microsoft.com/office/drawing/2014/main" id="{6B6995F0-719C-4583-B599-DD3AB633E2CC}"/>
                  </a:ext>
                </a:extLst>
              </p:cNvPr>
              <p:cNvSpPr/>
              <p:nvPr/>
            </p:nvSpPr>
            <p:spPr bwMode="auto">
              <a:xfrm>
                <a:off x="1859166" y="3672626"/>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144" name="Group 143">
              <a:extLst>
                <a:ext uri="{FF2B5EF4-FFF2-40B4-BE49-F238E27FC236}">
                  <a16:creationId xmlns:a16="http://schemas.microsoft.com/office/drawing/2014/main" id="{D5F25705-1348-478F-B913-1211AACF3017}"/>
                </a:ext>
              </a:extLst>
            </p:cNvPr>
            <p:cNvGrpSpPr/>
            <p:nvPr/>
          </p:nvGrpSpPr>
          <p:grpSpPr>
            <a:xfrm>
              <a:off x="1755933" y="3517313"/>
              <a:ext cx="45720" cy="217170"/>
              <a:chOff x="1859166" y="3501176"/>
              <a:chExt cx="45720" cy="217170"/>
            </a:xfrm>
            <a:grpFill/>
          </p:grpSpPr>
          <p:sp>
            <p:nvSpPr>
              <p:cNvPr id="145" name="Oval 144">
                <a:extLst>
                  <a:ext uri="{FF2B5EF4-FFF2-40B4-BE49-F238E27FC236}">
                    <a16:creationId xmlns:a16="http://schemas.microsoft.com/office/drawing/2014/main" id="{B572FC5C-C943-4FEF-B403-D965D4DAEDE6}"/>
                  </a:ext>
                </a:extLst>
              </p:cNvPr>
              <p:cNvSpPr/>
              <p:nvPr/>
            </p:nvSpPr>
            <p:spPr bwMode="auto">
              <a:xfrm>
                <a:off x="1859166" y="3501176"/>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46" name="Oval 145">
                <a:extLst>
                  <a:ext uri="{FF2B5EF4-FFF2-40B4-BE49-F238E27FC236}">
                    <a16:creationId xmlns:a16="http://schemas.microsoft.com/office/drawing/2014/main" id="{573C0843-FD8D-451D-8057-0490FBE62BE0}"/>
                  </a:ext>
                </a:extLst>
              </p:cNvPr>
              <p:cNvSpPr/>
              <p:nvPr/>
            </p:nvSpPr>
            <p:spPr bwMode="auto">
              <a:xfrm>
                <a:off x="1859166" y="3586901"/>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47" name="Oval 146">
                <a:extLst>
                  <a:ext uri="{FF2B5EF4-FFF2-40B4-BE49-F238E27FC236}">
                    <a16:creationId xmlns:a16="http://schemas.microsoft.com/office/drawing/2014/main" id="{AF290367-7FE2-4938-924C-3452FDF5B64A}"/>
                  </a:ext>
                </a:extLst>
              </p:cNvPr>
              <p:cNvSpPr/>
              <p:nvPr/>
            </p:nvSpPr>
            <p:spPr bwMode="auto">
              <a:xfrm>
                <a:off x="1859166" y="3672626"/>
                <a:ext cx="45720" cy="45720"/>
              </a:xfrm>
              <a:prstGeom prst="ellipse">
                <a:avLst/>
              </a:prstGeom>
              <a:grpFill/>
              <a:ln w="19050" cap="rnd">
                <a:solidFill>
                  <a:srgbClr val="FFFFFF"/>
                </a:solidFill>
                <a:miter lim="800000"/>
                <a:headEnd/>
                <a:tailEnd/>
              </a:ln>
              <a:effectLst/>
            </p:spPr>
            <p:txBody>
              <a:bodyPr wrap="none"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grpSp>
        <p:nvGrpSpPr>
          <p:cNvPr id="154" name="Group 153" descr="scale, elasticity">
            <a:extLst>
              <a:ext uri="{FF2B5EF4-FFF2-40B4-BE49-F238E27FC236}">
                <a16:creationId xmlns:a16="http://schemas.microsoft.com/office/drawing/2014/main" id="{EDFA523E-4C92-4E57-B963-16508BF65614}"/>
              </a:ext>
            </a:extLst>
          </p:cNvPr>
          <p:cNvGrpSpPr/>
          <p:nvPr/>
        </p:nvGrpSpPr>
        <p:grpSpPr>
          <a:xfrm>
            <a:off x="1072343" y="5567149"/>
            <a:ext cx="525023" cy="454682"/>
            <a:chOff x="690617" y="3992880"/>
            <a:chExt cx="367168" cy="365760"/>
          </a:xfrm>
        </p:grpSpPr>
        <p:sp>
          <p:nvSpPr>
            <p:cNvPr id="155" name="Freeform 330">
              <a:extLst>
                <a:ext uri="{FF2B5EF4-FFF2-40B4-BE49-F238E27FC236}">
                  <a16:creationId xmlns:a16="http://schemas.microsoft.com/office/drawing/2014/main" id="{90E90B21-36EA-4EA2-890F-56EE54F09B41}"/>
                </a:ext>
              </a:extLst>
            </p:cNvPr>
            <p:cNvSpPr>
              <a:spLocks noEditPoints="1"/>
            </p:cNvSpPr>
            <p:nvPr/>
          </p:nvSpPr>
          <p:spPr bwMode="auto">
            <a:xfrm>
              <a:off x="690617" y="3992880"/>
              <a:ext cx="367168" cy="365760"/>
            </a:xfrm>
            <a:custGeom>
              <a:avLst/>
              <a:gdLst>
                <a:gd name="T0" fmla="*/ 233 w 261"/>
                <a:gd name="T1" fmla="*/ 27 h 260"/>
                <a:gd name="T2" fmla="*/ 233 w 261"/>
                <a:gd name="T3" fmla="*/ 233 h 260"/>
                <a:gd name="T4" fmla="*/ 27 w 261"/>
                <a:gd name="T5" fmla="*/ 233 h 260"/>
                <a:gd name="T6" fmla="*/ 27 w 261"/>
                <a:gd name="T7" fmla="*/ 27 h 260"/>
                <a:gd name="T8" fmla="*/ 233 w 261"/>
                <a:gd name="T9" fmla="*/ 27 h 260"/>
                <a:gd name="T10" fmla="*/ 261 w 261"/>
                <a:gd name="T11" fmla="*/ 0 h 260"/>
                <a:gd name="T12" fmla="*/ 0 w 261"/>
                <a:gd name="T13" fmla="*/ 0 h 260"/>
                <a:gd name="T14" fmla="*/ 0 w 261"/>
                <a:gd name="T15" fmla="*/ 260 h 260"/>
                <a:gd name="T16" fmla="*/ 261 w 261"/>
                <a:gd name="T17" fmla="*/ 260 h 260"/>
                <a:gd name="T18" fmla="*/ 261 w 261"/>
                <a:gd name="T19"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 h="260">
                  <a:moveTo>
                    <a:pt x="233" y="27"/>
                  </a:moveTo>
                  <a:lnTo>
                    <a:pt x="233" y="233"/>
                  </a:lnTo>
                  <a:lnTo>
                    <a:pt x="27" y="233"/>
                  </a:lnTo>
                  <a:lnTo>
                    <a:pt x="27" y="27"/>
                  </a:lnTo>
                  <a:lnTo>
                    <a:pt x="233" y="27"/>
                  </a:lnTo>
                  <a:close/>
                  <a:moveTo>
                    <a:pt x="261" y="0"/>
                  </a:moveTo>
                  <a:lnTo>
                    <a:pt x="0" y="0"/>
                  </a:lnTo>
                  <a:lnTo>
                    <a:pt x="0" y="260"/>
                  </a:lnTo>
                  <a:lnTo>
                    <a:pt x="261" y="260"/>
                  </a:lnTo>
                  <a:lnTo>
                    <a:pt x="26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sp>
          <p:nvSpPr>
            <p:cNvPr id="156" name="Rectangle 331">
              <a:extLst>
                <a:ext uri="{FF2B5EF4-FFF2-40B4-BE49-F238E27FC236}">
                  <a16:creationId xmlns:a16="http://schemas.microsoft.com/office/drawing/2014/main" id="{87350390-8CDF-4C22-9E13-4C3248D196E4}"/>
                </a:ext>
              </a:extLst>
            </p:cNvPr>
            <p:cNvSpPr>
              <a:spLocks noChangeArrowheads="1"/>
            </p:cNvSpPr>
            <p:nvPr/>
          </p:nvSpPr>
          <p:spPr bwMode="auto">
            <a:xfrm>
              <a:off x="690617" y="4185607"/>
              <a:ext cx="173033" cy="17303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sp>
          <p:nvSpPr>
            <p:cNvPr id="157" name="Freeform 332">
              <a:extLst>
                <a:ext uri="{FF2B5EF4-FFF2-40B4-BE49-F238E27FC236}">
                  <a16:creationId xmlns:a16="http://schemas.microsoft.com/office/drawing/2014/main" id="{0F8D16D9-6EF2-4DEF-91F8-D94B67F93D99}"/>
                </a:ext>
              </a:extLst>
            </p:cNvPr>
            <p:cNvSpPr>
              <a:spLocks/>
            </p:cNvSpPr>
            <p:nvPr/>
          </p:nvSpPr>
          <p:spPr bwMode="auto">
            <a:xfrm>
              <a:off x="922734" y="3992880"/>
              <a:ext cx="135050" cy="135050"/>
            </a:xfrm>
            <a:custGeom>
              <a:avLst/>
              <a:gdLst>
                <a:gd name="T0" fmla="*/ 0 w 96"/>
                <a:gd name="T1" fmla="*/ 0 h 96"/>
                <a:gd name="T2" fmla="*/ 0 w 96"/>
                <a:gd name="T3" fmla="*/ 27 h 96"/>
                <a:gd name="T4" fmla="*/ 68 w 96"/>
                <a:gd name="T5" fmla="*/ 27 h 96"/>
                <a:gd name="T6" fmla="*/ 68 w 96"/>
                <a:gd name="T7" fmla="*/ 96 h 96"/>
                <a:gd name="T8" fmla="*/ 96 w 96"/>
                <a:gd name="T9" fmla="*/ 96 h 96"/>
                <a:gd name="T10" fmla="*/ 96 w 96"/>
                <a:gd name="T11" fmla="*/ 0 h 96"/>
                <a:gd name="T12" fmla="*/ 0 w 96"/>
                <a:gd name="T13" fmla="*/ 0 h 96"/>
              </a:gdLst>
              <a:ahLst/>
              <a:cxnLst>
                <a:cxn ang="0">
                  <a:pos x="T0" y="T1"/>
                </a:cxn>
                <a:cxn ang="0">
                  <a:pos x="T2" y="T3"/>
                </a:cxn>
                <a:cxn ang="0">
                  <a:pos x="T4" y="T5"/>
                </a:cxn>
                <a:cxn ang="0">
                  <a:pos x="T6" y="T7"/>
                </a:cxn>
                <a:cxn ang="0">
                  <a:pos x="T8" y="T9"/>
                </a:cxn>
                <a:cxn ang="0">
                  <a:pos x="T10" y="T11"/>
                </a:cxn>
                <a:cxn ang="0">
                  <a:pos x="T12" y="T13"/>
                </a:cxn>
              </a:cxnLst>
              <a:rect l="0" t="0" r="r" b="b"/>
              <a:pathLst>
                <a:path w="96" h="96">
                  <a:moveTo>
                    <a:pt x="0" y="0"/>
                  </a:moveTo>
                  <a:lnTo>
                    <a:pt x="0" y="27"/>
                  </a:lnTo>
                  <a:lnTo>
                    <a:pt x="68" y="27"/>
                  </a:lnTo>
                  <a:lnTo>
                    <a:pt x="68" y="96"/>
                  </a:lnTo>
                  <a:lnTo>
                    <a:pt x="96" y="96"/>
                  </a:lnTo>
                  <a:lnTo>
                    <a:pt x="96"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grpSp>
      <p:grpSp>
        <p:nvGrpSpPr>
          <p:cNvPr id="158" name="Graphic 261" descr="protect">
            <a:extLst>
              <a:ext uri="{FF2B5EF4-FFF2-40B4-BE49-F238E27FC236}">
                <a16:creationId xmlns:a16="http://schemas.microsoft.com/office/drawing/2014/main" id="{31AA9634-8C49-4F59-96A4-A59ABA869C2A}"/>
              </a:ext>
            </a:extLst>
          </p:cNvPr>
          <p:cNvGrpSpPr/>
          <p:nvPr/>
        </p:nvGrpSpPr>
        <p:grpSpPr>
          <a:xfrm>
            <a:off x="1058861" y="4569641"/>
            <a:ext cx="520631" cy="475415"/>
            <a:chOff x="10236634" y="4964871"/>
            <a:chExt cx="220903" cy="218255"/>
          </a:xfrm>
        </p:grpSpPr>
        <p:sp>
          <p:nvSpPr>
            <p:cNvPr id="159" name="Freeform: Shape 158">
              <a:extLst>
                <a:ext uri="{FF2B5EF4-FFF2-40B4-BE49-F238E27FC236}">
                  <a16:creationId xmlns:a16="http://schemas.microsoft.com/office/drawing/2014/main" id="{10626181-C7F5-4627-860E-8262460FF00E}"/>
                </a:ext>
              </a:extLst>
            </p:cNvPr>
            <p:cNvSpPr/>
            <p:nvPr/>
          </p:nvSpPr>
          <p:spPr>
            <a:xfrm>
              <a:off x="10236634" y="5111093"/>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60" name="Freeform: Shape 159">
              <a:extLst>
                <a:ext uri="{FF2B5EF4-FFF2-40B4-BE49-F238E27FC236}">
                  <a16:creationId xmlns:a16="http://schemas.microsoft.com/office/drawing/2014/main" id="{4EB7CCA0-BCB9-4F5E-9577-BCC6D55EF2C9}"/>
                </a:ext>
              </a:extLst>
            </p:cNvPr>
            <p:cNvSpPr/>
            <p:nvPr/>
          </p:nvSpPr>
          <p:spPr>
            <a:xfrm>
              <a:off x="10236634" y="508618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50E6FF"/>
            </a:solidFill>
            <a:ln w="476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61" name="Freeform: Shape 160">
              <a:extLst>
                <a:ext uri="{FF2B5EF4-FFF2-40B4-BE49-F238E27FC236}">
                  <a16:creationId xmlns:a16="http://schemas.microsoft.com/office/drawing/2014/main" id="{0FE57558-EF28-4F27-8366-2653D610372A}"/>
                </a:ext>
              </a:extLst>
            </p:cNvPr>
            <p:cNvSpPr/>
            <p:nvPr/>
          </p:nvSpPr>
          <p:spPr>
            <a:xfrm>
              <a:off x="10236634" y="506095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62" name="Freeform: Shape 161">
              <a:extLst>
                <a:ext uri="{FF2B5EF4-FFF2-40B4-BE49-F238E27FC236}">
                  <a16:creationId xmlns:a16="http://schemas.microsoft.com/office/drawing/2014/main" id="{93D9C767-6E4B-417F-9BB0-4314F3F56448}"/>
                </a:ext>
              </a:extLst>
            </p:cNvPr>
            <p:cNvSpPr/>
            <p:nvPr/>
          </p:nvSpPr>
          <p:spPr>
            <a:xfrm>
              <a:off x="10236634" y="5035234"/>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63" name="Freeform: Shape 162">
              <a:extLst>
                <a:ext uri="{FF2B5EF4-FFF2-40B4-BE49-F238E27FC236}">
                  <a16:creationId xmlns:a16="http://schemas.microsoft.com/office/drawing/2014/main" id="{328E5BE4-EAAA-4C8B-A149-7F86B4669C58}"/>
                </a:ext>
              </a:extLst>
            </p:cNvPr>
            <p:cNvSpPr/>
            <p:nvPr/>
          </p:nvSpPr>
          <p:spPr>
            <a:xfrm>
              <a:off x="10236634" y="5011542"/>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0078D4"/>
            </a:solidFill>
            <a:ln w="476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64" name="Freeform: Shape 163">
              <a:extLst>
                <a:ext uri="{FF2B5EF4-FFF2-40B4-BE49-F238E27FC236}">
                  <a16:creationId xmlns:a16="http://schemas.microsoft.com/office/drawing/2014/main" id="{D7661CE0-37BB-49D0-9AE7-6266CCFD4D0E}"/>
                </a:ext>
              </a:extLst>
            </p:cNvPr>
            <p:cNvSpPr/>
            <p:nvPr/>
          </p:nvSpPr>
          <p:spPr>
            <a:xfrm>
              <a:off x="10236634" y="4986555"/>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65" name="Freeform: Shape 164">
              <a:extLst>
                <a:ext uri="{FF2B5EF4-FFF2-40B4-BE49-F238E27FC236}">
                  <a16:creationId xmlns:a16="http://schemas.microsoft.com/office/drawing/2014/main" id="{CE6B30ED-4019-4212-B473-619436483DA9}"/>
                </a:ext>
              </a:extLst>
            </p:cNvPr>
            <p:cNvSpPr/>
            <p:nvPr/>
          </p:nvSpPr>
          <p:spPr>
            <a:xfrm>
              <a:off x="10236634" y="4964871"/>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0"/>
                    <a:pt x="219690" y="37954"/>
                  </a:cubicBezTo>
                  <a:cubicBezTo>
                    <a:pt x="219690" y="17987"/>
                    <a:pt x="170914" y="1801"/>
                    <a:pt x="110746" y="1801"/>
                  </a:cubicBezTo>
                  <a:cubicBezTo>
                    <a:pt x="50577" y="1801"/>
                    <a:pt x="1801" y="17987"/>
                    <a:pt x="1801" y="37954"/>
                  </a:cubicBezTo>
                  <a:cubicBezTo>
                    <a:pt x="1801" y="57920"/>
                    <a:pt x="50577" y="74106"/>
                    <a:pt x="110746" y="74106"/>
                  </a:cubicBezTo>
                  <a:close/>
                </a:path>
              </a:pathLst>
            </a:custGeom>
            <a:solidFill>
              <a:srgbClr val="163E6A"/>
            </a:solidFill>
            <a:ln w="476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grpSp>
        <p:nvGrpSpPr>
          <p:cNvPr id="166" name="Graphic 291" descr="gear, wrench, engineer">
            <a:extLst>
              <a:ext uri="{FF2B5EF4-FFF2-40B4-BE49-F238E27FC236}">
                <a16:creationId xmlns:a16="http://schemas.microsoft.com/office/drawing/2014/main" id="{7A5BA2B0-2A01-4C55-BA3D-E1F93FE1D27B}"/>
              </a:ext>
            </a:extLst>
          </p:cNvPr>
          <p:cNvGrpSpPr/>
          <p:nvPr/>
        </p:nvGrpSpPr>
        <p:grpSpPr>
          <a:xfrm>
            <a:off x="6791061" y="3524978"/>
            <a:ext cx="534520" cy="488595"/>
            <a:chOff x="3513079" y="2994448"/>
            <a:chExt cx="498751" cy="498751"/>
          </a:xfrm>
        </p:grpSpPr>
        <p:sp>
          <p:nvSpPr>
            <p:cNvPr id="167" name="Freeform: Shape 166">
              <a:extLst>
                <a:ext uri="{FF2B5EF4-FFF2-40B4-BE49-F238E27FC236}">
                  <a16:creationId xmlns:a16="http://schemas.microsoft.com/office/drawing/2014/main" id="{2D4C9C72-A2B8-4B92-92B5-0826B1EA5823}"/>
                </a:ext>
              </a:extLst>
            </p:cNvPr>
            <p:cNvSpPr/>
            <p:nvPr/>
          </p:nvSpPr>
          <p:spPr>
            <a:xfrm>
              <a:off x="3510968" y="2992337"/>
              <a:ext cx="498751" cy="498751"/>
            </a:xfrm>
            <a:custGeom>
              <a:avLst/>
              <a:gdLst>
                <a:gd name="connsiteX0" fmla="*/ 499635 w 498751"/>
                <a:gd name="connsiteY0" fmla="*/ 277035 h 498751"/>
                <a:gd name="connsiteX1" fmla="*/ 499635 w 498751"/>
                <a:gd name="connsiteY1" fmla="*/ 224623 h 498751"/>
                <a:gd name="connsiteX2" fmla="*/ 445560 w 498751"/>
                <a:gd name="connsiteY2" fmla="*/ 224623 h 498751"/>
                <a:gd name="connsiteX3" fmla="*/ 407060 w 498751"/>
                <a:gd name="connsiteY3" fmla="*/ 131698 h 498751"/>
                <a:gd name="connsiteX4" fmla="*/ 445298 w 498751"/>
                <a:gd name="connsiteY4" fmla="*/ 93460 h 498751"/>
                <a:gd name="connsiteX5" fmla="*/ 408285 w 498751"/>
                <a:gd name="connsiteY5" fmla="*/ 56448 h 498751"/>
                <a:gd name="connsiteX6" fmla="*/ 370048 w 498751"/>
                <a:gd name="connsiteY6" fmla="*/ 94686 h 498751"/>
                <a:gd name="connsiteX7" fmla="*/ 277123 w 498751"/>
                <a:gd name="connsiteY7" fmla="*/ 56186 h 498751"/>
                <a:gd name="connsiteX8" fmla="*/ 277123 w 498751"/>
                <a:gd name="connsiteY8" fmla="*/ 2111 h 498751"/>
                <a:gd name="connsiteX9" fmla="*/ 224710 w 498751"/>
                <a:gd name="connsiteY9" fmla="*/ 2111 h 498751"/>
                <a:gd name="connsiteX10" fmla="*/ 224710 w 498751"/>
                <a:gd name="connsiteY10" fmla="*/ 56186 h 498751"/>
                <a:gd name="connsiteX11" fmla="*/ 131785 w 498751"/>
                <a:gd name="connsiteY11" fmla="*/ 94686 h 498751"/>
                <a:gd name="connsiteX12" fmla="*/ 93548 w 498751"/>
                <a:gd name="connsiteY12" fmla="*/ 56448 h 498751"/>
                <a:gd name="connsiteX13" fmla="*/ 56536 w 498751"/>
                <a:gd name="connsiteY13" fmla="*/ 93460 h 498751"/>
                <a:gd name="connsiteX14" fmla="*/ 94773 w 498751"/>
                <a:gd name="connsiteY14" fmla="*/ 131698 h 498751"/>
                <a:gd name="connsiteX15" fmla="*/ 56273 w 498751"/>
                <a:gd name="connsiteY15" fmla="*/ 224623 h 498751"/>
                <a:gd name="connsiteX16" fmla="*/ 2111 w 498751"/>
                <a:gd name="connsiteY16" fmla="*/ 224623 h 498751"/>
                <a:gd name="connsiteX17" fmla="*/ 2111 w 498751"/>
                <a:gd name="connsiteY17" fmla="*/ 277035 h 498751"/>
                <a:gd name="connsiteX18" fmla="*/ 56186 w 498751"/>
                <a:gd name="connsiteY18" fmla="*/ 277035 h 498751"/>
                <a:gd name="connsiteX19" fmla="*/ 112010 w 498751"/>
                <a:gd name="connsiteY19" fmla="*/ 389735 h 498751"/>
                <a:gd name="connsiteX20" fmla="*/ 224710 w 498751"/>
                <a:gd name="connsiteY20" fmla="*/ 445560 h 498751"/>
                <a:gd name="connsiteX21" fmla="*/ 224710 w 498751"/>
                <a:gd name="connsiteY21" fmla="*/ 499635 h 498751"/>
                <a:gd name="connsiteX22" fmla="*/ 277123 w 498751"/>
                <a:gd name="connsiteY22" fmla="*/ 499635 h 498751"/>
                <a:gd name="connsiteX23" fmla="*/ 277123 w 498751"/>
                <a:gd name="connsiteY23" fmla="*/ 445560 h 498751"/>
                <a:gd name="connsiteX24" fmla="*/ 370048 w 498751"/>
                <a:gd name="connsiteY24" fmla="*/ 407060 h 498751"/>
                <a:gd name="connsiteX25" fmla="*/ 408285 w 498751"/>
                <a:gd name="connsiteY25" fmla="*/ 445298 h 498751"/>
                <a:gd name="connsiteX26" fmla="*/ 445298 w 498751"/>
                <a:gd name="connsiteY26" fmla="*/ 408285 h 498751"/>
                <a:gd name="connsiteX27" fmla="*/ 407060 w 498751"/>
                <a:gd name="connsiteY27" fmla="*/ 370048 h 498751"/>
                <a:gd name="connsiteX28" fmla="*/ 445560 w 498751"/>
                <a:gd name="connsiteY28" fmla="*/ 277123 h 498751"/>
                <a:gd name="connsiteX29" fmla="*/ 499635 w 498751"/>
                <a:gd name="connsiteY29" fmla="*/ 277123 h 498751"/>
                <a:gd name="connsiteX30" fmla="*/ 499635 w 498751"/>
                <a:gd name="connsiteY30" fmla="*/ 277035 h 498751"/>
                <a:gd name="connsiteX31" fmla="*/ 106848 w 498751"/>
                <a:gd name="connsiteY31" fmla="*/ 250873 h 498751"/>
                <a:gd name="connsiteX32" fmla="*/ 139573 w 498751"/>
                <a:gd name="connsiteY32" fmla="*/ 159523 h 498751"/>
                <a:gd name="connsiteX33" fmla="*/ 222786 w 498751"/>
                <a:gd name="connsiteY33" fmla="*/ 109648 h 498751"/>
                <a:gd name="connsiteX34" fmla="*/ 318773 w 498751"/>
                <a:gd name="connsiteY34" fmla="*/ 123910 h 498751"/>
                <a:gd name="connsiteX35" fmla="*/ 383960 w 498751"/>
                <a:gd name="connsiteY35" fmla="*/ 195835 h 498751"/>
                <a:gd name="connsiteX36" fmla="*/ 388685 w 498751"/>
                <a:gd name="connsiteY36" fmla="*/ 292785 h 498751"/>
                <a:gd name="connsiteX37" fmla="*/ 330848 w 498751"/>
                <a:gd name="connsiteY37" fmla="*/ 370748 h 498751"/>
                <a:gd name="connsiteX38" fmla="*/ 236698 w 498751"/>
                <a:gd name="connsiteY38" fmla="*/ 394285 h 498751"/>
                <a:gd name="connsiteX39" fmla="*/ 148936 w 498751"/>
                <a:gd name="connsiteY39" fmla="*/ 352810 h 498751"/>
                <a:gd name="connsiteX40" fmla="*/ 117610 w 498751"/>
                <a:gd name="connsiteY40" fmla="*/ 306085 h 498751"/>
                <a:gd name="connsiteX41" fmla="*/ 106848 w 498751"/>
                <a:gd name="connsiteY41" fmla="*/ 250873 h 49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98751" h="498751">
                  <a:moveTo>
                    <a:pt x="499635" y="277035"/>
                  </a:moveTo>
                  <a:lnTo>
                    <a:pt x="499635" y="224623"/>
                  </a:lnTo>
                  <a:lnTo>
                    <a:pt x="445560" y="224623"/>
                  </a:lnTo>
                  <a:cubicBezTo>
                    <a:pt x="441098" y="190848"/>
                    <a:pt x="427798" y="158823"/>
                    <a:pt x="407060" y="131698"/>
                  </a:cubicBezTo>
                  <a:lnTo>
                    <a:pt x="445298" y="93460"/>
                  </a:lnTo>
                  <a:lnTo>
                    <a:pt x="408285" y="56448"/>
                  </a:lnTo>
                  <a:lnTo>
                    <a:pt x="370048" y="94686"/>
                  </a:lnTo>
                  <a:cubicBezTo>
                    <a:pt x="342923" y="73948"/>
                    <a:pt x="310898" y="60648"/>
                    <a:pt x="277123" y="56186"/>
                  </a:cubicBezTo>
                  <a:lnTo>
                    <a:pt x="277123" y="2111"/>
                  </a:lnTo>
                  <a:lnTo>
                    <a:pt x="224710" y="2111"/>
                  </a:lnTo>
                  <a:lnTo>
                    <a:pt x="224710" y="56186"/>
                  </a:lnTo>
                  <a:cubicBezTo>
                    <a:pt x="190935" y="60648"/>
                    <a:pt x="158911" y="73948"/>
                    <a:pt x="131785" y="94686"/>
                  </a:cubicBezTo>
                  <a:lnTo>
                    <a:pt x="93548" y="56448"/>
                  </a:lnTo>
                  <a:lnTo>
                    <a:pt x="56536" y="93460"/>
                  </a:lnTo>
                  <a:lnTo>
                    <a:pt x="94773" y="131698"/>
                  </a:lnTo>
                  <a:cubicBezTo>
                    <a:pt x="74036" y="158823"/>
                    <a:pt x="60736" y="190848"/>
                    <a:pt x="56273" y="224623"/>
                  </a:cubicBezTo>
                  <a:lnTo>
                    <a:pt x="2111" y="224623"/>
                  </a:lnTo>
                  <a:lnTo>
                    <a:pt x="2111" y="277035"/>
                  </a:lnTo>
                  <a:lnTo>
                    <a:pt x="56186" y="277035"/>
                  </a:lnTo>
                  <a:cubicBezTo>
                    <a:pt x="61961" y="319648"/>
                    <a:pt x="81561" y="359285"/>
                    <a:pt x="112010" y="389735"/>
                  </a:cubicBezTo>
                  <a:cubicBezTo>
                    <a:pt x="142461" y="420185"/>
                    <a:pt x="182011" y="439785"/>
                    <a:pt x="224710" y="445560"/>
                  </a:cubicBezTo>
                  <a:lnTo>
                    <a:pt x="224710" y="499635"/>
                  </a:lnTo>
                  <a:lnTo>
                    <a:pt x="277123" y="499635"/>
                  </a:lnTo>
                  <a:lnTo>
                    <a:pt x="277123" y="445560"/>
                  </a:lnTo>
                  <a:cubicBezTo>
                    <a:pt x="310898" y="441098"/>
                    <a:pt x="342923" y="427798"/>
                    <a:pt x="370048" y="407060"/>
                  </a:cubicBezTo>
                  <a:lnTo>
                    <a:pt x="408285" y="445298"/>
                  </a:lnTo>
                  <a:lnTo>
                    <a:pt x="445298" y="408285"/>
                  </a:lnTo>
                  <a:lnTo>
                    <a:pt x="407060" y="370048"/>
                  </a:lnTo>
                  <a:cubicBezTo>
                    <a:pt x="427798" y="342923"/>
                    <a:pt x="441098" y="310898"/>
                    <a:pt x="445560" y="277123"/>
                  </a:cubicBezTo>
                  <a:lnTo>
                    <a:pt x="499635" y="277123"/>
                  </a:lnTo>
                  <a:lnTo>
                    <a:pt x="499635" y="277035"/>
                  </a:lnTo>
                  <a:close/>
                  <a:moveTo>
                    <a:pt x="106848" y="250873"/>
                  </a:moveTo>
                  <a:cubicBezTo>
                    <a:pt x="106848" y="217535"/>
                    <a:pt x="118398" y="185248"/>
                    <a:pt x="139573" y="159523"/>
                  </a:cubicBezTo>
                  <a:cubicBezTo>
                    <a:pt x="160748" y="133798"/>
                    <a:pt x="190148" y="116123"/>
                    <a:pt x="222786" y="109648"/>
                  </a:cubicBezTo>
                  <a:cubicBezTo>
                    <a:pt x="255423" y="103173"/>
                    <a:pt x="289373" y="108161"/>
                    <a:pt x="318773" y="123910"/>
                  </a:cubicBezTo>
                  <a:cubicBezTo>
                    <a:pt x="348173" y="139573"/>
                    <a:pt x="371185" y="165035"/>
                    <a:pt x="383960" y="195835"/>
                  </a:cubicBezTo>
                  <a:cubicBezTo>
                    <a:pt x="396735" y="226635"/>
                    <a:pt x="398397" y="260848"/>
                    <a:pt x="388685" y="292785"/>
                  </a:cubicBezTo>
                  <a:cubicBezTo>
                    <a:pt x="378973" y="324635"/>
                    <a:pt x="358585" y="352197"/>
                    <a:pt x="330848" y="370748"/>
                  </a:cubicBezTo>
                  <a:cubicBezTo>
                    <a:pt x="303110" y="389298"/>
                    <a:pt x="269860" y="397610"/>
                    <a:pt x="236698" y="394285"/>
                  </a:cubicBezTo>
                  <a:cubicBezTo>
                    <a:pt x="203535" y="391048"/>
                    <a:pt x="172560" y="376347"/>
                    <a:pt x="148936" y="352810"/>
                  </a:cubicBezTo>
                  <a:cubicBezTo>
                    <a:pt x="135548" y="339510"/>
                    <a:pt x="124873" y="323585"/>
                    <a:pt x="117610" y="306085"/>
                  </a:cubicBezTo>
                  <a:cubicBezTo>
                    <a:pt x="110523" y="288498"/>
                    <a:pt x="106761" y="269773"/>
                    <a:pt x="106848" y="250873"/>
                  </a:cubicBezTo>
                  <a:close/>
                </a:path>
              </a:pathLst>
            </a:custGeom>
            <a:solidFill>
              <a:srgbClr val="163E6A"/>
            </a:solidFill>
            <a:ln w="5159"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68" name="Freeform: Shape 167">
              <a:extLst>
                <a:ext uri="{FF2B5EF4-FFF2-40B4-BE49-F238E27FC236}">
                  <a16:creationId xmlns:a16="http://schemas.microsoft.com/office/drawing/2014/main" id="{734640C2-987C-4027-998E-3BEEBA64EB64}"/>
                </a:ext>
              </a:extLst>
            </p:cNvPr>
            <p:cNvSpPr/>
            <p:nvPr/>
          </p:nvSpPr>
          <p:spPr>
            <a:xfrm>
              <a:off x="3525494" y="3127375"/>
              <a:ext cx="348087" cy="348087"/>
            </a:xfrm>
            <a:custGeom>
              <a:avLst/>
              <a:gdLst>
                <a:gd name="connsiteX0" fmla="*/ 286398 w 348086"/>
                <a:gd name="connsiteY0" fmla="*/ 124333 h 348086"/>
                <a:gd name="connsiteX1" fmla="*/ 226548 w 348086"/>
                <a:gd name="connsiteY1" fmla="*/ 64483 h 348086"/>
                <a:gd name="connsiteX2" fmla="*/ 280448 w 348086"/>
                <a:gd name="connsiteY2" fmla="*/ 10583 h 348086"/>
                <a:gd name="connsiteX3" fmla="*/ 216923 w 348086"/>
                <a:gd name="connsiteY3" fmla="*/ 4108 h 348086"/>
                <a:gd name="connsiteX4" fmla="*/ 160310 w 348086"/>
                <a:gd name="connsiteY4" fmla="*/ 33683 h 348086"/>
                <a:gd name="connsiteX5" fmla="*/ 129335 w 348086"/>
                <a:gd name="connsiteY5" fmla="*/ 89508 h 348086"/>
                <a:gd name="connsiteX6" fmla="*/ 134235 w 348086"/>
                <a:gd name="connsiteY6" fmla="*/ 153121 h 348086"/>
                <a:gd name="connsiteX7" fmla="*/ 15236 w 348086"/>
                <a:gd name="connsiteY7" fmla="*/ 272121 h 348086"/>
                <a:gd name="connsiteX8" fmla="*/ 2111 w 348086"/>
                <a:gd name="connsiteY8" fmla="*/ 303883 h 348086"/>
                <a:gd name="connsiteX9" fmla="*/ 15236 w 348086"/>
                <a:gd name="connsiteY9" fmla="*/ 335645 h 348086"/>
                <a:gd name="connsiteX10" fmla="*/ 46998 w 348086"/>
                <a:gd name="connsiteY10" fmla="*/ 348770 h 348086"/>
                <a:gd name="connsiteX11" fmla="*/ 78760 w 348086"/>
                <a:gd name="connsiteY11" fmla="*/ 335645 h 348086"/>
                <a:gd name="connsiteX12" fmla="*/ 197760 w 348086"/>
                <a:gd name="connsiteY12" fmla="*/ 216645 h 348086"/>
                <a:gd name="connsiteX13" fmla="*/ 261373 w 348086"/>
                <a:gd name="connsiteY13" fmla="*/ 221546 h 348086"/>
                <a:gd name="connsiteX14" fmla="*/ 317198 w 348086"/>
                <a:gd name="connsiteY14" fmla="*/ 190571 h 348086"/>
                <a:gd name="connsiteX15" fmla="*/ 346773 w 348086"/>
                <a:gd name="connsiteY15" fmla="*/ 134045 h 348086"/>
                <a:gd name="connsiteX16" fmla="*/ 340298 w 348086"/>
                <a:gd name="connsiteY16" fmla="*/ 70521 h 348086"/>
                <a:gd name="connsiteX17" fmla="*/ 286398 w 348086"/>
                <a:gd name="connsiteY17" fmla="*/ 124333 h 348086"/>
                <a:gd name="connsiteX18" fmla="*/ 63011 w 348086"/>
                <a:gd name="connsiteY18" fmla="*/ 319633 h 348086"/>
                <a:gd name="connsiteX19" fmla="*/ 51548 w 348086"/>
                <a:gd name="connsiteY19" fmla="*/ 325758 h 348086"/>
                <a:gd name="connsiteX20" fmla="*/ 38598 w 348086"/>
                <a:gd name="connsiteY20" fmla="*/ 324445 h 348086"/>
                <a:gd name="connsiteX21" fmla="*/ 28536 w 348086"/>
                <a:gd name="connsiteY21" fmla="*/ 316220 h 348086"/>
                <a:gd name="connsiteX22" fmla="*/ 24773 w 348086"/>
                <a:gd name="connsiteY22" fmla="*/ 303795 h 348086"/>
                <a:gd name="connsiteX23" fmla="*/ 28536 w 348086"/>
                <a:gd name="connsiteY23" fmla="*/ 291371 h 348086"/>
                <a:gd name="connsiteX24" fmla="*/ 38598 w 348086"/>
                <a:gd name="connsiteY24" fmla="*/ 283146 h 348086"/>
                <a:gd name="connsiteX25" fmla="*/ 51548 w 348086"/>
                <a:gd name="connsiteY25" fmla="*/ 281833 h 348086"/>
                <a:gd name="connsiteX26" fmla="*/ 63011 w 348086"/>
                <a:gd name="connsiteY26" fmla="*/ 287958 h 348086"/>
                <a:gd name="connsiteX27" fmla="*/ 69573 w 348086"/>
                <a:gd name="connsiteY27" fmla="*/ 303795 h 348086"/>
                <a:gd name="connsiteX28" fmla="*/ 63011 w 348086"/>
                <a:gd name="connsiteY28" fmla="*/ 319633 h 34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086" h="348086">
                  <a:moveTo>
                    <a:pt x="286398" y="124333"/>
                  </a:moveTo>
                  <a:lnTo>
                    <a:pt x="226548" y="64483"/>
                  </a:lnTo>
                  <a:lnTo>
                    <a:pt x="280448" y="10583"/>
                  </a:lnTo>
                  <a:cubicBezTo>
                    <a:pt x="260410" y="2271"/>
                    <a:pt x="238273" y="-4"/>
                    <a:pt x="216923" y="4108"/>
                  </a:cubicBezTo>
                  <a:cubicBezTo>
                    <a:pt x="195573" y="8221"/>
                    <a:pt x="175885" y="18458"/>
                    <a:pt x="160310" y="33683"/>
                  </a:cubicBezTo>
                  <a:cubicBezTo>
                    <a:pt x="144735" y="48821"/>
                    <a:pt x="133973" y="68246"/>
                    <a:pt x="129335" y="89508"/>
                  </a:cubicBezTo>
                  <a:cubicBezTo>
                    <a:pt x="124698" y="110771"/>
                    <a:pt x="126448" y="132908"/>
                    <a:pt x="134235" y="153121"/>
                  </a:cubicBezTo>
                  <a:lnTo>
                    <a:pt x="15236" y="272121"/>
                  </a:lnTo>
                  <a:cubicBezTo>
                    <a:pt x="6836" y="280520"/>
                    <a:pt x="2111" y="291983"/>
                    <a:pt x="2111" y="303883"/>
                  </a:cubicBezTo>
                  <a:cubicBezTo>
                    <a:pt x="2111" y="315783"/>
                    <a:pt x="6836" y="327158"/>
                    <a:pt x="15236" y="335645"/>
                  </a:cubicBezTo>
                  <a:cubicBezTo>
                    <a:pt x="23636" y="344046"/>
                    <a:pt x="35098" y="348770"/>
                    <a:pt x="46998" y="348770"/>
                  </a:cubicBezTo>
                  <a:cubicBezTo>
                    <a:pt x="58898" y="348770"/>
                    <a:pt x="70273" y="344046"/>
                    <a:pt x="78760" y="335645"/>
                  </a:cubicBezTo>
                  <a:lnTo>
                    <a:pt x="197760" y="216645"/>
                  </a:lnTo>
                  <a:cubicBezTo>
                    <a:pt x="218060" y="224520"/>
                    <a:pt x="240110" y="226183"/>
                    <a:pt x="261373" y="221546"/>
                  </a:cubicBezTo>
                  <a:cubicBezTo>
                    <a:pt x="282635" y="216908"/>
                    <a:pt x="301973" y="206146"/>
                    <a:pt x="317198" y="190571"/>
                  </a:cubicBezTo>
                  <a:cubicBezTo>
                    <a:pt x="332335" y="174996"/>
                    <a:pt x="342660" y="155308"/>
                    <a:pt x="346773" y="134045"/>
                  </a:cubicBezTo>
                  <a:cubicBezTo>
                    <a:pt x="350885" y="112696"/>
                    <a:pt x="348610" y="90646"/>
                    <a:pt x="340298" y="70521"/>
                  </a:cubicBezTo>
                  <a:lnTo>
                    <a:pt x="286398" y="124333"/>
                  </a:lnTo>
                  <a:close/>
                  <a:moveTo>
                    <a:pt x="63011" y="319633"/>
                  </a:moveTo>
                  <a:cubicBezTo>
                    <a:pt x="59861" y="322783"/>
                    <a:pt x="55835" y="324883"/>
                    <a:pt x="51548" y="325758"/>
                  </a:cubicBezTo>
                  <a:cubicBezTo>
                    <a:pt x="47173" y="326633"/>
                    <a:pt x="42710" y="326196"/>
                    <a:pt x="38598" y="324445"/>
                  </a:cubicBezTo>
                  <a:cubicBezTo>
                    <a:pt x="34486" y="322783"/>
                    <a:pt x="30986" y="319896"/>
                    <a:pt x="28536" y="316220"/>
                  </a:cubicBezTo>
                  <a:cubicBezTo>
                    <a:pt x="26086" y="312545"/>
                    <a:pt x="24773" y="308170"/>
                    <a:pt x="24773" y="303795"/>
                  </a:cubicBezTo>
                  <a:cubicBezTo>
                    <a:pt x="24773" y="299333"/>
                    <a:pt x="26086" y="295045"/>
                    <a:pt x="28536" y="291371"/>
                  </a:cubicBezTo>
                  <a:cubicBezTo>
                    <a:pt x="30986" y="287696"/>
                    <a:pt x="34486" y="284808"/>
                    <a:pt x="38598" y="283146"/>
                  </a:cubicBezTo>
                  <a:cubicBezTo>
                    <a:pt x="42710" y="281483"/>
                    <a:pt x="47173" y="281046"/>
                    <a:pt x="51548" y="281833"/>
                  </a:cubicBezTo>
                  <a:cubicBezTo>
                    <a:pt x="55923" y="282708"/>
                    <a:pt x="59861" y="284808"/>
                    <a:pt x="63011" y="287958"/>
                  </a:cubicBezTo>
                  <a:cubicBezTo>
                    <a:pt x="67211" y="292158"/>
                    <a:pt x="69573" y="297846"/>
                    <a:pt x="69573" y="303795"/>
                  </a:cubicBezTo>
                  <a:cubicBezTo>
                    <a:pt x="69573" y="309746"/>
                    <a:pt x="67211" y="315433"/>
                    <a:pt x="63011" y="319633"/>
                  </a:cubicBezTo>
                  <a:close/>
                </a:path>
              </a:pathLst>
            </a:custGeom>
            <a:solidFill>
              <a:srgbClr val="0078D4"/>
            </a:solidFill>
            <a:ln w="5159"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pic>
        <p:nvPicPr>
          <p:cNvPr id="169" name="Graphic 168" descr="Checkmark">
            <a:extLst>
              <a:ext uri="{FF2B5EF4-FFF2-40B4-BE49-F238E27FC236}">
                <a16:creationId xmlns:a16="http://schemas.microsoft.com/office/drawing/2014/main" id="{8A06B8E6-C8A6-4770-B997-169CF19B28E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296209" y="2427919"/>
            <a:ext cx="696529" cy="696529"/>
          </a:xfrm>
          <a:prstGeom prst="rect">
            <a:avLst/>
          </a:prstGeom>
        </p:spPr>
      </p:pic>
      <p:pic>
        <p:nvPicPr>
          <p:cNvPr id="170" name="Graphic 169" descr="Checkmark">
            <a:extLst>
              <a:ext uri="{FF2B5EF4-FFF2-40B4-BE49-F238E27FC236}">
                <a16:creationId xmlns:a16="http://schemas.microsoft.com/office/drawing/2014/main" id="{171EFB51-3FE9-4728-A54E-32CAACE8FE5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286775" y="3444755"/>
            <a:ext cx="696529" cy="696529"/>
          </a:xfrm>
          <a:prstGeom prst="rect">
            <a:avLst/>
          </a:prstGeom>
        </p:spPr>
      </p:pic>
      <p:pic>
        <p:nvPicPr>
          <p:cNvPr id="171" name="Graphic 170" descr="Checkmark">
            <a:extLst>
              <a:ext uri="{FF2B5EF4-FFF2-40B4-BE49-F238E27FC236}">
                <a16:creationId xmlns:a16="http://schemas.microsoft.com/office/drawing/2014/main" id="{7BAB161A-FBCD-4824-8394-91FF3EEC7CB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296209" y="1446269"/>
            <a:ext cx="696529" cy="696529"/>
          </a:xfrm>
          <a:prstGeom prst="rect">
            <a:avLst/>
          </a:prstGeom>
        </p:spPr>
      </p:pic>
      <p:pic>
        <p:nvPicPr>
          <p:cNvPr id="172" name="Graphic 171" descr="Checkmark">
            <a:extLst>
              <a:ext uri="{FF2B5EF4-FFF2-40B4-BE49-F238E27FC236}">
                <a16:creationId xmlns:a16="http://schemas.microsoft.com/office/drawing/2014/main" id="{6E77864B-72F4-4A96-BD49-1D4EDB945F6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865641" y="1402215"/>
            <a:ext cx="696529" cy="696529"/>
          </a:xfrm>
          <a:prstGeom prst="rect">
            <a:avLst/>
          </a:prstGeom>
        </p:spPr>
      </p:pic>
      <p:pic>
        <p:nvPicPr>
          <p:cNvPr id="173" name="Graphic 172" descr="Checkmark">
            <a:extLst>
              <a:ext uri="{FF2B5EF4-FFF2-40B4-BE49-F238E27FC236}">
                <a16:creationId xmlns:a16="http://schemas.microsoft.com/office/drawing/2014/main" id="{49C789FE-A794-4F26-8357-8420E09DD43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865641" y="2422115"/>
            <a:ext cx="696529" cy="696529"/>
          </a:xfrm>
          <a:prstGeom prst="rect">
            <a:avLst/>
          </a:prstGeom>
        </p:spPr>
      </p:pic>
      <p:pic>
        <p:nvPicPr>
          <p:cNvPr id="174" name="Graphic 173" descr="Checkmark">
            <a:extLst>
              <a:ext uri="{FF2B5EF4-FFF2-40B4-BE49-F238E27FC236}">
                <a16:creationId xmlns:a16="http://schemas.microsoft.com/office/drawing/2014/main" id="{33CFBD55-50F0-4F1C-BA34-5B93DEE725C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880557" y="3444756"/>
            <a:ext cx="696529" cy="696529"/>
          </a:xfrm>
          <a:prstGeom prst="rect">
            <a:avLst/>
          </a:prstGeom>
        </p:spPr>
      </p:pic>
      <p:pic>
        <p:nvPicPr>
          <p:cNvPr id="175" name="Graphic 174" descr="Checkmark">
            <a:extLst>
              <a:ext uri="{FF2B5EF4-FFF2-40B4-BE49-F238E27FC236}">
                <a16:creationId xmlns:a16="http://schemas.microsoft.com/office/drawing/2014/main" id="{70F8E466-4725-4143-8C22-B679DF42B52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286775" y="4524141"/>
            <a:ext cx="696529" cy="696529"/>
          </a:xfrm>
          <a:prstGeom prst="rect">
            <a:avLst/>
          </a:prstGeom>
        </p:spPr>
      </p:pic>
      <p:pic>
        <p:nvPicPr>
          <p:cNvPr id="176" name="Graphic 175" descr="Checkmark">
            <a:extLst>
              <a:ext uri="{FF2B5EF4-FFF2-40B4-BE49-F238E27FC236}">
                <a16:creationId xmlns:a16="http://schemas.microsoft.com/office/drawing/2014/main" id="{17BE04AC-E692-4300-90F2-94EE4B4698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296209" y="5500590"/>
            <a:ext cx="696529" cy="696529"/>
          </a:xfrm>
          <a:prstGeom prst="rect">
            <a:avLst/>
          </a:prstGeom>
        </p:spPr>
      </p:pic>
      <p:sp>
        <p:nvSpPr>
          <p:cNvPr id="177" name="Rectangle: Rounded Corners 176">
            <a:extLst>
              <a:ext uri="{FF2B5EF4-FFF2-40B4-BE49-F238E27FC236}">
                <a16:creationId xmlns:a16="http://schemas.microsoft.com/office/drawing/2014/main" id="{4FC2C164-7ED9-4DE7-8924-5D00951E70B1}"/>
              </a:ext>
            </a:extLst>
          </p:cNvPr>
          <p:cNvSpPr/>
          <p:nvPr/>
        </p:nvSpPr>
        <p:spPr bwMode="auto">
          <a:xfrm>
            <a:off x="7043746" y="219183"/>
            <a:ext cx="2189441" cy="583818"/>
          </a:xfrm>
          <a:prstGeom prst="round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a:ln>
                  <a:noFill/>
                </a:ln>
                <a:solidFill>
                  <a:srgbClr val="50E6FF"/>
                </a:solidFill>
                <a:effectLst/>
                <a:uLnTx/>
                <a:uFillTx/>
                <a:latin typeface="Segoe UI"/>
                <a:ea typeface="Segoe UI" pitchFamily="34" charset="0"/>
                <a:cs typeface="Segoe UI" pitchFamily="34" charset="0"/>
              </a:rPr>
              <a:t>configurable</a:t>
            </a:r>
          </a:p>
        </p:txBody>
      </p:sp>
      <p:sp>
        <p:nvSpPr>
          <p:cNvPr id="178" name="Rectangle: Rounded Corners 177">
            <a:extLst>
              <a:ext uri="{FF2B5EF4-FFF2-40B4-BE49-F238E27FC236}">
                <a16:creationId xmlns:a16="http://schemas.microsoft.com/office/drawing/2014/main" id="{4568ECFD-BA9E-4E99-955C-081E93FE0B92}"/>
              </a:ext>
            </a:extLst>
          </p:cNvPr>
          <p:cNvSpPr/>
          <p:nvPr/>
        </p:nvSpPr>
        <p:spPr bwMode="auto">
          <a:xfrm>
            <a:off x="2590800" y="189093"/>
            <a:ext cx="1734145" cy="583818"/>
          </a:xfrm>
          <a:prstGeom prst="round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a:ln>
                  <a:noFill/>
                </a:ln>
                <a:solidFill>
                  <a:srgbClr val="50E6FF"/>
                </a:solidFill>
                <a:effectLst/>
                <a:uLnTx/>
                <a:uFillTx/>
                <a:latin typeface="Segoe UI"/>
                <a:ea typeface="Segoe UI" pitchFamily="34" charset="0"/>
                <a:cs typeface="Segoe UI" pitchFamily="34" charset="0"/>
              </a:rPr>
              <a:t>VMs</a:t>
            </a:r>
          </a:p>
        </p:txBody>
      </p:sp>
    </p:spTree>
    <p:extLst>
      <p:ext uri="{BB962C8B-B14F-4D97-AF65-F5344CB8AC3E}">
        <p14:creationId xmlns:p14="http://schemas.microsoft.com/office/powerpoint/2010/main" val="136089827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Total Application Cost</a:t>
            </a:r>
          </a:p>
        </p:txBody>
      </p:sp>
      <p:sp>
        <p:nvSpPr>
          <p:cNvPr id="5" name="Rectangle 4">
            <a:extLst>
              <a:ext uri="{FF2B5EF4-FFF2-40B4-BE49-F238E27FC236}">
                <a16:creationId xmlns:a16="http://schemas.microsoft.com/office/drawing/2014/main" id="{CDCFAA8B-100F-49A3-B7AA-C40F3E635051}"/>
              </a:ext>
            </a:extLst>
          </p:cNvPr>
          <p:cNvSpPr/>
          <p:nvPr/>
        </p:nvSpPr>
        <p:spPr bwMode="auto">
          <a:xfrm>
            <a:off x="782096" y="1543318"/>
            <a:ext cx="5168350" cy="399668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nl-BE" sz="2400" b="1" i="0" u="none" strike="noStrike" kern="0" cap="none" spc="0" normalizeH="0" baseline="0" noProof="0">
                <a:ln>
                  <a:noFill/>
                </a:ln>
                <a:solidFill>
                  <a:srgbClr val="505050">
                    <a:lumMod val="50000"/>
                  </a:srgbClr>
                </a:solidFill>
                <a:effectLst/>
                <a:uLnTx/>
                <a:uFillTx/>
                <a:latin typeface="Segoe UI"/>
                <a:ea typeface="+mn-ea"/>
                <a:cs typeface="+mn-cs"/>
              </a:rPr>
              <a:t>When using Azure SQL Database</a:t>
            </a:r>
            <a:endParaRPr kumimoji="0" lang="nl-BE" sz="2400" b="1" i="0" u="none" strike="noStrike" kern="0" cap="none" spc="0" normalizeH="0" baseline="0" noProof="0">
              <a:ln>
                <a:noFill/>
              </a:ln>
              <a:solidFill>
                <a:srgbClr val="505050">
                  <a:lumMod val="50000"/>
                </a:srgbClr>
              </a:solidFill>
              <a:effectLst/>
              <a:uLnTx/>
              <a:uFillTx/>
              <a:latin typeface="Segoe UI"/>
              <a:ea typeface="+mn-ea"/>
              <a:cs typeface="Segoe UI Light"/>
            </a:endParaRPr>
          </a:p>
          <a:p>
            <a:pPr marL="0" marR="0" lvl="0" indent="0" defTabSz="932742" eaLnBrk="1" fontAlgn="auto" latinLnBrk="0" hangingPunct="1">
              <a:lnSpc>
                <a:spcPct val="100000"/>
              </a:lnSpc>
              <a:spcBef>
                <a:spcPts val="0"/>
              </a:spcBef>
              <a:spcAft>
                <a:spcPts val="0"/>
              </a:spcAft>
              <a:buClrTx/>
              <a:buSzTx/>
              <a:buFontTx/>
              <a:buNone/>
              <a:tabLst/>
              <a:defRPr/>
            </a:pPr>
            <a:endParaRPr kumimoji="0" lang="nl-BE" sz="2000" b="0" i="0" u="none" strike="noStrike" kern="0" cap="none" spc="0" normalizeH="0" baseline="0" noProof="0">
              <a:ln>
                <a:noFill/>
              </a:ln>
              <a:solidFill>
                <a:srgbClr val="505050">
                  <a:lumMod val="50000"/>
                </a:srgbClr>
              </a:solidFill>
              <a:effectLst/>
              <a:uLnTx/>
              <a:uFillTx/>
              <a:latin typeface="Segoe UI"/>
              <a:ea typeface="+mn-ea"/>
              <a:cs typeface="+mn-cs"/>
            </a:endParaRPr>
          </a:p>
          <a:p>
            <a:pPr marL="0" marR="0" lvl="0" indent="0" defTabSz="932742" eaLnBrk="1" fontAlgn="auto" latinLnBrk="0" hangingPunct="1">
              <a:lnSpc>
                <a:spcPct val="100000"/>
              </a:lnSpc>
              <a:spcBef>
                <a:spcPts val="0"/>
              </a:spcBef>
              <a:spcAft>
                <a:spcPts val="0"/>
              </a:spcAft>
              <a:buClrTx/>
              <a:buSzTx/>
              <a:buFontTx/>
              <a:buNone/>
              <a:tabLst/>
              <a:defRPr/>
            </a:pPr>
            <a:r>
              <a:rPr kumimoji="0" lang="nl-BE" sz="2000" b="0" i="1" u="none" strike="noStrike" kern="0" cap="none" spc="0" normalizeH="0" baseline="0" noProof="0">
                <a:ln>
                  <a:noFill/>
                </a:ln>
                <a:solidFill>
                  <a:srgbClr val="505050">
                    <a:lumMod val="50000"/>
                  </a:srgbClr>
                </a:solidFill>
                <a:effectLst/>
                <a:uLnTx/>
                <a:uFillTx/>
                <a:latin typeface="Segoe UI"/>
                <a:ea typeface="+mn-ea"/>
                <a:cs typeface="+mn-cs"/>
              </a:rPr>
              <a:t>Total cost of application = Highly minimized administration costs + software development costs + Azure SQL Database service costs</a:t>
            </a:r>
          </a:p>
          <a:p>
            <a:pPr marL="0" marR="0" lvl="0" indent="0" defTabSz="932742" eaLnBrk="1" fontAlgn="auto" latinLnBrk="0" hangingPunct="1">
              <a:lnSpc>
                <a:spcPct val="100000"/>
              </a:lnSpc>
              <a:spcBef>
                <a:spcPts val="0"/>
              </a:spcBef>
              <a:spcAft>
                <a:spcPts val="0"/>
              </a:spcAft>
              <a:buClrTx/>
              <a:buSzTx/>
              <a:buFontTx/>
              <a:buNone/>
              <a:tabLst/>
              <a:defRPr/>
            </a:pPr>
            <a:endParaRPr kumimoji="0" lang="nl-BE" sz="2000" b="0" i="0" u="none" strike="noStrike" kern="0" cap="none" spc="0" normalizeH="0" baseline="0" noProof="0">
              <a:ln>
                <a:noFill/>
              </a:ln>
              <a:solidFill>
                <a:srgbClr val="505050">
                  <a:lumMod val="50000"/>
                </a:srgbClr>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D9BF3DEC-8C5C-4682-A066-53BC69EE22D9}"/>
              </a:ext>
            </a:extLst>
          </p:cNvPr>
          <p:cNvSpPr/>
          <p:nvPr/>
        </p:nvSpPr>
        <p:spPr bwMode="auto">
          <a:xfrm>
            <a:off x="782096" y="1382058"/>
            <a:ext cx="5168350" cy="14615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EEF41EB1-DA5F-4F18-BA7D-D3AD1B02FBD3}"/>
              </a:ext>
            </a:extLst>
          </p:cNvPr>
          <p:cNvSpPr/>
          <p:nvPr/>
        </p:nvSpPr>
        <p:spPr bwMode="auto">
          <a:xfrm>
            <a:off x="6298660" y="1539929"/>
            <a:ext cx="5417652" cy="399668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nl-BE" sz="2400" b="1" i="0" u="none" strike="noStrike" kern="0" cap="none" spc="0" normalizeH="0" baseline="0" noProof="0">
                <a:ln>
                  <a:noFill/>
                </a:ln>
                <a:solidFill>
                  <a:srgbClr val="505050">
                    <a:lumMod val="50000"/>
                  </a:srgbClr>
                </a:solidFill>
                <a:effectLst/>
                <a:uLnTx/>
                <a:uFillTx/>
                <a:latin typeface="Segoe UI"/>
                <a:ea typeface="+mn-ea"/>
                <a:cs typeface="+mn-cs"/>
              </a:rPr>
              <a:t>When using SQL Server in Azure VM</a:t>
            </a:r>
          </a:p>
          <a:p>
            <a:pPr marL="0" marR="0" lvl="0" indent="0" defTabSz="914400" eaLnBrk="1" fontAlgn="auto" latinLnBrk="0" hangingPunct="1">
              <a:lnSpc>
                <a:spcPct val="100000"/>
              </a:lnSpc>
              <a:spcBef>
                <a:spcPts val="0"/>
              </a:spcBef>
              <a:spcAft>
                <a:spcPts val="0"/>
              </a:spcAft>
              <a:buClrTx/>
              <a:buSzTx/>
              <a:buFontTx/>
              <a:buNone/>
              <a:tabLst/>
              <a:defRPr/>
            </a:pPr>
            <a:endParaRPr kumimoji="0" lang="nl-BE" sz="2400" b="0" i="0" u="none" strike="noStrike" kern="0" cap="none" spc="0" normalizeH="0" baseline="0" noProof="0">
              <a:ln>
                <a:noFill/>
              </a:ln>
              <a:solidFill>
                <a:srgbClr val="505050">
                  <a:lumMod val="50000"/>
                </a:srgbClr>
              </a:solidFill>
              <a:effectLst/>
              <a:uLnTx/>
              <a:uFillTx/>
              <a:latin typeface="Segoe UI"/>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a:ln>
                  <a:noFill/>
                </a:ln>
                <a:solidFill>
                  <a:srgbClr val="505050">
                    <a:lumMod val="50000"/>
                  </a:srgbClr>
                </a:solidFill>
                <a:effectLst/>
                <a:uLnTx/>
                <a:uFillTx/>
                <a:latin typeface="Segoe UI"/>
                <a:ea typeface="+mn-ea"/>
                <a:cs typeface="+mn-cs"/>
              </a:rPr>
              <a:t>Total cost of application = Minimized software development/modification costs + administration costs + SQL Server &amp; Windows Server licensing costs + Azure Storage costs</a:t>
            </a:r>
          </a:p>
          <a:p>
            <a:pPr marL="0" marR="0" lvl="0" indent="0" defTabSz="914400" eaLnBrk="1" fontAlgn="auto" latinLnBrk="0" hangingPunct="1">
              <a:lnSpc>
                <a:spcPct val="100000"/>
              </a:lnSpc>
              <a:spcBef>
                <a:spcPts val="0"/>
              </a:spcBef>
              <a:spcAft>
                <a:spcPts val="0"/>
              </a:spcAft>
              <a:buClrTx/>
              <a:buSzTx/>
              <a:buFontTx/>
              <a:buNone/>
              <a:tabLst/>
              <a:defRPr/>
            </a:pPr>
            <a:endParaRPr kumimoji="0" lang="nl-BE" sz="2400" b="0" i="0" u="none" strike="noStrike" kern="0" cap="none" spc="0" normalizeH="0" baseline="0" noProof="0">
              <a:ln>
                <a:noFill/>
              </a:ln>
              <a:solidFill>
                <a:srgbClr val="505050">
                  <a:lumMod val="50000"/>
                </a:srgbClr>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A3240F2B-2235-4114-9BCD-26E57DCCB38E}"/>
              </a:ext>
            </a:extLst>
          </p:cNvPr>
          <p:cNvSpPr/>
          <p:nvPr/>
        </p:nvSpPr>
        <p:spPr bwMode="auto">
          <a:xfrm>
            <a:off x="6298660" y="1382058"/>
            <a:ext cx="5417651" cy="146151"/>
          </a:xfrm>
          <a:prstGeom prst="rect">
            <a:avLst/>
          </a:prstGeom>
          <a:solidFill>
            <a:srgbClr val="02225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2519836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A hybrid Journey to the Cloud</a:t>
            </a:r>
          </a:p>
        </p:txBody>
      </p:sp>
      <p:graphicFrame>
        <p:nvGraphicFramePr>
          <p:cNvPr id="65" name="Content Placeholder 64">
            <a:extLst>
              <a:ext uri="{FF2B5EF4-FFF2-40B4-BE49-F238E27FC236}">
                <a16:creationId xmlns:a16="http://schemas.microsoft.com/office/drawing/2014/main" id="{7103A620-1990-4718-988F-41E4F6B5B358}"/>
              </a:ext>
            </a:extLst>
          </p:cNvPr>
          <p:cNvGraphicFramePr>
            <a:graphicFrameLocks noGrp="1"/>
          </p:cNvGraphicFramePr>
          <p:nvPr>
            <p:ph sz="quarter" idx="13"/>
            <p:extLst>
              <p:ext uri="{D42A27DB-BD31-4B8C-83A1-F6EECF244321}">
                <p14:modId xmlns:p14="http://schemas.microsoft.com/office/powerpoint/2010/main" val="3618261246"/>
              </p:ext>
            </p:extLst>
          </p:nvPr>
        </p:nvGraphicFramePr>
        <p:xfrm>
          <a:off x="655638" y="1408114"/>
          <a:ext cx="5549848"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5" name="Group 34">
            <a:extLst>
              <a:ext uri="{FF2B5EF4-FFF2-40B4-BE49-F238E27FC236}">
                <a16:creationId xmlns:a16="http://schemas.microsoft.com/office/drawing/2014/main" id="{920E40B6-76C5-4579-AFCD-69A68D7A7AF2}"/>
              </a:ext>
            </a:extLst>
          </p:cNvPr>
          <p:cNvGrpSpPr/>
          <p:nvPr/>
        </p:nvGrpSpPr>
        <p:grpSpPr>
          <a:xfrm>
            <a:off x="6329541" y="1301323"/>
            <a:ext cx="5838299" cy="4248458"/>
            <a:chOff x="6374662" y="2039920"/>
            <a:chExt cx="4907292" cy="3570975"/>
          </a:xfrm>
        </p:grpSpPr>
        <p:sp>
          <p:nvSpPr>
            <p:cNvPr id="36" name="Content Placeholder 2">
              <a:extLst>
                <a:ext uri="{FF2B5EF4-FFF2-40B4-BE49-F238E27FC236}">
                  <a16:creationId xmlns:a16="http://schemas.microsoft.com/office/drawing/2014/main" id="{BDAB2EBA-96A6-467F-989B-548CAEEC47EC}"/>
                </a:ext>
              </a:extLst>
            </p:cNvPr>
            <p:cNvSpPr txBox="1">
              <a:spLocks/>
            </p:cNvSpPr>
            <p:nvPr/>
          </p:nvSpPr>
          <p:spPr>
            <a:xfrm>
              <a:off x="7376037" y="3150139"/>
              <a:ext cx="3787779" cy="1279335"/>
            </a:xfrm>
            <a:prstGeom prst="rect">
              <a:avLst/>
            </a:prstGeom>
          </p:spPr>
          <p:txBody>
            <a:bodyPr vert="horz" wrap="square" lIns="149217" tIns="93260" rIns="149217" bIns="93260" rtlCol="0">
              <a:normAutofit/>
            </a:bodyPr>
            <a:lst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1428"/>
                </a:spcBef>
                <a:spcAft>
                  <a:spcPts val="0"/>
                </a:spcAft>
                <a:buClr>
                  <a:srgbClr val="0078D7"/>
                </a:buClr>
                <a:buSzPct val="90000"/>
                <a:buFont typeface="Arial" pitchFamily="34" charset="0"/>
                <a:buNone/>
                <a:tabLst/>
                <a:defRPr/>
              </a:pPr>
              <a:r>
                <a:rPr kumimoji="0" lang="en-US" sz="1836" b="1" i="0" u="none" strike="noStrike" kern="1200" cap="none" spc="0" normalizeH="0" baseline="0" noProof="0">
                  <a:ln>
                    <a:noFill/>
                  </a:ln>
                  <a:solidFill>
                    <a:srgbClr val="0078D7"/>
                  </a:solidFill>
                  <a:effectLst/>
                  <a:uLnTx/>
                  <a:uFillTx/>
                  <a:latin typeface="Segoe UI Semibold"/>
                  <a:ea typeface="Segoe UI Semibold" charset="0"/>
                  <a:cs typeface="Segoe UI Semibold" charset="0"/>
                </a:rPr>
                <a:t>Azure Database Migration Service</a:t>
              </a:r>
              <a:br>
                <a:rPr kumimoji="0" lang="en-US" sz="1836" b="1" i="0" u="none" strike="noStrike" kern="1200" cap="none" spc="0" normalizeH="0" baseline="0" noProof="0">
                  <a:ln>
                    <a:noFill/>
                  </a:ln>
                  <a:solidFill>
                    <a:srgbClr val="0078D7"/>
                  </a:solidFill>
                  <a:effectLst/>
                  <a:uLnTx/>
                  <a:uFillTx/>
                  <a:latin typeface="Segoe UI Semibold"/>
                  <a:ea typeface="Segoe UI Semibold" charset="0"/>
                  <a:cs typeface="Segoe UI Semibold" charset="0"/>
                </a:rPr>
              </a:br>
              <a:endParaRPr kumimoji="0" lang="en-US" sz="1428" b="0" i="0" u="none" strike="noStrike" kern="1200" cap="none" spc="0" normalizeH="0" baseline="0" noProof="0">
                <a:ln>
                  <a:noFill/>
                </a:ln>
                <a:solidFill>
                  <a:srgbClr val="0078D7"/>
                </a:solidFill>
                <a:effectLst/>
                <a:uLnTx/>
                <a:uFillTx/>
                <a:latin typeface="Segoe UI Semilight" charset="0"/>
                <a:ea typeface="Segoe UI Semilight" charset="0"/>
                <a:cs typeface="Segoe UI Semilight" charset="0"/>
              </a:endParaRPr>
            </a:p>
          </p:txBody>
        </p:sp>
        <p:sp>
          <p:nvSpPr>
            <p:cNvPr id="37" name="Rectangle 36">
              <a:extLst>
                <a:ext uri="{FF2B5EF4-FFF2-40B4-BE49-F238E27FC236}">
                  <a16:creationId xmlns:a16="http://schemas.microsoft.com/office/drawing/2014/main" id="{104B1FF6-289D-4946-BCCB-34C29B662DF9}"/>
                </a:ext>
              </a:extLst>
            </p:cNvPr>
            <p:cNvSpPr/>
            <p:nvPr/>
          </p:nvSpPr>
          <p:spPr>
            <a:xfrm>
              <a:off x="8867068" y="2242035"/>
              <a:ext cx="2414886" cy="321343"/>
            </a:xfrm>
            <a:prstGeom prst="rect">
              <a:avLst/>
            </a:prstGeom>
          </p:spPr>
          <p:txBody>
            <a:bodyPr wrap="square">
              <a:spAutoFit/>
            </a:bodyPr>
            <a:lstStyle/>
            <a:p>
              <a:pPr marL="0" marR="0" lvl="0" indent="0" defTabSz="932597" eaLnBrk="1" fontAlgn="auto" latinLnBrk="0" hangingPunct="1">
                <a:lnSpc>
                  <a:spcPct val="100000"/>
                </a:lnSpc>
                <a:spcBef>
                  <a:spcPts val="816"/>
                </a:spcBef>
                <a:spcAft>
                  <a:spcPts val="0"/>
                </a:spcAft>
                <a:buClrTx/>
                <a:buSzTx/>
                <a:buFontTx/>
                <a:buNone/>
                <a:tabLst/>
                <a:defRPr/>
              </a:pPr>
              <a:r>
                <a:rPr kumimoji="0" lang="en-US" sz="1836" b="1" i="0" u="none" strike="noStrike" kern="0" cap="none" spc="0" normalizeH="0" baseline="0" noProof="0">
                  <a:ln>
                    <a:noFill/>
                  </a:ln>
                  <a:solidFill>
                    <a:srgbClr val="0078D7"/>
                  </a:solidFill>
                  <a:effectLst/>
                  <a:uLnTx/>
                  <a:uFillTx/>
                  <a:latin typeface="Segoe UI Semibold" charset="0"/>
                  <a:ea typeface="Segoe UI Semibold" charset="0"/>
                  <a:cs typeface="Segoe UI Semibold" charset="0"/>
                </a:rPr>
                <a:t>Azure SQL Database</a:t>
              </a:r>
            </a:p>
          </p:txBody>
        </p:sp>
        <p:sp>
          <p:nvSpPr>
            <p:cNvPr id="38" name="Rectangle 37">
              <a:extLst>
                <a:ext uri="{FF2B5EF4-FFF2-40B4-BE49-F238E27FC236}">
                  <a16:creationId xmlns:a16="http://schemas.microsoft.com/office/drawing/2014/main" id="{B0CB0A4C-4853-479F-843E-FFC28F08F4D5}"/>
                </a:ext>
              </a:extLst>
            </p:cNvPr>
            <p:cNvSpPr/>
            <p:nvPr/>
          </p:nvSpPr>
          <p:spPr>
            <a:xfrm>
              <a:off x="6458465" y="5087675"/>
              <a:ext cx="2192149" cy="321343"/>
            </a:xfrm>
            <a:prstGeom prst="rect">
              <a:avLst/>
            </a:prstGeom>
          </p:spPr>
          <p:txBody>
            <a:bodyPr wrap="square">
              <a:spAutoFit/>
            </a:bodyPr>
            <a:lstStyle/>
            <a:p>
              <a:pPr marL="0" marR="0" lvl="0" indent="0" defTabSz="932597" eaLnBrk="1" fontAlgn="auto" latinLnBrk="0" hangingPunct="1">
                <a:lnSpc>
                  <a:spcPct val="100000"/>
                </a:lnSpc>
                <a:spcBef>
                  <a:spcPts val="816"/>
                </a:spcBef>
                <a:spcAft>
                  <a:spcPts val="0"/>
                </a:spcAft>
                <a:buClrTx/>
                <a:buSzTx/>
                <a:buFontTx/>
                <a:buNone/>
                <a:tabLst/>
                <a:defRPr/>
              </a:pPr>
              <a:r>
                <a:rPr kumimoji="0" lang="en-US" sz="1836" b="1" i="0" u="none" strike="noStrike" kern="0" cap="none" spc="0" normalizeH="0" baseline="0" noProof="0">
                  <a:ln>
                    <a:noFill/>
                  </a:ln>
                  <a:solidFill>
                    <a:srgbClr val="0078D7"/>
                  </a:solidFill>
                  <a:effectLst/>
                  <a:uLnTx/>
                  <a:uFillTx/>
                  <a:latin typeface="Segoe UI Semibold" charset="0"/>
                  <a:ea typeface="Segoe UI Semibold" charset="0"/>
                  <a:cs typeface="Segoe UI Semibold" charset="0"/>
                </a:rPr>
                <a:t>SQL Server</a:t>
              </a:r>
            </a:p>
          </p:txBody>
        </p:sp>
        <p:sp>
          <p:nvSpPr>
            <p:cNvPr id="39" name="Arc 36">
              <a:extLst>
                <a:ext uri="{FF2B5EF4-FFF2-40B4-BE49-F238E27FC236}">
                  <a16:creationId xmlns:a16="http://schemas.microsoft.com/office/drawing/2014/main" id="{FFC91484-9A11-43D8-AE1D-9BF4DA52973E}"/>
                </a:ext>
              </a:extLst>
            </p:cNvPr>
            <p:cNvSpPr/>
            <p:nvPr/>
          </p:nvSpPr>
          <p:spPr>
            <a:xfrm flipH="1">
              <a:off x="6379224" y="2039920"/>
              <a:ext cx="3352164" cy="3570975"/>
            </a:xfrm>
            <a:custGeom>
              <a:avLst/>
              <a:gdLst>
                <a:gd name="connsiteX0" fmla="*/ 4314031 w 8115577"/>
                <a:gd name="connsiteY0" fmla="*/ 8099 h 8115579"/>
                <a:gd name="connsiteX1" fmla="*/ 8115578 w 8115577"/>
                <a:gd name="connsiteY1" fmla="*/ 4057790 h 8115579"/>
                <a:gd name="connsiteX2" fmla="*/ 4057789 w 8115577"/>
                <a:gd name="connsiteY2" fmla="*/ 4057790 h 8115579"/>
                <a:gd name="connsiteX3" fmla="*/ 4314031 w 8115577"/>
                <a:gd name="connsiteY3" fmla="*/ 8099 h 8115579"/>
                <a:gd name="connsiteX0" fmla="*/ 4314031 w 8115577"/>
                <a:gd name="connsiteY0" fmla="*/ 8099 h 8115579"/>
                <a:gd name="connsiteX1" fmla="*/ 8115578 w 8115577"/>
                <a:gd name="connsiteY1" fmla="*/ 4057790 h 8115579"/>
                <a:gd name="connsiteX0" fmla="*/ 0 w 3801547"/>
                <a:gd name="connsiteY0" fmla="*/ 0 h 4049691"/>
                <a:gd name="connsiteX1" fmla="*/ 3801547 w 3801547"/>
                <a:gd name="connsiteY1" fmla="*/ 4049691 h 4049691"/>
                <a:gd name="connsiteX2" fmla="*/ 0 w 3801547"/>
                <a:gd name="connsiteY2" fmla="*/ 0 h 4049691"/>
                <a:gd name="connsiteX0" fmla="*/ 0 w 3801547"/>
                <a:gd name="connsiteY0" fmla="*/ 0 h 4049691"/>
                <a:gd name="connsiteX1" fmla="*/ 3801547 w 3801547"/>
                <a:gd name="connsiteY1" fmla="*/ 4049691 h 4049691"/>
              </a:gdLst>
              <a:ahLst/>
              <a:cxnLst>
                <a:cxn ang="0">
                  <a:pos x="connsiteX0" y="connsiteY0"/>
                </a:cxn>
                <a:cxn ang="0">
                  <a:pos x="connsiteX1" y="connsiteY1"/>
                </a:cxn>
              </a:cxnLst>
              <a:rect l="l" t="t" r="r" b="b"/>
              <a:pathLst>
                <a:path w="3801547" h="4049691" stroke="0" extrusionOk="0">
                  <a:moveTo>
                    <a:pt x="0" y="0"/>
                  </a:moveTo>
                  <a:cubicBezTo>
                    <a:pt x="2137288" y="135236"/>
                    <a:pt x="3801547" y="1908128"/>
                    <a:pt x="3801547" y="4049691"/>
                  </a:cubicBezTo>
                  <a:lnTo>
                    <a:pt x="0" y="0"/>
                  </a:lnTo>
                  <a:close/>
                </a:path>
                <a:path w="3801547" h="4049691" fill="none">
                  <a:moveTo>
                    <a:pt x="0" y="0"/>
                  </a:moveTo>
                  <a:cubicBezTo>
                    <a:pt x="2137288" y="135236"/>
                    <a:pt x="3801547" y="1908128"/>
                    <a:pt x="3801547" y="4049691"/>
                  </a:cubicBezTo>
                </a:path>
              </a:pathLst>
            </a:custGeom>
            <a:noFill/>
            <a:ln w="9525" cap="flat" cmpd="sng" algn="ctr">
              <a:solidFill>
                <a:srgbClr val="0078D7"/>
              </a:solidFill>
              <a:prstDash val="solid"/>
              <a:headEnd type="triangle" w="lg" len="med"/>
              <a:tailEnd type="triangle" w="lg"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rgbClr val="505050"/>
                </a:solidFill>
                <a:effectLst/>
                <a:uLnTx/>
                <a:uFillTx/>
                <a:latin typeface="Segoe UI"/>
                <a:ea typeface="+mn-ea"/>
                <a:cs typeface="+mn-cs"/>
              </a:endParaRPr>
            </a:p>
          </p:txBody>
        </p:sp>
        <p:sp>
          <p:nvSpPr>
            <p:cNvPr id="40" name="Oval 39">
              <a:extLst>
                <a:ext uri="{FF2B5EF4-FFF2-40B4-BE49-F238E27FC236}">
                  <a16:creationId xmlns:a16="http://schemas.microsoft.com/office/drawing/2014/main" id="{0833BE60-1892-474F-B814-50331A271140}"/>
                </a:ext>
              </a:extLst>
            </p:cNvPr>
            <p:cNvSpPr/>
            <p:nvPr/>
          </p:nvSpPr>
          <p:spPr bwMode="auto">
            <a:xfrm flipH="1">
              <a:off x="6374662" y="5090008"/>
              <a:ext cx="68124" cy="68124"/>
            </a:xfrm>
            <a:prstGeom prst="ellipse">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85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 name="Oval 40">
              <a:extLst>
                <a:ext uri="{FF2B5EF4-FFF2-40B4-BE49-F238E27FC236}">
                  <a16:creationId xmlns:a16="http://schemas.microsoft.com/office/drawing/2014/main" id="{5F94449B-76D9-4926-B8A7-2E203E2A8BDF}"/>
                </a:ext>
              </a:extLst>
            </p:cNvPr>
            <p:cNvSpPr/>
            <p:nvPr/>
          </p:nvSpPr>
          <p:spPr bwMode="auto">
            <a:xfrm flipH="1">
              <a:off x="7333267" y="3107808"/>
              <a:ext cx="68124" cy="68124"/>
            </a:xfrm>
            <a:prstGeom prst="ellipse">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85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2" name="Oval 41">
              <a:extLst>
                <a:ext uri="{FF2B5EF4-FFF2-40B4-BE49-F238E27FC236}">
                  <a16:creationId xmlns:a16="http://schemas.microsoft.com/office/drawing/2014/main" id="{15BBA13E-7628-474D-9FD0-3A531CBD175B}"/>
                </a:ext>
              </a:extLst>
            </p:cNvPr>
            <p:cNvSpPr/>
            <p:nvPr/>
          </p:nvSpPr>
          <p:spPr bwMode="auto">
            <a:xfrm flipH="1">
              <a:off x="8867068" y="2158085"/>
              <a:ext cx="68124" cy="68124"/>
            </a:xfrm>
            <a:prstGeom prst="ellipse">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85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pic>
        <p:nvPicPr>
          <p:cNvPr id="43" name="Graphic 42" descr="Multiple Azure SQL Database Instances">
            <a:extLst>
              <a:ext uri="{FF2B5EF4-FFF2-40B4-BE49-F238E27FC236}">
                <a16:creationId xmlns:a16="http://schemas.microsoft.com/office/drawing/2014/main" id="{075B5B1E-7D48-433A-BE1C-45448C48A6BA}"/>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360163" y="682030"/>
            <a:ext cx="876368" cy="876368"/>
          </a:xfrm>
          <a:prstGeom prst="rect">
            <a:avLst/>
          </a:prstGeom>
        </p:spPr>
      </p:pic>
      <p:grpSp>
        <p:nvGrpSpPr>
          <p:cNvPr id="44" name="Group 43">
            <a:extLst>
              <a:ext uri="{FF2B5EF4-FFF2-40B4-BE49-F238E27FC236}">
                <a16:creationId xmlns:a16="http://schemas.microsoft.com/office/drawing/2014/main" id="{4B4280BE-5879-475F-8AB2-ED6B430E63C1}"/>
              </a:ext>
            </a:extLst>
          </p:cNvPr>
          <p:cNvGrpSpPr/>
          <p:nvPr/>
        </p:nvGrpSpPr>
        <p:grpSpPr>
          <a:xfrm>
            <a:off x="6026369" y="5779169"/>
            <a:ext cx="606531" cy="609294"/>
            <a:chOff x="5907877" y="5666366"/>
            <a:chExt cx="594692" cy="597401"/>
          </a:xfrm>
        </p:grpSpPr>
        <p:sp>
          <p:nvSpPr>
            <p:cNvPr id="45" name="Freeform: Shape 44">
              <a:extLst>
                <a:ext uri="{FF2B5EF4-FFF2-40B4-BE49-F238E27FC236}">
                  <a16:creationId xmlns:a16="http://schemas.microsoft.com/office/drawing/2014/main" id="{13BB265E-F823-4E05-B012-0069FCB0B79D}"/>
                </a:ext>
              </a:extLst>
            </p:cNvPr>
            <p:cNvSpPr/>
            <p:nvPr/>
          </p:nvSpPr>
          <p:spPr>
            <a:xfrm>
              <a:off x="5907877" y="5666366"/>
              <a:ext cx="297347" cy="594689"/>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0078D4"/>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46" name="Freeform: Shape 45">
              <a:extLst>
                <a:ext uri="{FF2B5EF4-FFF2-40B4-BE49-F238E27FC236}">
                  <a16:creationId xmlns:a16="http://schemas.microsoft.com/office/drawing/2014/main" id="{DA6C2C08-C801-4A9D-8D3C-BD44E93B8BA7}"/>
                </a:ext>
              </a:extLst>
            </p:cNvPr>
            <p:cNvSpPr/>
            <p:nvPr/>
          </p:nvSpPr>
          <p:spPr>
            <a:xfrm>
              <a:off x="5970163" y="5728652"/>
              <a:ext cx="61948" cy="61946"/>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3">
                <a:lumMod val="60000"/>
                <a:lumOff val="40000"/>
              </a:srgbClr>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47" name="Freeform: Shape 46">
              <a:extLst>
                <a:ext uri="{FF2B5EF4-FFF2-40B4-BE49-F238E27FC236}">
                  <a16:creationId xmlns:a16="http://schemas.microsoft.com/office/drawing/2014/main" id="{79482BF1-E0B2-439B-9BBD-542769F8265C}"/>
                </a:ext>
              </a:extLst>
            </p:cNvPr>
            <p:cNvSpPr/>
            <p:nvPr/>
          </p:nvSpPr>
          <p:spPr>
            <a:xfrm>
              <a:off x="6064269" y="5728652"/>
              <a:ext cx="61948" cy="61946"/>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3">
                <a:lumMod val="60000"/>
                <a:lumOff val="40000"/>
              </a:srgbClr>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48" name="Freeform: Shape 47">
              <a:extLst>
                <a:ext uri="{FF2B5EF4-FFF2-40B4-BE49-F238E27FC236}">
                  <a16:creationId xmlns:a16="http://schemas.microsoft.com/office/drawing/2014/main" id="{9CFDB91E-C6A5-4FF7-90B3-AF13A8BBC1C6}"/>
                </a:ext>
              </a:extLst>
            </p:cNvPr>
            <p:cNvSpPr/>
            <p:nvPr/>
          </p:nvSpPr>
          <p:spPr>
            <a:xfrm>
              <a:off x="5970163" y="5822032"/>
              <a:ext cx="61948" cy="61946"/>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3">
                <a:lumMod val="60000"/>
                <a:lumOff val="40000"/>
              </a:srgbClr>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49" name="Freeform: Shape 48">
              <a:extLst>
                <a:ext uri="{FF2B5EF4-FFF2-40B4-BE49-F238E27FC236}">
                  <a16:creationId xmlns:a16="http://schemas.microsoft.com/office/drawing/2014/main" id="{82AAF752-38FE-4391-8219-74D90DB1AE49}"/>
                </a:ext>
              </a:extLst>
            </p:cNvPr>
            <p:cNvSpPr/>
            <p:nvPr/>
          </p:nvSpPr>
          <p:spPr>
            <a:xfrm>
              <a:off x="6064269" y="5822032"/>
              <a:ext cx="61948" cy="61946"/>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3">
                <a:lumMod val="60000"/>
                <a:lumOff val="40000"/>
              </a:srgbClr>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50" name="Freeform: Shape 49">
              <a:extLst>
                <a:ext uri="{FF2B5EF4-FFF2-40B4-BE49-F238E27FC236}">
                  <a16:creationId xmlns:a16="http://schemas.microsoft.com/office/drawing/2014/main" id="{C08F8FA6-5232-4A51-9D80-4C90545C497A}"/>
                </a:ext>
              </a:extLst>
            </p:cNvPr>
            <p:cNvSpPr/>
            <p:nvPr/>
          </p:nvSpPr>
          <p:spPr>
            <a:xfrm>
              <a:off x="5970163" y="5915727"/>
              <a:ext cx="61948" cy="61946"/>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3">
                <a:lumMod val="60000"/>
                <a:lumOff val="40000"/>
              </a:srgbClr>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51" name="Freeform: Shape 50">
              <a:extLst>
                <a:ext uri="{FF2B5EF4-FFF2-40B4-BE49-F238E27FC236}">
                  <a16:creationId xmlns:a16="http://schemas.microsoft.com/office/drawing/2014/main" id="{7E2587E7-DEB0-4354-9BA7-09FDD63B6B57}"/>
                </a:ext>
              </a:extLst>
            </p:cNvPr>
            <p:cNvSpPr/>
            <p:nvPr/>
          </p:nvSpPr>
          <p:spPr>
            <a:xfrm>
              <a:off x="6064269" y="5915727"/>
              <a:ext cx="61948" cy="61946"/>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3">
                <a:lumMod val="60000"/>
                <a:lumOff val="40000"/>
              </a:srgbClr>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52" name="Freeform: Shape 51">
              <a:extLst>
                <a:ext uri="{FF2B5EF4-FFF2-40B4-BE49-F238E27FC236}">
                  <a16:creationId xmlns:a16="http://schemas.microsoft.com/office/drawing/2014/main" id="{DA36B63A-DCCF-4BB2-8F67-087CCAABC39A}"/>
                </a:ext>
              </a:extLst>
            </p:cNvPr>
            <p:cNvSpPr/>
            <p:nvPr/>
          </p:nvSpPr>
          <p:spPr>
            <a:xfrm>
              <a:off x="5970163" y="6009615"/>
              <a:ext cx="61948" cy="61946"/>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3">
                <a:lumMod val="60000"/>
                <a:lumOff val="40000"/>
              </a:srgbClr>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53" name="Freeform: Shape 52">
              <a:extLst>
                <a:ext uri="{FF2B5EF4-FFF2-40B4-BE49-F238E27FC236}">
                  <a16:creationId xmlns:a16="http://schemas.microsoft.com/office/drawing/2014/main" id="{5680BCBB-CB03-4997-AFAB-85294DB4F012}"/>
                </a:ext>
              </a:extLst>
            </p:cNvPr>
            <p:cNvSpPr/>
            <p:nvPr/>
          </p:nvSpPr>
          <p:spPr>
            <a:xfrm>
              <a:off x="6064269" y="6009615"/>
              <a:ext cx="61948" cy="61946"/>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3">
                <a:lumMod val="60000"/>
                <a:lumOff val="40000"/>
              </a:srgbClr>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54" name="Freeform: Shape 53">
              <a:extLst>
                <a:ext uri="{FF2B5EF4-FFF2-40B4-BE49-F238E27FC236}">
                  <a16:creationId xmlns:a16="http://schemas.microsoft.com/office/drawing/2014/main" id="{339326E4-78A4-4EC8-B65E-B5927581A95A}"/>
                </a:ext>
              </a:extLst>
            </p:cNvPr>
            <p:cNvSpPr/>
            <p:nvPr/>
          </p:nvSpPr>
          <p:spPr>
            <a:xfrm>
              <a:off x="6010017" y="6164651"/>
              <a:ext cx="74336" cy="99116"/>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0078D3">
                <a:lumMod val="60000"/>
                <a:lumOff val="40000"/>
              </a:srgbClr>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55" name="Freeform: Shape 54">
              <a:extLst>
                <a:ext uri="{FF2B5EF4-FFF2-40B4-BE49-F238E27FC236}">
                  <a16:creationId xmlns:a16="http://schemas.microsoft.com/office/drawing/2014/main" id="{748206FB-BCC1-4606-8C23-336F2BA87DA1}"/>
                </a:ext>
              </a:extLst>
            </p:cNvPr>
            <p:cNvSpPr/>
            <p:nvPr/>
          </p:nvSpPr>
          <p:spPr>
            <a:xfrm>
              <a:off x="6205222" y="5666366"/>
              <a:ext cx="297347" cy="594689"/>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0078D3">
                <a:lumMod val="60000"/>
                <a:lumOff val="40000"/>
              </a:srgbClr>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56" name="Freeform: Shape 55">
              <a:extLst>
                <a:ext uri="{FF2B5EF4-FFF2-40B4-BE49-F238E27FC236}">
                  <a16:creationId xmlns:a16="http://schemas.microsoft.com/office/drawing/2014/main" id="{89AAA13C-6E38-4AD1-864D-A08538CCD55D}"/>
                </a:ext>
              </a:extLst>
            </p:cNvPr>
            <p:cNvSpPr/>
            <p:nvPr/>
          </p:nvSpPr>
          <p:spPr>
            <a:xfrm>
              <a:off x="6283261" y="5728652"/>
              <a:ext cx="61948" cy="61946"/>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57" name="Freeform: Shape 56">
              <a:extLst>
                <a:ext uri="{FF2B5EF4-FFF2-40B4-BE49-F238E27FC236}">
                  <a16:creationId xmlns:a16="http://schemas.microsoft.com/office/drawing/2014/main" id="{487E894F-47F4-4B22-9945-4C919C584D77}"/>
                </a:ext>
              </a:extLst>
            </p:cNvPr>
            <p:cNvSpPr/>
            <p:nvPr/>
          </p:nvSpPr>
          <p:spPr>
            <a:xfrm>
              <a:off x="6377477" y="5728652"/>
              <a:ext cx="61948" cy="61946"/>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58" name="Freeform: Shape 57">
              <a:extLst>
                <a:ext uri="{FF2B5EF4-FFF2-40B4-BE49-F238E27FC236}">
                  <a16:creationId xmlns:a16="http://schemas.microsoft.com/office/drawing/2014/main" id="{64FBE683-3539-4356-BBD9-8EE8388A72BF}"/>
                </a:ext>
              </a:extLst>
            </p:cNvPr>
            <p:cNvSpPr/>
            <p:nvPr/>
          </p:nvSpPr>
          <p:spPr>
            <a:xfrm>
              <a:off x="6283261" y="5822032"/>
              <a:ext cx="61948" cy="61946"/>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59" name="Freeform: Shape 58">
              <a:extLst>
                <a:ext uri="{FF2B5EF4-FFF2-40B4-BE49-F238E27FC236}">
                  <a16:creationId xmlns:a16="http://schemas.microsoft.com/office/drawing/2014/main" id="{320B15D5-DE7F-43CC-86F6-98BBCD9D6CBC}"/>
                </a:ext>
              </a:extLst>
            </p:cNvPr>
            <p:cNvSpPr/>
            <p:nvPr/>
          </p:nvSpPr>
          <p:spPr>
            <a:xfrm>
              <a:off x="6377477" y="5822032"/>
              <a:ext cx="61948" cy="61946"/>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60" name="Freeform: Shape 59">
              <a:extLst>
                <a:ext uri="{FF2B5EF4-FFF2-40B4-BE49-F238E27FC236}">
                  <a16:creationId xmlns:a16="http://schemas.microsoft.com/office/drawing/2014/main" id="{1FE00E20-4B92-498F-B841-A468CBA577CC}"/>
                </a:ext>
              </a:extLst>
            </p:cNvPr>
            <p:cNvSpPr/>
            <p:nvPr/>
          </p:nvSpPr>
          <p:spPr>
            <a:xfrm>
              <a:off x="6283261" y="5915727"/>
              <a:ext cx="61948" cy="61946"/>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61" name="Freeform: Shape 60">
              <a:extLst>
                <a:ext uri="{FF2B5EF4-FFF2-40B4-BE49-F238E27FC236}">
                  <a16:creationId xmlns:a16="http://schemas.microsoft.com/office/drawing/2014/main" id="{29C7E28C-E4B8-4952-ADBD-3AE3587C6EE5}"/>
                </a:ext>
              </a:extLst>
            </p:cNvPr>
            <p:cNvSpPr/>
            <p:nvPr/>
          </p:nvSpPr>
          <p:spPr>
            <a:xfrm>
              <a:off x="6377477" y="5915727"/>
              <a:ext cx="61948" cy="61946"/>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62" name="Freeform: Shape 61">
              <a:extLst>
                <a:ext uri="{FF2B5EF4-FFF2-40B4-BE49-F238E27FC236}">
                  <a16:creationId xmlns:a16="http://schemas.microsoft.com/office/drawing/2014/main" id="{14DCAF07-5326-4551-8BFE-B43DBF55FF46}"/>
                </a:ext>
              </a:extLst>
            </p:cNvPr>
            <p:cNvSpPr/>
            <p:nvPr/>
          </p:nvSpPr>
          <p:spPr>
            <a:xfrm>
              <a:off x="6283261" y="6009615"/>
              <a:ext cx="61948" cy="61946"/>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63" name="Freeform: Shape 62">
              <a:extLst>
                <a:ext uri="{FF2B5EF4-FFF2-40B4-BE49-F238E27FC236}">
                  <a16:creationId xmlns:a16="http://schemas.microsoft.com/office/drawing/2014/main" id="{13595154-C2BF-4700-BBCF-7874BFB5F204}"/>
                </a:ext>
              </a:extLst>
            </p:cNvPr>
            <p:cNvSpPr/>
            <p:nvPr/>
          </p:nvSpPr>
          <p:spPr>
            <a:xfrm>
              <a:off x="6377477" y="6009615"/>
              <a:ext cx="61948" cy="61946"/>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64" name="Freeform: Shape 63">
              <a:extLst>
                <a:ext uri="{FF2B5EF4-FFF2-40B4-BE49-F238E27FC236}">
                  <a16:creationId xmlns:a16="http://schemas.microsoft.com/office/drawing/2014/main" id="{A86A71C6-D012-483F-A1E3-D33DEBB06876}"/>
                </a:ext>
              </a:extLst>
            </p:cNvPr>
            <p:cNvSpPr/>
            <p:nvPr/>
          </p:nvSpPr>
          <p:spPr>
            <a:xfrm>
              <a:off x="6324787" y="6164651"/>
              <a:ext cx="74336" cy="99116"/>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0078D4"/>
            </a:solidFill>
            <a:ln w="3633"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spTree>
    <p:extLst>
      <p:ext uri="{BB962C8B-B14F-4D97-AF65-F5344CB8AC3E}">
        <p14:creationId xmlns:p14="http://schemas.microsoft.com/office/powerpoint/2010/main" val="77660261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Azure Hybrid Benefit for SQL Server</a:t>
            </a:r>
          </a:p>
        </p:txBody>
      </p:sp>
      <p:graphicFrame>
        <p:nvGraphicFramePr>
          <p:cNvPr id="35" name="Content Placeholder 34">
            <a:extLst>
              <a:ext uri="{FF2B5EF4-FFF2-40B4-BE49-F238E27FC236}">
                <a16:creationId xmlns:a16="http://schemas.microsoft.com/office/drawing/2014/main" id="{D0B76E88-7116-4F9D-BCE3-FD82DC90077B}"/>
              </a:ext>
            </a:extLst>
          </p:cNvPr>
          <p:cNvGraphicFramePr>
            <a:graphicFrameLocks noGrp="1"/>
          </p:cNvGraphicFramePr>
          <p:nvPr>
            <p:ph sz="quarter" idx="13"/>
            <p:extLst>
              <p:ext uri="{D42A27DB-BD31-4B8C-83A1-F6EECF244321}">
                <p14:modId xmlns:p14="http://schemas.microsoft.com/office/powerpoint/2010/main" val="1271366235"/>
              </p:ext>
            </p:extLst>
          </p:nvPr>
        </p:nvGraphicFramePr>
        <p:xfrm>
          <a:off x="655638" y="1408114"/>
          <a:ext cx="56689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87912370-6C74-4FCD-AE59-9343073F6BA3}"/>
              </a:ext>
            </a:extLst>
          </p:cNvPr>
          <p:cNvSpPr txBox="1"/>
          <p:nvPr/>
        </p:nvSpPr>
        <p:spPr>
          <a:xfrm>
            <a:off x="7614912" y="1064520"/>
            <a:ext cx="2619139" cy="350330"/>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ea typeface="MS PGothic" charset="0"/>
                <a:cs typeface="Segoe UI Semibold" panose="020B0702040204020203" pitchFamily="34" charset="0"/>
              </a:defRPr>
            </a:lvl1p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78D7"/>
                </a:solidFill>
                <a:effectLst/>
                <a:uLnTx/>
                <a:uFillTx/>
                <a:latin typeface="Segoe UI Semibold" panose="020B0702040204020203" pitchFamily="34" charset="0"/>
                <a:ea typeface="MS PGothic" charset="0"/>
                <a:cs typeface="Segoe UI Semibold" panose="020B0702040204020203" pitchFamily="34" charset="0"/>
              </a:rPr>
              <a:t>License trade-in values</a:t>
            </a:r>
          </a:p>
        </p:txBody>
      </p:sp>
      <p:cxnSp>
        <p:nvCxnSpPr>
          <p:cNvPr id="6" name="Straight Arrow Connector 5">
            <a:extLst>
              <a:ext uri="{FF2B5EF4-FFF2-40B4-BE49-F238E27FC236}">
                <a16:creationId xmlns:a16="http://schemas.microsoft.com/office/drawing/2014/main" id="{C772B550-D335-4F40-A867-ACE71A85A73A}"/>
              </a:ext>
            </a:extLst>
          </p:cNvPr>
          <p:cNvCxnSpPr>
            <a:cxnSpLocks/>
          </p:cNvCxnSpPr>
          <p:nvPr/>
        </p:nvCxnSpPr>
        <p:spPr>
          <a:xfrm>
            <a:off x="8124657" y="2610528"/>
            <a:ext cx="1410984" cy="0"/>
          </a:xfrm>
          <a:prstGeom prst="straightConnector1">
            <a:avLst/>
          </a:prstGeom>
          <a:ln>
            <a:tailEnd type="triangle"/>
          </a:ln>
        </p:spPr>
        <p:style>
          <a:lnRef idx="2">
            <a:schemeClr val="accent1"/>
          </a:lnRef>
          <a:fillRef idx="1">
            <a:schemeClr val="lt1"/>
          </a:fillRef>
          <a:effectRef idx="0">
            <a:schemeClr val="accent1"/>
          </a:effectRef>
          <a:fontRef idx="minor">
            <a:schemeClr val="dk1"/>
          </a:fontRef>
        </p:style>
      </p:cxnSp>
      <p:grpSp>
        <p:nvGrpSpPr>
          <p:cNvPr id="7" name="Group 6">
            <a:extLst>
              <a:ext uri="{FF2B5EF4-FFF2-40B4-BE49-F238E27FC236}">
                <a16:creationId xmlns:a16="http://schemas.microsoft.com/office/drawing/2014/main" id="{CA5B0FC3-7BB0-44BE-AB9F-90E84F630830}"/>
              </a:ext>
            </a:extLst>
          </p:cNvPr>
          <p:cNvGrpSpPr/>
          <p:nvPr/>
        </p:nvGrpSpPr>
        <p:grpSpPr>
          <a:xfrm>
            <a:off x="9827485" y="2209074"/>
            <a:ext cx="1359324" cy="749330"/>
            <a:chOff x="9596354" y="1993850"/>
            <a:chExt cx="1332792" cy="734704"/>
          </a:xfrm>
        </p:grpSpPr>
        <p:sp useBgFill="1">
          <p:nvSpPr>
            <p:cNvPr id="8" name="Cylinder 7">
              <a:extLst>
                <a:ext uri="{FF2B5EF4-FFF2-40B4-BE49-F238E27FC236}">
                  <a16:creationId xmlns:a16="http://schemas.microsoft.com/office/drawing/2014/main" id="{83EA26FE-3F56-4616-AE98-7B9AC9609B8F}"/>
                </a:ext>
              </a:extLst>
            </p:cNvPr>
            <p:cNvSpPr/>
            <p:nvPr/>
          </p:nvSpPr>
          <p:spPr bwMode="auto">
            <a:xfrm>
              <a:off x="10103274" y="2195803"/>
              <a:ext cx="318952" cy="419026"/>
            </a:xfrm>
            <a:prstGeom prst="can">
              <a:avLst>
                <a:gd name="adj" fmla="val 39530"/>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0078D7"/>
                </a:solidFill>
                <a:effectLst/>
                <a:uLnTx/>
                <a:uFillTx/>
                <a:latin typeface="Segoe UI Light"/>
                <a:ea typeface="Segoe UI" pitchFamily="34" charset="0"/>
                <a:cs typeface="Segoe UI" pitchFamily="34" charset="0"/>
              </a:endParaRPr>
            </a:p>
          </p:txBody>
        </p:sp>
        <p:sp>
          <p:nvSpPr>
            <p:cNvPr id="9" name="Freeform: Shape 8">
              <a:extLst>
                <a:ext uri="{FF2B5EF4-FFF2-40B4-BE49-F238E27FC236}">
                  <a16:creationId xmlns:a16="http://schemas.microsoft.com/office/drawing/2014/main" id="{0A0C2DB7-0ADC-4970-A763-8B8BFAD42429}"/>
                </a:ext>
              </a:extLst>
            </p:cNvPr>
            <p:cNvSpPr/>
            <p:nvPr/>
          </p:nvSpPr>
          <p:spPr bwMode="auto">
            <a:xfrm rot="10800000" flipV="1">
              <a:off x="9596354" y="1993850"/>
              <a:ext cx="1332792" cy="734704"/>
            </a:xfrm>
            <a:custGeom>
              <a:avLst/>
              <a:gdLst>
                <a:gd name="connsiteX0" fmla="*/ 468654 w 923172"/>
                <a:gd name="connsiteY0" fmla="*/ 0 h 508901"/>
                <a:gd name="connsiteX1" fmla="*/ 268765 w 923172"/>
                <a:gd name="connsiteY1" fmla="*/ 132495 h 508901"/>
                <a:gd name="connsiteX2" fmla="*/ 266909 w 923172"/>
                <a:gd name="connsiteY2" fmla="*/ 138472 h 508901"/>
                <a:gd name="connsiteX3" fmla="*/ 249452 w 923172"/>
                <a:gd name="connsiteY3" fmla="*/ 132083 h 508901"/>
                <a:gd name="connsiteX4" fmla="*/ 192276 w 923172"/>
                <a:gd name="connsiteY4" fmla="*/ 123439 h 508901"/>
                <a:gd name="connsiteX5" fmla="*/ 0 w 923172"/>
                <a:gd name="connsiteY5" fmla="*/ 315715 h 508901"/>
                <a:gd name="connsiteX6" fmla="*/ 172616 w 923172"/>
                <a:gd name="connsiteY6" fmla="*/ 506997 h 508901"/>
                <a:gd name="connsiteX7" fmla="*/ 187286 w 923172"/>
                <a:gd name="connsiteY7" fmla="*/ 507738 h 508901"/>
                <a:gd name="connsiteX8" fmla="*/ 195320 w 923172"/>
                <a:gd name="connsiteY8" fmla="*/ 508548 h 508901"/>
                <a:gd name="connsiteX9" fmla="*/ 814971 w 923172"/>
                <a:gd name="connsiteY9" fmla="*/ 508548 h 508901"/>
                <a:gd name="connsiteX10" fmla="*/ 823982 w 923172"/>
                <a:gd name="connsiteY10" fmla="*/ 508901 h 508901"/>
                <a:gd name="connsiteX11" fmla="*/ 845048 w 923172"/>
                <a:gd name="connsiteY11" fmla="*/ 505473 h 508901"/>
                <a:gd name="connsiteX12" fmla="*/ 919556 w 923172"/>
                <a:gd name="connsiteY12" fmla="*/ 376422 h 508901"/>
                <a:gd name="connsiteX13" fmla="*/ 811571 w 923172"/>
                <a:gd name="connsiteY13" fmla="*/ 298486 h 508901"/>
                <a:gd name="connsiteX14" fmla="*/ 803541 w 923172"/>
                <a:gd name="connsiteY14" fmla="*/ 299793 h 508901"/>
                <a:gd name="connsiteX15" fmla="*/ 805759 w 923172"/>
                <a:gd name="connsiteY15" fmla="*/ 286575 h 508901"/>
                <a:gd name="connsiteX16" fmla="*/ 789439 w 923172"/>
                <a:gd name="connsiteY16" fmla="*/ 215965 h 508901"/>
                <a:gd name="connsiteX17" fmla="*/ 690710 w 923172"/>
                <a:gd name="connsiteY17" fmla="*/ 154271 h 508901"/>
                <a:gd name="connsiteX18" fmla="*/ 676409 w 923172"/>
                <a:gd name="connsiteY18" fmla="*/ 154648 h 508901"/>
                <a:gd name="connsiteX19" fmla="*/ 675838 w 923172"/>
                <a:gd name="connsiteY19" fmla="*/ 152427 h 508901"/>
                <a:gd name="connsiteX20" fmla="*/ 468654 w 923172"/>
                <a:gd name="connsiteY20" fmla="*/ 0 h 50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23172" h="508901">
                  <a:moveTo>
                    <a:pt x="468654" y="0"/>
                  </a:moveTo>
                  <a:cubicBezTo>
                    <a:pt x="378796" y="0"/>
                    <a:pt x="301697" y="54633"/>
                    <a:pt x="268765" y="132495"/>
                  </a:cubicBezTo>
                  <a:lnTo>
                    <a:pt x="266909" y="138472"/>
                  </a:lnTo>
                  <a:lnTo>
                    <a:pt x="249452" y="132083"/>
                  </a:lnTo>
                  <a:cubicBezTo>
                    <a:pt x="231390" y="126465"/>
                    <a:pt x="212186" y="123439"/>
                    <a:pt x="192276" y="123439"/>
                  </a:cubicBezTo>
                  <a:cubicBezTo>
                    <a:pt x="86085" y="123439"/>
                    <a:pt x="0" y="209524"/>
                    <a:pt x="0" y="315715"/>
                  </a:cubicBezTo>
                  <a:cubicBezTo>
                    <a:pt x="0" y="415269"/>
                    <a:pt x="75660" y="497151"/>
                    <a:pt x="172616" y="506997"/>
                  </a:cubicBezTo>
                  <a:lnTo>
                    <a:pt x="187286" y="507738"/>
                  </a:lnTo>
                  <a:lnTo>
                    <a:pt x="195320" y="508548"/>
                  </a:lnTo>
                  <a:lnTo>
                    <a:pt x="814971" y="508548"/>
                  </a:lnTo>
                  <a:lnTo>
                    <a:pt x="823982" y="508901"/>
                  </a:lnTo>
                  <a:cubicBezTo>
                    <a:pt x="830971" y="508482"/>
                    <a:pt x="838022" y="507355"/>
                    <a:pt x="845048" y="505473"/>
                  </a:cubicBezTo>
                  <a:cubicBezTo>
                    <a:pt x="901259" y="490411"/>
                    <a:pt x="934617" y="432633"/>
                    <a:pt x="919556" y="376422"/>
                  </a:cubicBezTo>
                  <a:cubicBezTo>
                    <a:pt x="906376" y="327237"/>
                    <a:pt x="860493" y="295549"/>
                    <a:pt x="811571" y="298486"/>
                  </a:cubicBezTo>
                  <a:lnTo>
                    <a:pt x="803541" y="299793"/>
                  </a:lnTo>
                  <a:lnTo>
                    <a:pt x="805759" y="286575"/>
                  </a:lnTo>
                  <a:cubicBezTo>
                    <a:pt x="807442" y="262757"/>
                    <a:pt x="802276" y="238199"/>
                    <a:pt x="789439" y="215965"/>
                  </a:cubicBezTo>
                  <a:cubicBezTo>
                    <a:pt x="768044" y="178908"/>
                    <a:pt x="730406" y="157077"/>
                    <a:pt x="690710" y="154271"/>
                  </a:cubicBezTo>
                  <a:lnTo>
                    <a:pt x="676409" y="154648"/>
                  </a:lnTo>
                  <a:lnTo>
                    <a:pt x="675838" y="152427"/>
                  </a:lnTo>
                  <a:cubicBezTo>
                    <a:pt x="648371" y="64118"/>
                    <a:pt x="566000" y="0"/>
                    <a:pt x="468654" y="0"/>
                  </a:cubicBezTo>
                  <a:close/>
                </a:path>
              </a:pathLst>
            </a:custGeom>
            <a:ln>
              <a:headEnd/>
              <a:tailEnd/>
            </a:ln>
          </p:spPr>
          <p:style>
            <a:lnRef idx="2">
              <a:schemeClr val="accent1"/>
            </a:lnRef>
            <a:fillRef idx="1">
              <a:schemeClr val="lt1"/>
            </a:fillRef>
            <a:effectRef idx="0">
              <a:schemeClr val="accent1"/>
            </a:effectRef>
            <a:fontRef idx="minor">
              <a:schemeClr val="dk1"/>
            </a:fontRef>
          </p:style>
          <p:txBody>
            <a:bodyPr vert="horz" wrap="square" lIns="93260" tIns="46630" rIns="93260" bIns="46630" numCol="1" anchor="t" anchorCtr="0" compatLnSpc="1">
              <a:prstTxWarp prst="textNoShape">
                <a:avLst/>
              </a:prstTxWarp>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505050"/>
                </a:solidFill>
                <a:effectLst/>
                <a:uLnTx/>
                <a:uFillTx/>
              </a:endParaRPr>
            </a:p>
          </p:txBody>
        </p:sp>
      </p:grpSp>
      <p:grpSp>
        <p:nvGrpSpPr>
          <p:cNvPr id="10" name="Group 9">
            <a:extLst>
              <a:ext uri="{FF2B5EF4-FFF2-40B4-BE49-F238E27FC236}">
                <a16:creationId xmlns:a16="http://schemas.microsoft.com/office/drawing/2014/main" id="{2D4A47E8-C9A1-4A52-9388-DDB1B7FFCF9A}"/>
              </a:ext>
            </a:extLst>
          </p:cNvPr>
          <p:cNvGrpSpPr/>
          <p:nvPr/>
        </p:nvGrpSpPr>
        <p:grpSpPr>
          <a:xfrm>
            <a:off x="8124658" y="4075623"/>
            <a:ext cx="1410983" cy="1559206"/>
            <a:chOff x="8163493" y="4027295"/>
            <a:chExt cx="1005840" cy="1687922"/>
          </a:xfrm>
        </p:grpSpPr>
        <p:cxnSp>
          <p:nvCxnSpPr>
            <p:cNvPr id="11" name="Straight Arrow Connector 10">
              <a:extLst>
                <a:ext uri="{FF2B5EF4-FFF2-40B4-BE49-F238E27FC236}">
                  <a16:creationId xmlns:a16="http://schemas.microsoft.com/office/drawing/2014/main" id="{EFD72D77-2ADA-47FB-84D1-50B00DDCF000}"/>
                </a:ext>
              </a:extLst>
            </p:cNvPr>
            <p:cNvCxnSpPr>
              <a:cxnSpLocks/>
            </p:cNvCxnSpPr>
            <p:nvPr/>
          </p:nvCxnSpPr>
          <p:spPr>
            <a:xfrm>
              <a:off x="8163493" y="5029417"/>
              <a:ext cx="1005840" cy="685800"/>
            </a:xfrm>
            <a:prstGeom prst="straightConnector1">
              <a:avLst/>
            </a:prstGeom>
            <a:ln>
              <a:tailEnd type="triangle"/>
            </a:ln>
          </p:spPr>
          <p:style>
            <a:lnRef idx="2">
              <a:schemeClr val="accent1"/>
            </a:lnRef>
            <a:fillRef idx="1">
              <a:schemeClr val="lt1"/>
            </a:fillRef>
            <a:effectRef idx="0">
              <a:schemeClr val="accent1"/>
            </a:effectRef>
            <a:fontRef idx="minor">
              <a:schemeClr val="dk1"/>
            </a:fontRef>
          </p:style>
        </p:cxnSp>
        <p:cxnSp>
          <p:nvCxnSpPr>
            <p:cNvPr id="12" name="Straight Arrow Connector 11">
              <a:extLst>
                <a:ext uri="{FF2B5EF4-FFF2-40B4-BE49-F238E27FC236}">
                  <a16:creationId xmlns:a16="http://schemas.microsoft.com/office/drawing/2014/main" id="{9731730D-2F86-4701-9950-DB32CA5FE459}"/>
                </a:ext>
              </a:extLst>
            </p:cNvPr>
            <p:cNvCxnSpPr>
              <a:cxnSpLocks/>
            </p:cNvCxnSpPr>
            <p:nvPr/>
          </p:nvCxnSpPr>
          <p:spPr>
            <a:xfrm flipV="1">
              <a:off x="8163493" y="4027295"/>
              <a:ext cx="1005840" cy="685800"/>
            </a:xfrm>
            <a:prstGeom prst="straightConnector1">
              <a:avLst/>
            </a:prstGeom>
            <a:ln>
              <a:tailEnd type="triangle"/>
            </a:ln>
          </p:spPr>
          <p:style>
            <a:lnRef idx="2">
              <a:schemeClr val="accent1"/>
            </a:lnRef>
            <a:fillRef idx="1">
              <a:schemeClr val="lt1"/>
            </a:fillRef>
            <a:effectRef idx="0">
              <a:schemeClr val="accent1"/>
            </a:effectRef>
            <a:fontRef idx="minor">
              <a:schemeClr val="dk1"/>
            </a:fontRef>
          </p:style>
        </p:cxnSp>
      </p:grpSp>
      <p:grpSp>
        <p:nvGrpSpPr>
          <p:cNvPr id="13" name="Group 12">
            <a:extLst>
              <a:ext uri="{FF2B5EF4-FFF2-40B4-BE49-F238E27FC236}">
                <a16:creationId xmlns:a16="http://schemas.microsoft.com/office/drawing/2014/main" id="{29BD36A1-7C84-46E8-B856-04835D8730D5}"/>
              </a:ext>
            </a:extLst>
          </p:cNvPr>
          <p:cNvGrpSpPr/>
          <p:nvPr/>
        </p:nvGrpSpPr>
        <p:grpSpPr>
          <a:xfrm>
            <a:off x="9827485" y="3619444"/>
            <a:ext cx="1359324" cy="749330"/>
            <a:chOff x="9263138" y="3580020"/>
            <a:chExt cx="1332792" cy="734704"/>
          </a:xfrm>
        </p:grpSpPr>
        <p:sp>
          <p:nvSpPr>
            <p:cNvPr id="14" name="Freeform: Shape 13">
              <a:extLst>
                <a:ext uri="{FF2B5EF4-FFF2-40B4-BE49-F238E27FC236}">
                  <a16:creationId xmlns:a16="http://schemas.microsoft.com/office/drawing/2014/main" id="{9F734ED0-038A-46C7-9698-67513B319439}"/>
                </a:ext>
              </a:extLst>
            </p:cNvPr>
            <p:cNvSpPr/>
            <p:nvPr/>
          </p:nvSpPr>
          <p:spPr bwMode="auto">
            <a:xfrm rot="10800000" flipV="1">
              <a:off x="9263138" y="3580020"/>
              <a:ext cx="1332792" cy="734704"/>
            </a:xfrm>
            <a:custGeom>
              <a:avLst/>
              <a:gdLst>
                <a:gd name="connsiteX0" fmla="*/ 468654 w 923172"/>
                <a:gd name="connsiteY0" fmla="*/ 0 h 508901"/>
                <a:gd name="connsiteX1" fmla="*/ 268765 w 923172"/>
                <a:gd name="connsiteY1" fmla="*/ 132495 h 508901"/>
                <a:gd name="connsiteX2" fmla="*/ 266909 w 923172"/>
                <a:gd name="connsiteY2" fmla="*/ 138472 h 508901"/>
                <a:gd name="connsiteX3" fmla="*/ 249452 w 923172"/>
                <a:gd name="connsiteY3" fmla="*/ 132083 h 508901"/>
                <a:gd name="connsiteX4" fmla="*/ 192276 w 923172"/>
                <a:gd name="connsiteY4" fmla="*/ 123439 h 508901"/>
                <a:gd name="connsiteX5" fmla="*/ 0 w 923172"/>
                <a:gd name="connsiteY5" fmla="*/ 315715 h 508901"/>
                <a:gd name="connsiteX6" fmla="*/ 172616 w 923172"/>
                <a:gd name="connsiteY6" fmla="*/ 506997 h 508901"/>
                <a:gd name="connsiteX7" fmla="*/ 187286 w 923172"/>
                <a:gd name="connsiteY7" fmla="*/ 507738 h 508901"/>
                <a:gd name="connsiteX8" fmla="*/ 195320 w 923172"/>
                <a:gd name="connsiteY8" fmla="*/ 508548 h 508901"/>
                <a:gd name="connsiteX9" fmla="*/ 814971 w 923172"/>
                <a:gd name="connsiteY9" fmla="*/ 508548 h 508901"/>
                <a:gd name="connsiteX10" fmla="*/ 823982 w 923172"/>
                <a:gd name="connsiteY10" fmla="*/ 508901 h 508901"/>
                <a:gd name="connsiteX11" fmla="*/ 845048 w 923172"/>
                <a:gd name="connsiteY11" fmla="*/ 505473 h 508901"/>
                <a:gd name="connsiteX12" fmla="*/ 919556 w 923172"/>
                <a:gd name="connsiteY12" fmla="*/ 376422 h 508901"/>
                <a:gd name="connsiteX13" fmla="*/ 811571 w 923172"/>
                <a:gd name="connsiteY13" fmla="*/ 298486 h 508901"/>
                <a:gd name="connsiteX14" fmla="*/ 803541 w 923172"/>
                <a:gd name="connsiteY14" fmla="*/ 299793 h 508901"/>
                <a:gd name="connsiteX15" fmla="*/ 805759 w 923172"/>
                <a:gd name="connsiteY15" fmla="*/ 286575 h 508901"/>
                <a:gd name="connsiteX16" fmla="*/ 789439 w 923172"/>
                <a:gd name="connsiteY16" fmla="*/ 215965 h 508901"/>
                <a:gd name="connsiteX17" fmla="*/ 690710 w 923172"/>
                <a:gd name="connsiteY17" fmla="*/ 154271 h 508901"/>
                <a:gd name="connsiteX18" fmla="*/ 676409 w 923172"/>
                <a:gd name="connsiteY18" fmla="*/ 154648 h 508901"/>
                <a:gd name="connsiteX19" fmla="*/ 675838 w 923172"/>
                <a:gd name="connsiteY19" fmla="*/ 152427 h 508901"/>
                <a:gd name="connsiteX20" fmla="*/ 468654 w 923172"/>
                <a:gd name="connsiteY20" fmla="*/ 0 h 50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23172" h="508901">
                  <a:moveTo>
                    <a:pt x="468654" y="0"/>
                  </a:moveTo>
                  <a:cubicBezTo>
                    <a:pt x="378796" y="0"/>
                    <a:pt x="301697" y="54633"/>
                    <a:pt x="268765" y="132495"/>
                  </a:cubicBezTo>
                  <a:lnTo>
                    <a:pt x="266909" y="138472"/>
                  </a:lnTo>
                  <a:lnTo>
                    <a:pt x="249452" y="132083"/>
                  </a:lnTo>
                  <a:cubicBezTo>
                    <a:pt x="231390" y="126465"/>
                    <a:pt x="212186" y="123439"/>
                    <a:pt x="192276" y="123439"/>
                  </a:cubicBezTo>
                  <a:cubicBezTo>
                    <a:pt x="86085" y="123439"/>
                    <a:pt x="0" y="209524"/>
                    <a:pt x="0" y="315715"/>
                  </a:cubicBezTo>
                  <a:cubicBezTo>
                    <a:pt x="0" y="415269"/>
                    <a:pt x="75660" y="497151"/>
                    <a:pt x="172616" y="506997"/>
                  </a:cubicBezTo>
                  <a:lnTo>
                    <a:pt x="187286" y="507738"/>
                  </a:lnTo>
                  <a:lnTo>
                    <a:pt x="195320" y="508548"/>
                  </a:lnTo>
                  <a:lnTo>
                    <a:pt x="814971" y="508548"/>
                  </a:lnTo>
                  <a:lnTo>
                    <a:pt x="823982" y="508901"/>
                  </a:lnTo>
                  <a:cubicBezTo>
                    <a:pt x="830971" y="508482"/>
                    <a:pt x="838022" y="507355"/>
                    <a:pt x="845048" y="505473"/>
                  </a:cubicBezTo>
                  <a:cubicBezTo>
                    <a:pt x="901259" y="490411"/>
                    <a:pt x="934617" y="432633"/>
                    <a:pt x="919556" y="376422"/>
                  </a:cubicBezTo>
                  <a:cubicBezTo>
                    <a:pt x="906376" y="327237"/>
                    <a:pt x="860493" y="295549"/>
                    <a:pt x="811571" y="298486"/>
                  </a:cubicBezTo>
                  <a:lnTo>
                    <a:pt x="803541" y="299793"/>
                  </a:lnTo>
                  <a:lnTo>
                    <a:pt x="805759" y="286575"/>
                  </a:lnTo>
                  <a:cubicBezTo>
                    <a:pt x="807442" y="262757"/>
                    <a:pt x="802276" y="238199"/>
                    <a:pt x="789439" y="215965"/>
                  </a:cubicBezTo>
                  <a:cubicBezTo>
                    <a:pt x="768044" y="178908"/>
                    <a:pt x="730406" y="157077"/>
                    <a:pt x="690710" y="154271"/>
                  </a:cubicBezTo>
                  <a:lnTo>
                    <a:pt x="676409" y="154648"/>
                  </a:lnTo>
                  <a:lnTo>
                    <a:pt x="675838" y="152427"/>
                  </a:lnTo>
                  <a:cubicBezTo>
                    <a:pt x="648371" y="64118"/>
                    <a:pt x="566000" y="0"/>
                    <a:pt x="468654" y="0"/>
                  </a:cubicBezTo>
                  <a:close/>
                </a:path>
              </a:pathLst>
            </a:custGeom>
            <a:ln>
              <a:headEnd/>
              <a:tailEnd/>
            </a:ln>
          </p:spPr>
          <p:style>
            <a:lnRef idx="2">
              <a:schemeClr val="accent1"/>
            </a:lnRef>
            <a:fillRef idx="1">
              <a:schemeClr val="lt1"/>
            </a:fillRef>
            <a:effectRef idx="0">
              <a:schemeClr val="accent1"/>
            </a:effectRef>
            <a:fontRef idx="minor">
              <a:schemeClr val="dk1"/>
            </a:fontRef>
          </p:style>
          <p:txBody>
            <a:bodyPr vert="horz" wrap="square" lIns="93260" tIns="46630" rIns="93260" bIns="46630" numCol="1" anchor="t" anchorCtr="0" compatLnSpc="1">
              <a:prstTxWarp prst="textNoShape">
                <a:avLst/>
              </a:prstTxWarp>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505050"/>
                </a:solidFill>
                <a:effectLst/>
                <a:uLnTx/>
                <a:uFillTx/>
              </a:endParaRPr>
            </a:p>
          </p:txBody>
        </p:sp>
        <p:grpSp>
          <p:nvGrpSpPr>
            <p:cNvPr id="15" name="Group 14">
              <a:extLst>
                <a:ext uri="{FF2B5EF4-FFF2-40B4-BE49-F238E27FC236}">
                  <a16:creationId xmlns:a16="http://schemas.microsoft.com/office/drawing/2014/main" id="{B2DE1592-4314-4627-BD61-9D7D0E10BC99}"/>
                </a:ext>
              </a:extLst>
            </p:cNvPr>
            <p:cNvGrpSpPr/>
            <p:nvPr/>
          </p:nvGrpSpPr>
          <p:grpSpPr>
            <a:xfrm>
              <a:off x="9764940" y="3728909"/>
              <a:ext cx="358760" cy="533152"/>
              <a:chOff x="9769209" y="169256"/>
              <a:chExt cx="250996" cy="373004"/>
            </a:xfrm>
          </p:grpSpPr>
          <p:sp>
            <p:nvSpPr>
              <p:cNvPr id="16" name="Cylinder 15">
                <a:extLst>
                  <a:ext uri="{FF2B5EF4-FFF2-40B4-BE49-F238E27FC236}">
                    <a16:creationId xmlns:a16="http://schemas.microsoft.com/office/drawing/2014/main" id="{243892A5-1A05-4790-A266-2AF6503ECC04}"/>
                  </a:ext>
                </a:extLst>
              </p:cNvPr>
              <p:cNvSpPr/>
              <p:nvPr/>
            </p:nvSpPr>
            <p:spPr bwMode="auto">
              <a:xfrm>
                <a:off x="9769209" y="169256"/>
                <a:ext cx="183070" cy="240510"/>
              </a:xfrm>
              <a:prstGeom prst="can">
                <a:avLst>
                  <a:gd name="adj" fmla="val 39530"/>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0078D7"/>
                  </a:solidFill>
                  <a:effectLst/>
                  <a:uLnTx/>
                  <a:uFillTx/>
                  <a:latin typeface="Segoe UI Light"/>
                  <a:ea typeface="Segoe UI" pitchFamily="34" charset="0"/>
                  <a:cs typeface="Segoe UI" pitchFamily="34" charset="0"/>
                </a:endParaRPr>
              </a:p>
            </p:txBody>
          </p:sp>
          <p:sp useBgFill="1">
            <p:nvSpPr>
              <p:cNvPr id="17" name="Freeform 28">
                <a:extLst>
                  <a:ext uri="{FF2B5EF4-FFF2-40B4-BE49-F238E27FC236}">
                    <a16:creationId xmlns:a16="http://schemas.microsoft.com/office/drawing/2014/main" id="{B1FDE8A8-F0D2-4FC4-80F0-9803669F9EB3}"/>
                  </a:ext>
                </a:extLst>
              </p:cNvPr>
              <p:cNvSpPr/>
              <p:nvPr/>
            </p:nvSpPr>
            <p:spPr bwMode="auto">
              <a:xfrm>
                <a:off x="9884353" y="308400"/>
                <a:ext cx="135852" cy="233860"/>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8" name="Rectangle 17">
            <a:extLst>
              <a:ext uri="{FF2B5EF4-FFF2-40B4-BE49-F238E27FC236}">
                <a16:creationId xmlns:a16="http://schemas.microsoft.com/office/drawing/2014/main" id="{ABFBCB1C-24E8-461C-9C76-AAAE9252F227}"/>
              </a:ext>
            </a:extLst>
          </p:cNvPr>
          <p:cNvSpPr/>
          <p:nvPr/>
        </p:nvSpPr>
        <p:spPr>
          <a:xfrm>
            <a:off x="9771233" y="3011513"/>
            <a:ext cx="1471829" cy="446397"/>
          </a:xfrm>
          <a:prstGeom prst="rect">
            <a:avLst/>
          </a:prstGeom>
        </p:spPr>
        <p:style>
          <a:lnRef idx="2">
            <a:schemeClr val="accent1"/>
          </a:lnRef>
          <a:fillRef idx="1">
            <a:schemeClr val="lt1"/>
          </a:fillRef>
          <a:effectRef idx="0">
            <a:schemeClr val="accent1"/>
          </a:effectRef>
          <a:fontRef idx="minor">
            <a:schemeClr val="dk1"/>
          </a:fontRef>
        </p:style>
        <p:txBody>
          <a:bodyPr wrap="square" rtlCol="0" anchor="t">
            <a:spAutoFit/>
          </a:bodyPr>
          <a:lstStyle/>
          <a:p>
            <a:pPr algn="ctr" defTabSz="932597">
              <a:defRPr/>
            </a:pPr>
            <a:r>
              <a:rPr lang="en-US" sz="1122" kern="0" dirty="0">
                <a:solidFill>
                  <a:srgbClr val="0078D7"/>
                </a:solidFill>
                <a:latin typeface="Segoe UI Semibold"/>
                <a:ea typeface="MS PGothic"/>
                <a:cs typeface="Segoe UI Semibold"/>
              </a:rPr>
              <a:t>General purpose or Hyperscale vCore</a:t>
            </a:r>
          </a:p>
        </p:txBody>
      </p:sp>
      <p:sp>
        <p:nvSpPr>
          <p:cNvPr id="19" name="Rectangle 18">
            <a:extLst>
              <a:ext uri="{FF2B5EF4-FFF2-40B4-BE49-F238E27FC236}">
                <a16:creationId xmlns:a16="http://schemas.microsoft.com/office/drawing/2014/main" id="{B9C454EF-EDDC-42CF-8599-8EF057E95240}"/>
              </a:ext>
            </a:extLst>
          </p:cNvPr>
          <p:cNvSpPr/>
          <p:nvPr/>
        </p:nvSpPr>
        <p:spPr>
          <a:xfrm>
            <a:off x="9771233" y="6030603"/>
            <a:ext cx="1632543" cy="446397"/>
          </a:xfrm>
          <a:prstGeom prst="rect">
            <a:avLst/>
          </a:prstGeom>
        </p:spPr>
        <p:style>
          <a:lnRef idx="2">
            <a:schemeClr val="accent1"/>
          </a:lnRef>
          <a:fillRef idx="1">
            <a:schemeClr val="lt1"/>
          </a:fillRef>
          <a:effectRef idx="0">
            <a:schemeClr val="accent1"/>
          </a:effectRef>
          <a:fontRef idx="minor">
            <a:schemeClr val="dk1"/>
          </a:fontRef>
        </p:style>
        <p:txBody>
          <a:bodyPr wrap="square" rtlCol="0" anchor="t">
            <a:spAutoFit/>
          </a:bodyPr>
          <a:lstStyle/>
          <a:p>
            <a:pPr algn="ctr" defTabSz="932597">
              <a:defRPr/>
            </a:pPr>
            <a:r>
              <a:rPr lang="en-US" sz="1122" kern="0">
                <a:solidFill>
                  <a:srgbClr val="0078D7"/>
                </a:solidFill>
                <a:latin typeface="Segoe UI Semibold"/>
                <a:ea typeface="MS PGothic"/>
                <a:cs typeface="Segoe UI Semibold"/>
              </a:rPr>
              <a:t>4x General purpose or Hyperscale vCores</a:t>
            </a:r>
          </a:p>
        </p:txBody>
      </p:sp>
      <p:sp>
        <p:nvSpPr>
          <p:cNvPr id="20" name="Rectangle 19">
            <a:extLst>
              <a:ext uri="{FF2B5EF4-FFF2-40B4-BE49-F238E27FC236}">
                <a16:creationId xmlns:a16="http://schemas.microsoft.com/office/drawing/2014/main" id="{4E2AF095-C728-4497-AE96-F44E20FEE2C8}"/>
              </a:ext>
            </a:extLst>
          </p:cNvPr>
          <p:cNvSpPr/>
          <p:nvPr/>
        </p:nvSpPr>
        <p:spPr>
          <a:xfrm>
            <a:off x="9771233" y="4417370"/>
            <a:ext cx="1471829" cy="44639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defTabSz="932597">
              <a:defRPr/>
            </a:pPr>
            <a:r>
              <a:rPr lang="en-US" sz="1122" kern="0" dirty="0">
                <a:solidFill>
                  <a:srgbClr val="0078D7"/>
                </a:solidFill>
                <a:latin typeface="Segoe UI Semibold" panose="020B0702040204020203" pitchFamily="34" charset="0"/>
                <a:ea typeface="MS PGothic" charset="0"/>
                <a:cs typeface="Segoe UI Semibold" panose="020B0702040204020203" pitchFamily="34" charset="0"/>
              </a:rPr>
              <a:t>Business critical vCore</a:t>
            </a:r>
          </a:p>
        </p:txBody>
      </p:sp>
      <p:grpSp>
        <p:nvGrpSpPr>
          <p:cNvPr id="21" name="Group 20">
            <a:extLst>
              <a:ext uri="{FF2B5EF4-FFF2-40B4-BE49-F238E27FC236}">
                <a16:creationId xmlns:a16="http://schemas.microsoft.com/office/drawing/2014/main" id="{E75B4223-FE60-41BB-AFD2-1684DF4A63A9}"/>
              </a:ext>
            </a:extLst>
          </p:cNvPr>
          <p:cNvGrpSpPr/>
          <p:nvPr/>
        </p:nvGrpSpPr>
        <p:grpSpPr>
          <a:xfrm>
            <a:off x="9610518" y="5273190"/>
            <a:ext cx="1793258" cy="723278"/>
            <a:chOff x="9594488" y="5319194"/>
            <a:chExt cx="1829746" cy="737994"/>
          </a:xfrm>
        </p:grpSpPr>
        <p:grpSp>
          <p:nvGrpSpPr>
            <p:cNvPr id="22" name="Group 21">
              <a:extLst>
                <a:ext uri="{FF2B5EF4-FFF2-40B4-BE49-F238E27FC236}">
                  <a16:creationId xmlns:a16="http://schemas.microsoft.com/office/drawing/2014/main" id="{DEA51353-C947-4605-932C-440872E1AEA1}"/>
                </a:ext>
              </a:extLst>
            </p:cNvPr>
            <p:cNvGrpSpPr/>
            <p:nvPr/>
          </p:nvGrpSpPr>
          <p:grpSpPr>
            <a:xfrm>
              <a:off x="9929521" y="5626621"/>
              <a:ext cx="1254196" cy="347388"/>
              <a:chOff x="6561008" y="1026495"/>
              <a:chExt cx="1502937" cy="419026"/>
            </a:xfrm>
          </p:grpSpPr>
          <p:sp useBgFill="1">
            <p:nvSpPr>
              <p:cNvPr id="24" name="Cylinder 23">
                <a:extLst>
                  <a:ext uri="{FF2B5EF4-FFF2-40B4-BE49-F238E27FC236}">
                    <a16:creationId xmlns:a16="http://schemas.microsoft.com/office/drawing/2014/main" id="{0DE1820D-0689-402F-BE64-FEBFD61DFC3F}"/>
                  </a:ext>
                </a:extLst>
              </p:cNvPr>
              <p:cNvSpPr/>
              <p:nvPr/>
            </p:nvSpPr>
            <p:spPr bwMode="auto">
              <a:xfrm>
                <a:off x="6561008" y="1026495"/>
                <a:ext cx="318952" cy="419026"/>
              </a:xfrm>
              <a:prstGeom prst="can">
                <a:avLst>
                  <a:gd name="adj" fmla="val 39530"/>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0078D7"/>
                  </a:solidFill>
                  <a:effectLst/>
                  <a:uLnTx/>
                  <a:uFillTx/>
                  <a:latin typeface="Segoe UI Light"/>
                  <a:ea typeface="Segoe UI" pitchFamily="34" charset="0"/>
                  <a:cs typeface="Segoe UI" pitchFamily="34" charset="0"/>
                </a:endParaRPr>
              </a:p>
            </p:txBody>
          </p:sp>
          <p:sp useBgFill="1">
            <p:nvSpPr>
              <p:cNvPr id="25" name="Cylinder 24">
                <a:extLst>
                  <a:ext uri="{FF2B5EF4-FFF2-40B4-BE49-F238E27FC236}">
                    <a16:creationId xmlns:a16="http://schemas.microsoft.com/office/drawing/2014/main" id="{60EB6B98-CDCD-4B5E-98AE-36777B449B64}"/>
                  </a:ext>
                </a:extLst>
              </p:cNvPr>
              <p:cNvSpPr/>
              <p:nvPr/>
            </p:nvSpPr>
            <p:spPr bwMode="auto">
              <a:xfrm>
                <a:off x="6955670" y="1026495"/>
                <a:ext cx="318952" cy="419026"/>
              </a:xfrm>
              <a:prstGeom prst="can">
                <a:avLst>
                  <a:gd name="adj" fmla="val 39530"/>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0078D7"/>
                  </a:solidFill>
                  <a:effectLst/>
                  <a:uLnTx/>
                  <a:uFillTx/>
                  <a:latin typeface="Segoe UI Light"/>
                  <a:ea typeface="Segoe UI" pitchFamily="34" charset="0"/>
                  <a:cs typeface="Segoe UI" pitchFamily="34" charset="0"/>
                </a:endParaRPr>
              </a:p>
            </p:txBody>
          </p:sp>
          <p:sp useBgFill="1">
            <p:nvSpPr>
              <p:cNvPr id="26" name="Cylinder 25">
                <a:extLst>
                  <a:ext uri="{FF2B5EF4-FFF2-40B4-BE49-F238E27FC236}">
                    <a16:creationId xmlns:a16="http://schemas.microsoft.com/office/drawing/2014/main" id="{E123827B-22F2-467C-8BA2-C93CB28A7A0F}"/>
                  </a:ext>
                </a:extLst>
              </p:cNvPr>
              <p:cNvSpPr/>
              <p:nvPr/>
            </p:nvSpPr>
            <p:spPr bwMode="auto">
              <a:xfrm>
                <a:off x="7350332" y="1026495"/>
                <a:ext cx="318952" cy="419026"/>
              </a:xfrm>
              <a:prstGeom prst="can">
                <a:avLst>
                  <a:gd name="adj" fmla="val 39530"/>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0078D7"/>
                  </a:solidFill>
                  <a:effectLst/>
                  <a:uLnTx/>
                  <a:uFillTx/>
                  <a:latin typeface="Segoe UI Light"/>
                  <a:ea typeface="Segoe UI" pitchFamily="34" charset="0"/>
                  <a:cs typeface="Segoe UI" pitchFamily="34" charset="0"/>
                </a:endParaRPr>
              </a:p>
            </p:txBody>
          </p:sp>
          <p:sp useBgFill="1">
            <p:nvSpPr>
              <p:cNvPr id="27" name="Cylinder 26">
                <a:extLst>
                  <a:ext uri="{FF2B5EF4-FFF2-40B4-BE49-F238E27FC236}">
                    <a16:creationId xmlns:a16="http://schemas.microsoft.com/office/drawing/2014/main" id="{45AC79AF-C6A5-4B5A-9C73-EEE7C5C1CF42}"/>
                  </a:ext>
                </a:extLst>
              </p:cNvPr>
              <p:cNvSpPr/>
              <p:nvPr/>
            </p:nvSpPr>
            <p:spPr bwMode="auto">
              <a:xfrm>
                <a:off x="7744993" y="1026495"/>
                <a:ext cx="318952" cy="419026"/>
              </a:xfrm>
              <a:prstGeom prst="can">
                <a:avLst>
                  <a:gd name="adj" fmla="val 39530"/>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0078D7"/>
                  </a:solidFill>
                  <a:effectLst/>
                  <a:uLnTx/>
                  <a:uFillTx/>
                  <a:latin typeface="Segoe UI Light"/>
                  <a:ea typeface="Segoe UI" pitchFamily="34" charset="0"/>
                  <a:cs typeface="Segoe UI" pitchFamily="34" charset="0"/>
                </a:endParaRPr>
              </a:p>
            </p:txBody>
          </p:sp>
        </p:grpSp>
        <p:sp>
          <p:nvSpPr>
            <p:cNvPr id="23" name="Freeform: Shape 22">
              <a:extLst>
                <a:ext uri="{FF2B5EF4-FFF2-40B4-BE49-F238E27FC236}">
                  <a16:creationId xmlns:a16="http://schemas.microsoft.com/office/drawing/2014/main" id="{0DC47091-2418-4FD0-9F6F-C7B29768111B}"/>
                </a:ext>
              </a:extLst>
            </p:cNvPr>
            <p:cNvSpPr/>
            <p:nvPr/>
          </p:nvSpPr>
          <p:spPr bwMode="auto">
            <a:xfrm rot="10800000" flipV="1">
              <a:off x="9594488" y="5319194"/>
              <a:ext cx="1829746" cy="737994"/>
            </a:xfrm>
            <a:custGeom>
              <a:avLst/>
              <a:gdLst>
                <a:gd name="connsiteX0" fmla="*/ 1378307 w 2034499"/>
                <a:gd name="connsiteY0" fmla="*/ 0 h 734704"/>
                <a:gd name="connsiteX1" fmla="*/ 1136631 w 2034499"/>
                <a:gd name="connsiteY1" fmla="*/ 113973 h 734704"/>
                <a:gd name="connsiteX2" fmla="*/ 1133555 w 2034499"/>
                <a:gd name="connsiteY2" fmla="*/ 119043 h 734704"/>
                <a:gd name="connsiteX3" fmla="*/ 1108754 w 2034499"/>
                <a:gd name="connsiteY3" fmla="*/ 93642 h 734704"/>
                <a:gd name="connsiteX4" fmla="*/ 950913 w 2034499"/>
                <a:gd name="connsiteY4" fmla="*/ 41232 h 734704"/>
                <a:gd name="connsiteX5" fmla="*/ 803415 w 2034499"/>
                <a:gd name="connsiteY5" fmla="*/ 86286 h 734704"/>
                <a:gd name="connsiteX6" fmla="*/ 793876 w 2034499"/>
                <a:gd name="connsiteY6" fmla="*/ 94954 h 734704"/>
                <a:gd name="connsiteX7" fmla="*/ 729046 w 2034499"/>
                <a:gd name="connsiteY7" fmla="*/ 60827 h 734704"/>
                <a:gd name="connsiteX8" fmla="*/ 634801 w 2034499"/>
                <a:gd name="connsiteY8" fmla="*/ 45388 h 734704"/>
                <a:gd name="connsiteX9" fmla="*/ 364047 w 2034499"/>
                <a:gd name="connsiteY9" fmla="*/ 224855 h 734704"/>
                <a:gd name="connsiteX10" fmla="*/ 361533 w 2034499"/>
                <a:gd name="connsiteY10" fmla="*/ 232951 h 734704"/>
                <a:gd name="connsiteX11" fmla="*/ 337888 w 2034499"/>
                <a:gd name="connsiteY11" fmla="*/ 224297 h 734704"/>
                <a:gd name="connsiteX12" fmla="*/ 260441 w 2034499"/>
                <a:gd name="connsiteY12" fmla="*/ 212588 h 734704"/>
                <a:gd name="connsiteX13" fmla="*/ 0 w 2034499"/>
                <a:gd name="connsiteY13" fmla="*/ 473030 h 734704"/>
                <a:gd name="connsiteX14" fmla="*/ 233812 w 2034499"/>
                <a:gd name="connsiteY14" fmla="*/ 732125 h 734704"/>
                <a:gd name="connsiteX15" fmla="*/ 253682 w 2034499"/>
                <a:gd name="connsiteY15" fmla="*/ 733129 h 734704"/>
                <a:gd name="connsiteX16" fmla="*/ 264565 w 2034499"/>
                <a:gd name="connsiteY16" fmla="*/ 734226 h 734704"/>
                <a:gd name="connsiteX17" fmla="*/ 1103895 w 2034499"/>
                <a:gd name="connsiteY17" fmla="*/ 734226 h 734704"/>
                <a:gd name="connsiteX18" fmla="*/ 1116100 w 2034499"/>
                <a:gd name="connsiteY18" fmla="*/ 734704 h 734704"/>
                <a:gd name="connsiteX19" fmla="*/ 1119232 w 2034499"/>
                <a:gd name="connsiteY19" fmla="*/ 734194 h 734704"/>
                <a:gd name="connsiteX20" fmla="*/ 1878288 w 2034499"/>
                <a:gd name="connsiteY20" fmla="*/ 734194 h 734704"/>
                <a:gd name="connsiteX21" fmla="*/ 1891298 w 2034499"/>
                <a:gd name="connsiteY21" fmla="*/ 734704 h 734704"/>
                <a:gd name="connsiteX22" fmla="*/ 1921711 w 2034499"/>
                <a:gd name="connsiteY22" fmla="*/ 729755 h 734704"/>
                <a:gd name="connsiteX23" fmla="*/ 2029279 w 2034499"/>
                <a:gd name="connsiteY23" fmla="*/ 543443 h 734704"/>
                <a:gd name="connsiteX24" fmla="*/ 1873380 w 2034499"/>
                <a:gd name="connsiteY24" fmla="*/ 430926 h 734704"/>
                <a:gd name="connsiteX25" fmla="*/ 1861787 w 2034499"/>
                <a:gd name="connsiteY25" fmla="*/ 432813 h 734704"/>
                <a:gd name="connsiteX26" fmla="*/ 1864989 w 2034499"/>
                <a:gd name="connsiteY26" fmla="*/ 413730 h 734704"/>
                <a:gd name="connsiteX27" fmla="*/ 1841428 w 2034499"/>
                <a:gd name="connsiteY27" fmla="*/ 311790 h 734704"/>
                <a:gd name="connsiteX28" fmla="*/ 1698892 w 2034499"/>
                <a:gd name="connsiteY28" fmla="*/ 222722 h 734704"/>
                <a:gd name="connsiteX29" fmla="*/ 1678245 w 2034499"/>
                <a:gd name="connsiteY29" fmla="*/ 223266 h 734704"/>
                <a:gd name="connsiteX30" fmla="*/ 1677421 w 2034499"/>
                <a:gd name="connsiteY30" fmla="*/ 220060 h 734704"/>
                <a:gd name="connsiteX31" fmla="*/ 1378307 w 2034499"/>
                <a:gd name="connsiteY31" fmla="*/ 0 h 734704"/>
                <a:gd name="connsiteX0" fmla="*/ 1378307 w 2034499"/>
                <a:gd name="connsiteY0" fmla="*/ 0 h 734704"/>
                <a:gd name="connsiteX1" fmla="*/ 1136631 w 2034499"/>
                <a:gd name="connsiteY1" fmla="*/ 113973 h 734704"/>
                <a:gd name="connsiteX2" fmla="*/ 1133555 w 2034499"/>
                <a:gd name="connsiteY2" fmla="*/ 119043 h 734704"/>
                <a:gd name="connsiteX3" fmla="*/ 1108754 w 2034499"/>
                <a:gd name="connsiteY3" fmla="*/ 93642 h 734704"/>
                <a:gd name="connsiteX4" fmla="*/ 950913 w 2034499"/>
                <a:gd name="connsiteY4" fmla="*/ 41232 h 734704"/>
                <a:gd name="connsiteX5" fmla="*/ 803415 w 2034499"/>
                <a:gd name="connsiteY5" fmla="*/ 86286 h 734704"/>
                <a:gd name="connsiteX6" fmla="*/ 793876 w 2034499"/>
                <a:gd name="connsiteY6" fmla="*/ 94954 h 734704"/>
                <a:gd name="connsiteX7" fmla="*/ 729046 w 2034499"/>
                <a:gd name="connsiteY7" fmla="*/ 60827 h 734704"/>
                <a:gd name="connsiteX8" fmla="*/ 634801 w 2034499"/>
                <a:gd name="connsiteY8" fmla="*/ 45388 h 734704"/>
                <a:gd name="connsiteX9" fmla="*/ 364047 w 2034499"/>
                <a:gd name="connsiteY9" fmla="*/ 224855 h 734704"/>
                <a:gd name="connsiteX10" fmla="*/ 361533 w 2034499"/>
                <a:gd name="connsiteY10" fmla="*/ 232951 h 734704"/>
                <a:gd name="connsiteX11" fmla="*/ 337888 w 2034499"/>
                <a:gd name="connsiteY11" fmla="*/ 224297 h 734704"/>
                <a:gd name="connsiteX12" fmla="*/ 260441 w 2034499"/>
                <a:gd name="connsiteY12" fmla="*/ 212588 h 734704"/>
                <a:gd name="connsiteX13" fmla="*/ 0 w 2034499"/>
                <a:gd name="connsiteY13" fmla="*/ 473030 h 734704"/>
                <a:gd name="connsiteX14" fmla="*/ 233812 w 2034499"/>
                <a:gd name="connsiteY14" fmla="*/ 732125 h 734704"/>
                <a:gd name="connsiteX15" fmla="*/ 253682 w 2034499"/>
                <a:gd name="connsiteY15" fmla="*/ 733129 h 734704"/>
                <a:gd name="connsiteX16" fmla="*/ 264565 w 2034499"/>
                <a:gd name="connsiteY16" fmla="*/ 734226 h 734704"/>
                <a:gd name="connsiteX17" fmla="*/ 1103895 w 2034499"/>
                <a:gd name="connsiteY17" fmla="*/ 734226 h 734704"/>
                <a:gd name="connsiteX18" fmla="*/ 1116100 w 2034499"/>
                <a:gd name="connsiteY18" fmla="*/ 734704 h 734704"/>
                <a:gd name="connsiteX19" fmla="*/ 1878288 w 2034499"/>
                <a:gd name="connsiteY19" fmla="*/ 734194 h 734704"/>
                <a:gd name="connsiteX20" fmla="*/ 1891298 w 2034499"/>
                <a:gd name="connsiteY20" fmla="*/ 734704 h 734704"/>
                <a:gd name="connsiteX21" fmla="*/ 1921711 w 2034499"/>
                <a:gd name="connsiteY21" fmla="*/ 729755 h 734704"/>
                <a:gd name="connsiteX22" fmla="*/ 2029279 w 2034499"/>
                <a:gd name="connsiteY22" fmla="*/ 543443 h 734704"/>
                <a:gd name="connsiteX23" fmla="*/ 1873380 w 2034499"/>
                <a:gd name="connsiteY23" fmla="*/ 430926 h 734704"/>
                <a:gd name="connsiteX24" fmla="*/ 1861787 w 2034499"/>
                <a:gd name="connsiteY24" fmla="*/ 432813 h 734704"/>
                <a:gd name="connsiteX25" fmla="*/ 1864989 w 2034499"/>
                <a:gd name="connsiteY25" fmla="*/ 413730 h 734704"/>
                <a:gd name="connsiteX26" fmla="*/ 1841428 w 2034499"/>
                <a:gd name="connsiteY26" fmla="*/ 311790 h 734704"/>
                <a:gd name="connsiteX27" fmla="*/ 1698892 w 2034499"/>
                <a:gd name="connsiteY27" fmla="*/ 222722 h 734704"/>
                <a:gd name="connsiteX28" fmla="*/ 1678245 w 2034499"/>
                <a:gd name="connsiteY28" fmla="*/ 223266 h 734704"/>
                <a:gd name="connsiteX29" fmla="*/ 1677421 w 2034499"/>
                <a:gd name="connsiteY29" fmla="*/ 220060 h 734704"/>
                <a:gd name="connsiteX30" fmla="*/ 1378307 w 2034499"/>
                <a:gd name="connsiteY30" fmla="*/ 0 h 734704"/>
                <a:gd name="connsiteX0" fmla="*/ 1378307 w 2034499"/>
                <a:gd name="connsiteY0" fmla="*/ 0 h 734704"/>
                <a:gd name="connsiteX1" fmla="*/ 1136631 w 2034499"/>
                <a:gd name="connsiteY1" fmla="*/ 113973 h 734704"/>
                <a:gd name="connsiteX2" fmla="*/ 1133555 w 2034499"/>
                <a:gd name="connsiteY2" fmla="*/ 119043 h 734704"/>
                <a:gd name="connsiteX3" fmla="*/ 1108754 w 2034499"/>
                <a:gd name="connsiteY3" fmla="*/ 93642 h 734704"/>
                <a:gd name="connsiteX4" fmla="*/ 950913 w 2034499"/>
                <a:gd name="connsiteY4" fmla="*/ 41232 h 734704"/>
                <a:gd name="connsiteX5" fmla="*/ 803415 w 2034499"/>
                <a:gd name="connsiteY5" fmla="*/ 86286 h 734704"/>
                <a:gd name="connsiteX6" fmla="*/ 793876 w 2034499"/>
                <a:gd name="connsiteY6" fmla="*/ 94954 h 734704"/>
                <a:gd name="connsiteX7" fmla="*/ 729046 w 2034499"/>
                <a:gd name="connsiteY7" fmla="*/ 60827 h 734704"/>
                <a:gd name="connsiteX8" fmla="*/ 634801 w 2034499"/>
                <a:gd name="connsiteY8" fmla="*/ 45388 h 734704"/>
                <a:gd name="connsiteX9" fmla="*/ 364047 w 2034499"/>
                <a:gd name="connsiteY9" fmla="*/ 224855 h 734704"/>
                <a:gd name="connsiteX10" fmla="*/ 361533 w 2034499"/>
                <a:gd name="connsiteY10" fmla="*/ 232951 h 734704"/>
                <a:gd name="connsiteX11" fmla="*/ 337888 w 2034499"/>
                <a:gd name="connsiteY11" fmla="*/ 224297 h 734704"/>
                <a:gd name="connsiteX12" fmla="*/ 260441 w 2034499"/>
                <a:gd name="connsiteY12" fmla="*/ 212588 h 734704"/>
                <a:gd name="connsiteX13" fmla="*/ 0 w 2034499"/>
                <a:gd name="connsiteY13" fmla="*/ 473030 h 734704"/>
                <a:gd name="connsiteX14" fmla="*/ 233812 w 2034499"/>
                <a:gd name="connsiteY14" fmla="*/ 732125 h 734704"/>
                <a:gd name="connsiteX15" fmla="*/ 253682 w 2034499"/>
                <a:gd name="connsiteY15" fmla="*/ 733129 h 734704"/>
                <a:gd name="connsiteX16" fmla="*/ 264565 w 2034499"/>
                <a:gd name="connsiteY16" fmla="*/ 734226 h 734704"/>
                <a:gd name="connsiteX17" fmla="*/ 1103895 w 2034499"/>
                <a:gd name="connsiteY17" fmla="*/ 734226 h 734704"/>
                <a:gd name="connsiteX18" fmla="*/ 1878288 w 2034499"/>
                <a:gd name="connsiteY18" fmla="*/ 734194 h 734704"/>
                <a:gd name="connsiteX19" fmla="*/ 1891298 w 2034499"/>
                <a:gd name="connsiteY19" fmla="*/ 734704 h 734704"/>
                <a:gd name="connsiteX20" fmla="*/ 1921711 w 2034499"/>
                <a:gd name="connsiteY20" fmla="*/ 729755 h 734704"/>
                <a:gd name="connsiteX21" fmla="*/ 2029279 w 2034499"/>
                <a:gd name="connsiteY21" fmla="*/ 543443 h 734704"/>
                <a:gd name="connsiteX22" fmla="*/ 1873380 w 2034499"/>
                <a:gd name="connsiteY22" fmla="*/ 430926 h 734704"/>
                <a:gd name="connsiteX23" fmla="*/ 1861787 w 2034499"/>
                <a:gd name="connsiteY23" fmla="*/ 432813 h 734704"/>
                <a:gd name="connsiteX24" fmla="*/ 1864989 w 2034499"/>
                <a:gd name="connsiteY24" fmla="*/ 413730 h 734704"/>
                <a:gd name="connsiteX25" fmla="*/ 1841428 w 2034499"/>
                <a:gd name="connsiteY25" fmla="*/ 311790 h 734704"/>
                <a:gd name="connsiteX26" fmla="*/ 1698892 w 2034499"/>
                <a:gd name="connsiteY26" fmla="*/ 222722 h 734704"/>
                <a:gd name="connsiteX27" fmla="*/ 1678245 w 2034499"/>
                <a:gd name="connsiteY27" fmla="*/ 223266 h 734704"/>
                <a:gd name="connsiteX28" fmla="*/ 1677421 w 2034499"/>
                <a:gd name="connsiteY28" fmla="*/ 220060 h 734704"/>
                <a:gd name="connsiteX29" fmla="*/ 1378307 w 2034499"/>
                <a:gd name="connsiteY29" fmla="*/ 0 h 734704"/>
                <a:gd name="connsiteX0" fmla="*/ 1378307 w 2034499"/>
                <a:gd name="connsiteY0" fmla="*/ 0 h 734704"/>
                <a:gd name="connsiteX1" fmla="*/ 1136631 w 2034499"/>
                <a:gd name="connsiteY1" fmla="*/ 113973 h 734704"/>
                <a:gd name="connsiteX2" fmla="*/ 1133555 w 2034499"/>
                <a:gd name="connsiteY2" fmla="*/ 119043 h 734704"/>
                <a:gd name="connsiteX3" fmla="*/ 1108754 w 2034499"/>
                <a:gd name="connsiteY3" fmla="*/ 93642 h 734704"/>
                <a:gd name="connsiteX4" fmla="*/ 950913 w 2034499"/>
                <a:gd name="connsiteY4" fmla="*/ 41232 h 734704"/>
                <a:gd name="connsiteX5" fmla="*/ 803415 w 2034499"/>
                <a:gd name="connsiteY5" fmla="*/ 86286 h 734704"/>
                <a:gd name="connsiteX6" fmla="*/ 793876 w 2034499"/>
                <a:gd name="connsiteY6" fmla="*/ 94954 h 734704"/>
                <a:gd name="connsiteX7" fmla="*/ 729046 w 2034499"/>
                <a:gd name="connsiteY7" fmla="*/ 60827 h 734704"/>
                <a:gd name="connsiteX8" fmla="*/ 634801 w 2034499"/>
                <a:gd name="connsiteY8" fmla="*/ 45388 h 734704"/>
                <a:gd name="connsiteX9" fmla="*/ 364047 w 2034499"/>
                <a:gd name="connsiteY9" fmla="*/ 224855 h 734704"/>
                <a:gd name="connsiteX10" fmla="*/ 361533 w 2034499"/>
                <a:gd name="connsiteY10" fmla="*/ 232951 h 734704"/>
                <a:gd name="connsiteX11" fmla="*/ 337888 w 2034499"/>
                <a:gd name="connsiteY11" fmla="*/ 224297 h 734704"/>
                <a:gd name="connsiteX12" fmla="*/ 260441 w 2034499"/>
                <a:gd name="connsiteY12" fmla="*/ 212588 h 734704"/>
                <a:gd name="connsiteX13" fmla="*/ 0 w 2034499"/>
                <a:gd name="connsiteY13" fmla="*/ 473030 h 734704"/>
                <a:gd name="connsiteX14" fmla="*/ 233812 w 2034499"/>
                <a:gd name="connsiteY14" fmla="*/ 732125 h 734704"/>
                <a:gd name="connsiteX15" fmla="*/ 253682 w 2034499"/>
                <a:gd name="connsiteY15" fmla="*/ 733129 h 734704"/>
                <a:gd name="connsiteX16" fmla="*/ 264565 w 2034499"/>
                <a:gd name="connsiteY16" fmla="*/ 734226 h 734704"/>
                <a:gd name="connsiteX17" fmla="*/ 1878288 w 2034499"/>
                <a:gd name="connsiteY17" fmla="*/ 734194 h 734704"/>
                <a:gd name="connsiteX18" fmla="*/ 1891298 w 2034499"/>
                <a:gd name="connsiteY18" fmla="*/ 734704 h 734704"/>
                <a:gd name="connsiteX19" fmla="*/ 1921711 w 2034499"/>
                <a:gd name="connsiteY19" fmla="*/ 729755 h 734704"/>
                <a:gd name="connsiteX20" fmla="*/ 2029279 w 2034499"/>
                <a:gd name="connsiteY20" fmla="*/ 543443 h 734704"/>
                <a:gd name="connsiteX21" fmla="*/ 1873380 w 2034499"/>
                <a:gd name="connsiteY21" fmla="*/ 430926 h 734704"/>
                <a:gd name="connsiteX22" fmla="*/ 1861787 w 2034499"/>
                <a:gd name="connsiteY22" fmla="*/ 432813 h 734704"/>
                <a:gd name="connsiteX23" fmla="*/ 1864989 w 2034499"/>
                <a:gd name="connsiteY23" fmla="*/ 413730 h 734704"/>
                <a:gd name="connsiteX24" fmla="*/ 1841428 w 2034499"/>
                <a:gd name="connsiteY24" fmla="*/ 311790 h 734704"/>
                <a:gd name="connsiteX25" fmla="*/ 1698892 w 2034499"/>
                <a:gd name="connsiteY25" fmla="*/ 222722 h 734704"/>
                <a:gd name="connsiteX26" fmla="*/ 1678245 w 2034499"/>
                <a:gd name="connsiteY26" fmla="*/ 223266 h 734704"/>
                <a:gd name="connsiteX27" fmla="*/ 1677421 w 2034499"/>
                <a:gd name="connsiteY27" fmla="*/ 220060 h 734704"/>
                <a:gd name="connsiteX28" fmla="*/ 1378307 w 2034499"/>
                <a:gd name="connsiteY28" fmla="*/ 0 h 734704"/>
                <a:gd name="connsiteX0" fmla="*/ 1378307 w 2034499"/>
                <a:gd name="connsiteY0" fmla="*/ 0 h 734704"/>
                <a:gd name="connsiteX1" fmla="*/ 1136631 w 2034499"/>
                <a:gd name="connsiteY1" fmla="*/ 113973 h 734704"/>
                <a:gd name="connsiteX2" fmla="*/ 1133555 w 2034499"/>
                <a:gd name="connsiteY2" fmla="*/ 119043 h 734704"/>
                <a:gd name="connsiteX3" fmla="*/ 1108754 w 2034499"/>
                <a:gd name="connsiteY3" fmla="*/ 93642 h 734704"/>
                <a:gd name="connsiteX4" fmla="*/ 950913 w 2034499"/>
                <a:gd name="connsiteY4" fmla="*/ 41232 h 734704"/>
                <a:gd name="connsiteX5" fmla="*/ 803415 w 2034499"/>
                <a:gd name="connsiteY5" fmla="*/ 86286 h 734704"/>
                <a:gd name="connsiteX6" fmla="*/ 793876 w 2034499"/>
                <a:gd name="connsiteY6" fmla="*/ 94954 h 734704"/>
                <a:gd name="connsiteX7" fmla="*/ 729046 w 2034499"/>
                <a:gd name="connsiteY7" fmla="*/ 60827 h 734704"/>
                <a:gd name="connsiteX8" fmla="*/ 634801 w 2034499"/>
                <a:gd name="connsiteY8" fmla="*/ 45388 h 734704"/>
                <a:gd name="connsiteX9" fmla="*/ 364047 w 2034499"/>
                <a:gd name="connsiteY9" fmla="*/ 224855 h 734704"/>
                <a:gd name="connsiteX10" fmla="*/ 361533 w 2034499"/>
                <a:gd name="connsiteY10" fmla="*/ 232951 h 734704"/>
                <a:gd name="connsiteX11" fmla="*/ 337888 w 2034499"/>
                <a:gd name="connsiteY11" fmla="*/ 224297 h 734704"/>
                <a:gd name="connsiteX12" fmla="*/ 260441 w 2034499"/>
                <a:gd name="connsiteY12" fmla="*/ 212588 h 734704"/>
                <a:gd name="connsiteX13" fmla="*/ 0 w 2034499"/>
                <a:gd name="connsiteY13" fmla="*/ 473030 h 734704"/>
                <a:gd name="connsiteX14" fmla="*/ 233812 w 2034499"/>
                <a:gd name="connsiteY14" fmla="*/ 732125 h 734704"/>
                <a:gd name="connsiteX15" fmla="*/ 253682 w 2034499"/>
                <a:gd name="connsiteY15" fmla="*/ 733129 h 734704"/>
                <a:gd name="connsiteX16" fmla="*/ 1878288 w 2034499"/>
                <a:gd name="connsiteY16" fmla="*/ 734194 h 734704"/>
                <a:gd name="connsiteX17" fmla="*/ 1891298 w 2034499"/>
                <a:gd name="connsiteY17" fmla="*/ 734704 h 734704"/>
                <a:gd name="connsiteX18" fmla="*/ 1921711 w 2034499"/>
                <a:gd name="connsiteY18" fmla="*/ 729755 h 734704"/>
                <a:gd name="connsiteX19" fmla="*/ 2029279 w 2034499"/>
                <a:gd name="connsiteY19" fmla="*/ 543443 h 734704"/>
                <a:gd name="connsiteX20" fmla="*/ 1873380 w 2034499"/>
                <a:gd name="connsiteY20" fmla="*/ 430926 h 734704"/>
                <a:gd name="connsiteX21" fmla="*/ 1861787 w 2034499"/>
                <a:gd name="connsiteY21" fmla="*/ 432813 h 734704"/>
                <a:gd name="connsiteX22" fmla="*/ 1864989 w 2034499"/>
                <a:gd name="connsiteY22" fmla="*/ 413730 h 734704"/>
                <a:gd name="connsiteX23" fmla="*/ 1841428 w 2034499"/>
                <a:gd name="connsiteY23" fmla="*/ 311790 h 734704"/>
                <a:gd name="connsiteX24" fmla="*/ 1698892 w 2034499"/>
                <a:gd name="connsiteY24" fmla="*/ 222722 h 734704"/>
                <a:gd name="connsiteX25" fmla="*/ 1678245 w 2034499"/>
                <a:gd name="connsiteY25" fmla="*/ 223266 h 734704"/>
                <a:gd name="connsiteX26" fmla="*/ 1677421 w 2034499"/>
                <a:gd name="connsiteY26" fmla="*/ 220060 h 734704"/>
                <a:gd name="connsiteX27" fmla="*/ 1378307 w 2034499"/>
                <a:gd name="connsiteY27" fmla="*/ 0 h 734704"/>
                <a:gd name="connsiteX0" fmla="*/ 1378307 w 2034499"/>
                <a:gd name="connsiteY0" fmla="*/ 0 h 734704"/>
                <a:gd name="connsiteX1" fmla="*/ 1136631 w 2034499"/>
                <a:gd name="connsiteY1" fmla="*/ 113973 h 734704"/>
                <a:gd name="connsiteX2" fmla="*/ 1133555 w 2034499"/>
                <a:gd name="connsiteY2" fmla="*/ 119043 h 734704"/>
                <a:gd name="connsiteX3" fmla="*/ 1108754 w 2034499"/>
                <a:gd name="connsiteY3" fmla="*/ 93642 h 734704"/>
                <a:gd name="connsiteX4" fmla="*/ 950913 w 2034499"/>
                <a:gd name="connsiteY4" fmla="*/ 41232 h 734704"/>
                <a:gd name="connsiteX5" fmla="*/ 803415 w 2034499"/>
                <a:gd name="connsiteY5" fmla="*/ 86286 h 734704"/>
                <a:gd name="connsiteX6" fmla="*/ 793876 w 2034499"/>
                <a:gd name="connsiteY6" fmla="*/ 94954 h 734704"/>
                <a:gd name="connsiteX7" fmla="*/ 729046 w 2034499"/>
                <a:gd name="connsiteY7" fmla="*/ 60827 h 734704"/>
                <a:gd name="connsiteX8" fmla="*/ 634801 w 2034499"/>
                <a:gd name="connsiteY8" fmla="*/ 45388 h 734704"/>
                <a:gd name="connsiteX9" fmla="*/ 364047 w 2034499"/>
                <a:gd name="connsiteY9" fmla="*/ 224855 h 734704"/>
                <a:gd name="connsiteX10" fmla="*/ 361533 w 2034499"/>
                <a:gd name="connsiteY10" fmla="*/ 232951 h 734704"/>
                <a:gd name="connsiteX11" fmla="*/ 337888 w 2034499"/>
                <a:gd name="connsiteY11" fmla="*/ 224297 h 734704"/>
                <a:gd name="connsiteX12" fmla="*/ 260441 w 2034499"/>
                <a:gd name="connsiteY12" fmla="*/ 212588 h 734704"/>
                <a:gd name="connsiteX13" fmla="*/ 0 w 2034499"/>
                <a:gd name="connsiteY13" fmla="*/ 473030 h 734704"/>
                <a:gd name="connsiteX14" fmla="*/ 233812 w 2034499"/>
                <a:gd name="connsiteY14" fmla="*/ 732125 h 734704"/>
                <a:gd name="connsiteX15" fmla="*/ 1878288 w 2034499"/>
                <a:gd name="connsiteY15" fmla="*/ 734194 h 734704"/>
                <a:gd name="connsiteX16" fmla="*/ 1891298 w 2034499"/>
                <a:gd name="connsiteY16" fmla="*/ 734704 h 734704"/>
                <a:gd name="connsiteX17" fmla="*/ 1921711 w 2034499"/>
                <a:gd name="connsiteY17" fmla="*/ 729755 h 734704"/>
                <a:gd name="connsiteX18" fmla="*/ 2029279 w 2034499"/>
                <a:gd name="connsiteY18" fmla="*/ 543443 h 734704"/>
                <a:gd name="connsiteX19" fmla="*/ 1873380 w 2034499"/>
                <a:gd name="connsiteY19" fmla="*/ 430926 h 734704"/>
                <a:gd name="connsiteX20" fmla="*/ 1861787 w 2034499"/>
                <a:gd name="connsiteY20" fmla="*/ 432813 h 734704"/>
                <a:gd name="connsiteX21" fmla="*/ 1864989 w 2034499"/>
                <a:gd name="connsiteY21" fmla="*/ 413730 h 734704"/>
                <a:gd name="connsiteX22" fmla="*/ 1841428 w 2034499"/>
                <a:gd name="connsiteY22" fmla="*/ 311790 h 734704"/>
                <a:gd name="connsiteX23" fmla="*/ 1698892 w 2034499"/>
                <a:gd name="connsiteY23" fmla="*/ 222722 h 734704"/>
                <a:gd name="connsiteX24" fmla="*/ 1678245 w 2034499"/>
                <a:gd name="connsiteY24" fmla="*/ 223266 h 734704"/>
                <a:gd name="connsiteX25" fmla="*/ 1677421 w 2034499"/>
                <a:gd name="connsiteY25" fmla="*/ 220060 h 734704"/>
                <a:gd name="connsiteX26" fmla="*/ 1378307 w 2034499"/>
                <a:gd name="connsiteY26" fmla="*/ 0 h 734704"/>
                <a:gd name="connsiteX0" fmla="*/ 1378307 w 2034499"/>
                <a:gd name="connsiteY0" fmla="*/ 0 h 734704"/>
                <a:gd name="connsiteX1" fmla="*/ 1136631 w 2034499"/>
                <a:gd name="connsiteY1" fmla="*/ 113973 h 734704"/>
                <a:gd name="connsiteX2" fmla="*/ 1133555 w 2034499"/>
                <a:gd name="connsiteY2" fmla="*/ 119043 h 734704"/>
                <a:gd name="connsiteX3" fmla="*/ 1108754 w 2034499"/>
                <a:gd name="connsiteY3" fmla="*/ 93642 h 734704"/>
                <a:gd name="connsiteX4" fmla="*/ 950913 w 2034499"/>
                <a:gd name="connsiteY4" fmla="*/ 41232 h 734704"/>
                <a:gd name="connsiteX5" fmla="*/ 803415 w 2034499"/>
                <a:gd name="connsiteY5" fmla="*/ 86286 h 734704"/>
                <a:gd name="connsiteX6" fmla="*/ 793876 w 2034499"/>
                <a:gd name="connsiteY6" fmla="*/ 94954 h 734704"/>
                <a:gd name="connsiteX7" fmla="*/ 729046 w 2034499"/>
                <a:gd name="connsiteY7" fmla="*/ 60827 h 734704"/>
                <a:gd name="connsiteX8" fmla="*/ 634801 w 2034499"/>
                <a:gd name="connsiteY8" fmla="*/ 45388 h 734704"/>
                <a:gd name="connsiteX9" fmla="*/ 364047 w 2034499"/>
                <a:gd name="connsiteY9" fmla="*/ 224855 h 734704"/>
                <a:gd name="connsiteX10" fmla="*/ 361533 w 2034499"/>
                <a:gd name="connsiteY10" fmla="*/ 232951 h 734704"/>
                <a:gd name="connsiteX11" fmla="*/ 337888 w 2034499"/>
                <a:gd name="connsiteY11" fmla="*/ 224297 h 734704"/>
                <a:gd name="connsiteX12" fmla="*/ 260441 w 2034499"/>
                <a:gd name="connsiteY12" fmla="*/ 212588 h 734704"/>
                <a:gd name="connsiteX13" fmla="*/ 0 w 2034499"/>
                <a:gd name="connsiteY13" fmla="*/ 473030 h 734704"/>
                <a:gd name="connsiteX14" fmla="*/ 233812 w 2034499"/>
                <a:gd name="connsiteY14" fmla="*/ 732125 h 734704"/>
                <a:gd name="connsiteX15" fmla="*/ 1891298 w 2034499"/>
                <a:gd name="connsiteY15" fmla="*/ 734704 h 734704"/>
                <a:gd name="connsiteX16" fmla="*/ 1921711 w 2034499"/>
                <a:gd name="connsiteY16" fmla="*/ 729755 h 734704"/>
                <a:gd name="connsiteX17" fmla="*/ 2029279 w 2034499"/>
                <a:gd name="connsiteY17" fmla="*/ 543443 h 734704"/>
                <a:gd name="connsiteX18" fmla="*/ 1873380 w 2034499"/>
                <a:gd name="connsiteY18" fmla="*/ 430926 h 734704"/>
                <a:gd name="connsiteX19" fmla="*/ 1861787 w 2034499"/>
                <a:gd name="connsiteY19" fmla="*/ 432813 h 734704"/>
                <a:gd name="connsiteX20" fmla="*/ 1864989 w 2034499"/>
                <a:gd name="connsiteY20" fmla="*/ 413730 h 734704"/>
                <a:gd name="connsiteX21" fmla="*/ 1841428 w 2034499"/>
                <a:gd name="connsiteY21" fmla="*/ 311790 h 734704"/>
                <a:gd name="connsiteX22" fmla="*/ 1698892 w 2034499"/>
                <a:gd name="connsiteY22" fmla="*/ 222722 h 734704"/>
                <a:gd name="connsiteX23" fmla="*/ 1678245 w 2034499"/>
                <a:gd name="connsiteY23" fmla="*/ 223266 h 734704"/>
                <a:gd name="connsiteX24" fmla="*/ 1677421 w 2034499"/>
                <a:gd name="connsiteY24" fmla="*/ 220060 h 734704"/>
                <a:gd name="connsiteX25" fmla="*/ 1378307 w 2034499"/>
                <a:gd name="connsiteY25" fmla="*/ 0 h 734704"/>
                <a:gd name="connsiteX0" fmla="*/ 1378307 w 2034499"/>
                <a:gd name="connsiteY0" fmla="*/ 0 h 732125"/>
                <a:gd name="connsiteX1" fmla="*/ 1136631 w 2034499"/>
                <a:gd name="connsiteY1" fmla="*/ 113973 h 732125"/>
                <a:gd name="connsiteX2" fmla="*/ 1133555 w 2034499"/>
                <a:gd name="connsiteY2" fmla="*/ 119043 h 732125"/>
                <a:gd name="connsiteX3" fmla="*/ 1108754 w 2034499"/>
                <a:gd name="connsiteY3" fmla="*/ 93642 h 732125"/>
                <a:gd name="connsiteX4" fmla="*/ 950913 w 2034499"/>
                <a:gd name="connsiteY4" fmla="*/ 41232 h 732125"/>
                <a:gd name="connsiteX5" fmla="*/ 803415 w 2034499"/>
                <a:gd name="connsiteY5" fmla="*/ 86286 h 732125"/>
                <a:gd name="connsiteX6" fmla="*/ 793876 w 2034499"/>
                <a:gd name="connsiteY6" fmla="*/ 94954 h 732125"/>
                <a:gd name="connsiteX7" fmla="*/ 729046 w 2034499"/>
                <a:gd name="connsiteY7" fmla="*/ 60827 h 732125"/>
                <a:gd name="connsiteX8" fmla="*/ 634801 w 2034499"/>
                <a:gd name="connsiteY8" fmla="*/ 45388 h 732125"/>
                <a:gd name="connsiteX9" fmla="*/ 364047 w 2034499"/>
                <a:gd name="connsiteY9" fmla="*/ 224855 h 732125"/>
                <a:gd name="connsiteX10" fmla="*/ 361533 w 2034499"/>
                <a:gd name="connsiteY10" fmla="*/ 232951 h 732125"/>
                <a:gd name="connsiteX11" fmla="*/ 337888 w 2034499"/>
                <a:gd name="connsiteY11" fmla="*/ 224297 h 732125"/>
                <a:gd name="connsiteX12" fmla="*/ 260441 w 2034499"/>
                <a:gd name="connsiteY12" fmla="*/ 212588 h 732125"/>
                <a:gd name="connsiteX13" fmla="*/ 0 w 2034499"/>
                <a:gd name="connsiteY13" fmla="*/ 473030 h 732125"/>
                <a:gd name="connsiteX14" fmla="*/ 233812 w 2034499"/>
                <a:gd name="connsiteY14" fmla="*/ 732125 h 732125"/>
                <a:gd name="connsiteX15" fmla="*/ 1921711 w 2034499"/>
                <a:gd name="connsiteY15" fmla="*/ 729755 h 732125"/>
                <a:gd name="connsiteX16" fmla="*/ 2029279 w 2034499"/>
                <a:gd name="connsiteY16" fmla="*/ 543443 h 732125"/>
                <a:gd name="connsiteX17" fmla="*/ 1873380 w 2034499"/>
                <a:gd name="connsiteY17" fmla="*/ 430926 h 732125"/>
                <a:gd name="connsiteX18" fmla="*/ 1861787 w 2034499"/>
                <a:gd name="connsiteY18" fmla="*/ 432813 h 732125"/>
                <a:gd name="connsiteX19" fmla="*/ 1864989 w 2034499"/>
                <a:gd name="connsiteY19" fmla="*/ 413730 h 732125"/>
                <a:gd name="connsiteX20" fmla="*/ 1841428 w 2034499"/>
                <a:gd name="connsiteY20" fmla="*/ 311790 h 732125"/>
                <a:gd name="connsiteX21" fmla="*/ 1698892 w 2034499"/>
                <a:gd name="connsiteY21" fmla="*/ 222722 h 732125"/>
                <a:gd name="connsiteX22" fmla="*/ 1678245 w 2034499"/>
                <a:gd name="connsiteY22" fmla="*/ 223266 h 732125"/>
                <a:gd name="connsiteX23" fmla="*/ 1677421 w 2034499"/>
                <a:gd name="connsiteY23" fmla="*/ 220060 h 732125"/>
                <a:gd name="connsiteX24" fmla="*/ 1378307 w 2034499"/>
                <a:gd name="connsiteY24" fmla="*/ 0 h 732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34499" h="732125">
                  <a:moveTo>
                    <a:pt x="1378307" y="0"/>
                  </a:moveTo>
                  <a:cubicBezTo>
                    <a:pt x="1281011" y="0"/>
                    <a:pt x="1194076" y="44367"/>
                    <a:pt x="1136631" y="113973"/>
                  </a:cubicBezTo>
                  <a:lnTo>
                    <a:pt x="1133555" y="119043"/>
                  </a:lnTo>
                  <a:lnTo>
                    <a:pt x="1108754" y="93642"/>
                  </a:lnTo>
                  <a:cubicBezTo>
                    <a:pt x="1064740" y="60725"/>
                    <a:pt x="1010103" y="41232"/>
                    <a:pt x="950913" y="41232"/>
                  </a:cubicBezTo>
                  <a:cubicBezTo>
                    <a:pt x="896277" y="41232"/>
                    <a:pt x="845519" y="57841"/>
                    <a:pt x="803415" y="86286"/>
                  </a:cubicBezTo>
                  <a:lnTo>
                    <a:pt x="793876" y="94954"/>
                  </a:lnTo>
                  <a:lnTo>
                    <a:pt x="729046" y="60827"/>
                  </a:lnTo>
                  <a:cubicBezTo>
                    <a:pt x="699462" y="50816"/>
                    <a:pt x="667766" y="45388"/>
                    <a:pt x="634801" y="45388"/>
                  </a:cubicBezTo>
                  <a:cubicBezTo>
                    <a:pt x="513087" y="45388"/>
                    <a:pt x="408655" y="119389"/>
                    <a:pt x="364047" y="224855"/>
                  </a:cubicBezTo>
                  <a:lnTo>
                    <a:pt x="361533" y="232951"/>
                  </a:lnTo>
                  <a:lnTo>
                    <a:pt x="337888" y="224297"/>
                  </a:lnTo>
                  <a:cubicBezTo>
                    <a:pt x="313422" y="216687"/>
                    <a:pt x="287410" y="212588"/>
                    <a:pt x="260441" y="212588"/>
                  </a:cubicBezTo>
                  <a:cubicBezTo>
                    <a:pt x="116604" y="212588"/>
                    <a:pt x="0" y="329192"/>
                    <a:pt x="0" y="473030"/>
                  </a:cubicBezTo>
                  <a:cubicBezTo>
                    <a:pt x="0" y="607878"/>
                    <a:pt x="102483" y="718788"/>
                    <a:pt x="233812" y="732125"/>
                  </a:cubicBezTo>
                  <a:lnTo>
                    <a:pt x="1921711" y="729755"/>
                  </a:lnTo>
                  <a:cubicBezTo>
                    <a:pt x="2002863" y="708010"/>
                    <a:pt x="2051022" y="624595"/>
                    <a:pt x="2029279" y="543443"/>
                  </a:cubicBezTo>
                  <a:cubicBezTo>
                    <a:pt x="2010251" y="472434"/>
                    <a:pt x="1944009" y="426686"/>
                    <a:pt x="1873380" y="430926"/>
                  </a:cubicBezTo>
                  <a:lnTo>
                    <a:pt x="1861787" y="432813"/>
                  </a:lnTo>
                  <a:lnTo>
                    <a:pt x="1864989" y="413730"/>
                  </a:lnTo>
                  <a:cubicBezTo>
                    <a:pt x="1867419" y="379344"/>
                    <a:pt x="1859961" y="343890"/>
                    <a:pt x="1841428" y="311790"/>
                  </a:cubicBezTo>
                  <a:cubicBezTo>
                    <a:pt x="1810539" y="258291"/>
                    <a:pt x="1756201" y="226773"/>
                    <a:pt x="1698892" y="222722"/>
                  </a:cubicBezTo>
                  <a:lnTo>
                    <a:pt x="1678245" y="223266"/>
                  </a:lnTo>
                  <a:lnTo>
                    <a:pt x="1677421" y="220060"/>
                  </a:lnTo>
                  <a:cubicBezTo>
                    <a:pt x="1637766" y="92568"/>
                    <a:pt x="1518847" y="0"/>
                    <a:pt x="1378307" y="0"/>
                  </a:cubicBezTo>
                  <a:close/>
                </a:path>
              </a:pathLst>
            </a:custGeom>
            <a:ln>
              <a:headEnd/>
              <a:tailEnd/>
            </a:ln>
          </p:spPr>
          <p:style>
            <a:lnRef idx="2">
              <a:schemeClr val="accent1"/>
            </a:lnRef>
            <a:fillRef idx="1">
              <a:schemeClr val="lt1"/>
            </a:fillRef>
            <a:effectRef idx="0">
              <a:schemeClr val="accent1"/>
            </a:effectRef>
            <a:fontRef idx="minor">
              <a:schemeClr val="dk1"/>
            </a:fontRef>
          </p:style>
          <p:txBody>
            <a:bodyPr vert="horz" wrap="square" lIns="93260" tIns="46630" rIns="93260" bIns="46630" numCol="1" anchor="t" anchorCtr="0" compatLnSpc="1">
              <a:prstTxWarp prst="textNoShape">
                <a:avLst/>
              </a:prstTxWarp>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505050"/>
                </a:solidFill>
                <a:effectLst/>
                <a:uLnTx/>
                <a:uFillTx/>
              </a:endParaRPr>
            </a:p>
          </p:txBody>
        </p:sp>
      </p:grpSp>
      <p:sp>
        <p:nvSpPr>
          <p:cNvPr id="28" name="TextBox 27">
            <a:extLst>
              <a:ext uri="{FF2B5EF4-FFF2-40B4-BE49-F238E27FC236}">
                <a16:creationId xmlns:a16="http://schemas.microsoft.com/office/drawing/2014/main" id="{F0CDBA05-BB27-4924-AA83-331CE6E37601}"/>
              </a:ext>
            </a:extLst>
          </p:cNvPr>
          <p:cNvSpPr txBox="1"/>
          <p:nvPr/>
        </p:nvSpPr>
        <p:spPr>
          <a:xfrm>
            <a:off x="6569336" y="1569519"/>
            <a:ext cx="1635259" cy="439988"/>
          </a:xfrm>
          <a:prstGeom prst="rect">
            <a:avLst/>
          </a:prstGeom>
        </p:spPr>
        <p:style>
          <a:lnRef idx="2">
            <a:schemeClr val="accent1"/>
          </a:lnRef>
          <a:fillRef idx="1">
            <a:schemeClr val="lt1"/>
          </a:fillRef>
          <a:effectRef idx="0">
            <a:schemeClr val="accent1"/>
          </a:effectRef>
          <a:fontRef idx="minor">
            <a:schemeClr val="dk1"/>
          </a:fontRef>
        </p:style>
        <p:txBody>
          <a:bodyPr wrap="square" lIns="93260" tIns="46630" rIns="93260" bIns="46630" rtlCol="0">
            <a:spAutoFit/>
          </a:bodyPr>
          <a:lstStyle/>
          <a:p>
            <a:pPr algn="ctr" defTabSz="932597">
              <a:lnSpc>
                <a:spcPct val="90000"/>
              </a:lnSpc>
              <a:spcAft>
                <a:spcPts val="612"/>
              </a:spcAft>
              <a:defRPr/>
            </a:pPr>
            <a:r>
              <a:rPr lang="en-US" sz="1224" kern="0">
                <a:solidFill>
                  <a:srgbClr val="000000"/>
                </a:solidFill>
                <a:latin typeface="Segoe UI Semibold" panose="020B0702040204020203" pitchFamily="34" charset="0"/>
                <a:ea typeface="MS PGothic" charset="0"/>
                <a:cs typeface="Segoe UI Semibold" panose="020B0702040204020203" pitchFamily="34" charset="0"/>
              </a:rPr>
              <a:t>SQL Server cores with SA license</a:t>
            </a:r>
          </a:p>
        </p:txBody>
      </p:sp>
      <p:sp>
        <p:nvSpPr>
          <p:cNvPr id="29" name="TextBox 28">
            <a:extLst>
              <a:ext uri="{FF2B5EF4-FFF2-40B4-BE49-F238E27FC236}">
                <a16:creationId xmlns:a16="http://schemas.microsoft.com/office/drawing/2014/main" id="{1CC393B7-E880-47AD-BFE8-A1BE4AAEA736}"/>
              </a:ext>
            </a:extLst>
          </p:cNvPr>
          <p:cNvSpPr txBox="1"/>
          <p:nvPr/>
        </p:nvSpPr>
        <p:spPr>
          <a:xfrm>
            <a:off x="9680978" y="1569519"/>
            <a:ext cx="1652339" cy="439988"/>
          </a:xfrm>
          <a:prstGeom prst="rect">
            <a:avLst/>
          </a:prstGeom>
        </p:spPr>
        <p:style>
          <a:lnRef idx="2">
            <a:schemeClr val="accent1"/>
          </a:lnRef>
          <a:fillRef idx="1">
            <a:schemeClr val="lt1"/>
          </a:fillRef>
          <a:effectRef idx="0">
            <a:schemeClr val="accent1"/>
          </a:effectRef>
          <a:fontRef idx="minor">
            <a:schemeClr val="dk1"/>
          </a:fontRef>
        </p:style>
        <p:txBody>
          <a:bodyPr wrap="square" lIns="93260" tIns="46630" rIns="93260" bIns="46630" rtlCol="0">
            <a:spAutoFit/>
          </a:bodyPr>
          <a:lstStyle/>
          <a:p>
            <a:pPr algn="ctr" defTabSz="932597">
              <a:lnSpc>
                <a:spcPct val="90000"/>
              </a:lnSpc>
              <a:spcAft>
                <a:spcPts val="612"/>
              </a:spcAft>
              <a:defRPr/>
            </a:pPr>
            <a:r>
              <a:rPr lang="en-US" sz="1224" kern="0">
                <a:solidFill>
                  <a:srgbClr val="000000"/>
                </a:solidFill>
                <a:latin typeface="Segoe UI Semibold" panose="020B0702040204020203" pitchFamily="34" charset="0"/>
                <a:ea typeface="MS PGothic" charset="0"/>
                <a:cs typeface="Segoe UI Semibold" panose="020B0702040204020203" pitchFamily="34" charset="0"/>
              </a:rPr>
              <a:t>vCores on Azure SQL Database</a:t>
            </a:r>
          </a:p>
        </p:txBody>
      </p:sp>
      <p:cxnSp>
        <p:nvCxnSpPr>
          <p:cNvPr id="30" name="Straight Arrow Connector 29">
            <a:extLst>
              <a:ext uri="{FF2B5EF4-FFF2-40B4-BE49-F238E27FC236}">
                <a16:creationId xmlns:a16="http://schemas.microsoft.com/office/drawing/2014/main" id="{72D386E2-4ADC-459A-8420-EB56BA37E37D}"/>
              </a:ext>
            </a:extLst>
          </p:cNvPr>
          <p:cNvCxnSpPr/>
          <p:nvPr/>
        </p:nvCxnSpPr>
        <p:spPr>
          <a:xfrm>
            <a:off x="8363985" y="1786113"/>
            <a:ext cx="1010713" cy="0"/>
          </a:xfrm>
          <a:prstGeom prst="straightConnector1">
            <a:avLst/>
          </a:prstGeom>
          <a:ln>
            <a:headEnd type="none"/>
            <a:tailEnd type="triangle"/>
          </a:ln>
        </p:spPr>
        <p:style>
          <a:lnRef idx="2">
            <a:schemeClr val="accent1"/>
          </a:lnRef>
          <a:fillRef idx="1">
            <a:schemeClr val="lt1"/>
          </a:fillRef>
          <a:effectRef idx="0">
            <a:schemeClr val="accent1"/>
          </a:effectRef>
          <a:fontRef idx="minor">
            <a:schemeClr val="dk1"/>
          </a:fontRef>
        </p:style>
      </p:cxnSp>
      <p:sp useBgFill="1">
        <p:nvSpPr>
          <p:cNvPr id="31" name="Cylinder 30">
            <a:extLst>
              <a:ext uri="{FF2B5EF4-FFF2-40B4-BE49-F238E27FC236}">
                <a16:creationId xmlns:a16="http://schemas.microsoft.com/office/drawing/2014/main" id="{39A19690-73C7-4E93-A2A5-F111AD6F59D2}"/>
              </a:ext>
            </a:extLst>
          </p:cNvPr>
          <p:cNvSpPr/>
          <p:nvPr/>
        </p:nvSpPr>
        <p:spPr bwMode="auto">
          <a:xfrm>
            <a:off x="7188786" y="2344263"/>
            <a:ext cx="396356" cy="520716"/>
          </a:xfrm>
          <a:prstGeom prst="can">
            <a:avLst>
              <a:gd name="adj" fmla="val 39530"/>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0078D7"/>
              </a:solidFill>
              <a:effectLst/>
              <a:uLnTx/>
              <a:uFillTx/>
              <a:latin typeface="Segoe UI 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E5AB01EF-3997-4380-8792-5224830DEDB8}"/>
              </a:ext>
            </a:extLst>
          </p:cNvPr>
          <p:cNvSpPr/>
          <p:nvPr/>
        </p:nvSpPr>
        <p:spPr>
          <a:xfrm>
            <a:off x="6710915" y="5101959"/>
            <a:ext cx="1352101" cy="44639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defTabSz="932597">
              <a:defRPr/>
            </a:pPr>
            <a:r>
              <a:rPr lang="en-US" sz="1122" kern="0">
                <a:solidFill>
                  <a:srgbClr val="0078D7"/>
                </a:solidFill>
                <a:latin typeface="Segoe UI Semibold" panose="020B0702040204020203" pitchFamily="34" charset="0"/>
                <a:ea typeface="MS PGothic" charset="0"/>
                <a:cs typeface="Segoe UI Semibold" panose="020B0702040204020203" pitchFamily="34" charset="0"/>
              </a:rPr>
              <a:t>SQL Server Enterprise Edition</a:t>
            </a:r>
          </a:p>
        </p:txBody>
      </p:sp>
      <p:sp>
        <p:nvSpPr>
          <p:cNvPr id="33" name="Rectangle 32">
            <a:extLst>
              <a:ext uri="{FF2B5EF4-FFF2-40B4-BE49-F238E27FC236}">
                <a16:creationId xmlns:a16="http://schemas.microsoft.com/office/drawing/2014/main" id="{358CBBE6-960B-4B76-B2A2-DAF59061C14D}"/>
              </a:ext>
            </a:extLst>
          </p:cNvPr>
          <p:cNvSpPr/>
          <p:nvPr/>
        </p:nvSpPr>
        <p:spPr>
          <a:xfrm>
            <a:off x="6686043" y="2920503"/>
            <a:ext cx="1401842" cy="44639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defTabSz="932597">
              <a:defRPr/>
            </a:pPr>
            <a:r>
              <a:rPr lang="en-US" sz="1122" kern="0">
                <a:solidFill>
                  <a:srgbClr val="0078D7"/>
                </a:solidFill>
                <a:latin typeface="Segoe UI Semibold" panose="020B0702040204020203" pitchFamily="34" charset="0"/>
                <a:ea typeface="MS PGothic" charset="0"/>
                <a:cs typeface="Segoe UI Semibold" panose="020B0702040204020203" pitchFamily="34" charset="0"/>
              </a:rPr>
              <a:t>SQL Server</a:t>
            </a:r>
            <a:br>
              <a:rPr lang="en-US" sz="1122" kern="0">
                <a:solidFill>
                  <a:srgbClr val="0078D7"/>
                </a:solidFill>
                <a:latin typeface="Segoe UI Semibold" panose="020B0702040204020203" pitchFamily="34" charset="0"/>
                <a:ea typeface="MS PGothic" charset="0"/>
                <a:cs typeface="Segoe UI Semibold" panose="020B0702040204020203" pitchFamily="34" charset="0"/>
              </a:rPr>
            </a:br>
            <a:r>
              <a:rPr lang="en-US" sz="1122" kern="0">
                <a:solidFill>
                  <a:srgbClr val="0078D7"/>
                </a:solidFill>
                <a:latin typeface="Segoe UI Semibold" panose="020B0702040204020203" pitchFamily="34" charset="0"/>
                <a:ea typeface="MS PGothic" charset="0"/>
                <a:cs typeface="Segoe UI Semibold" panose="020B0702040204020203" pitchFamily="34" charset="0"/>
              </a:rPr>
              <a:t>Standard Edition </a:t>
            </a:r>
          </a:p>
        </p:txBody>
      </p:sp>
      <p:sp useBgFill="1">
        <p:nvSpPr>
          <p:cNvPr id="34" name="Cylinder 33">
            <a:extLst>
              <a:ext uri="{FF2B5EF4-FFF2-40B4-BE49-F238E27FC236}">
                <a16:creationId xmlns:a16="http://schemas.microsoft.com/office/drawing/2014/main" id="{C9BFDBCE-AA85-42E1-A73D-83711627DC37}"/>
              </a:ext>
            </a:extLst>
          </p:cNvPr>
          <p:cNvSpPr/>
          <p:nvPr/>
        </p:nvSpPr>
        <p:spPr bwMode="auto">
          <a:xfrm>
            <a:off x="7188786" y="4524943"/>
            <a:ext cx="396356" cy="520716"/>
          </a:xfrm>
          <a:prstGeom prst="can">
            <a:avLst>
              <a:gd name="adj" fmla="val 39530"/>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0078D7"/>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1523218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Benefits of Cloud Computing</a:t>
            </a:r>
          </a:p>
        </p:txBody>
      </p:sp>
      <p:grpSp>
        <p:nvGrpSpPr>
          <p:cNvPr id="3" name="Group 2" descr="Image showing 4 graphics:&#10;1) On and Off&#10;On and off workloads (for example: batch job).&#10;Over provisioned capacity is wasted.&#10;Time to market can be cumbersome. &#10;2) Growing Fast&#10;Successful services needs to grow/scale.   &#10;Keeping up with growth is a big IT challenge. &#10;Cannot provision hardware fast enough.&#10;3) Unpredictable Bursting&#10;Unexpected/unplanned peak in demand.  &#10;Sudden spike impacts performance. &#10;Cannot over provision for extreme cases.&#10;4) Predictable Bursting&#10;Services with micro seasonality trends.   &#10;Peaks due to periodic increased demand.&#10;IT complexity and wasted capacity.">
            <a:extLst>
              <a:ext uri="{FF2B5EF4-FFF2-40B4-BE49-F238E27FC236}">
                <a16:creationId xmlns:a16="http://schemas.microsoft.com/office/drawing/2014/main" id="{4D34517C-A9CA-4D67-9E91-2CBD2D1B944D}"/>
              </a:ext>
            </a:extLst>
          </p:cNvPr>
          <p:cNvGrpSpPr/>
          <p:nvPr/>
        </p:nvGrpSpPr>
        <p:grpSpPr>
          <a:xfrm>
            <a:off x="1870677" y="1024513"/>
            <a:ext cx="8894130" cy="5267147"/>
            <a:chOff x="2201218" y="1421320"/>
            <a:chExt cx="7314962" cy="4826215"/>
          </a:xfrm>
        </p:grpSpPr>
        <p:sp>
          <p:nvSpPr>
            <p:cNvPr id="6" name="Rounded Rectangle 10">
              <a:extLst>
                <a:ext uri="{FF2B5EF4-FFF2-40B4-BE49-F238E27FC236}">
                  <a16:creationId xmlns:a16="http://schemas.microsoft.com/office/drawing/2014/main" id="{EDB7564E-95B8-498D-A68B-0F745DF938D7}"/>
                </a:ext>
              </a:extLst>
            </p:cNvPr>
            <p:cNvSpPr/>
            <p:nvPr/>
          </p:nvSpPr>
          <p:spPr>
            <a:xfrm>
              <a:off x="2201218" y="1429919"/>
              <a:ext cx="7314962" cy="4817616"/>
            </a:xfrm>
            <a:prstGeom prst="roundRect">
              <a:avLst/>
            </a:prstGeom>
            <a:solidFill>
              <a:schemeClr val="bg1"/>
            </a:solidFill>
          </p:spPr>
          <p:style>
            <a:lnRef idx="1">
              <a:schemeClr val="accent1"/>
            </a:lnRef>
            <a:fillRef idx="3">
              <a:schemeClr val="accent1"/>
            </a:fillRef>
            <a:effectRef idx="2">
              <a:schemeClr val="accent1"/>
            </a:effectRef>
            <a:fontRef idx="minor">
              <a:schemeClr val="lt1"/>
            </a:fontRef>
          </p:style>
          <p:txBody>
            <a:bodyPr lIns="124309" tIns="62154" rIns="124309" bIns="62154" rtlCol="0" anchor="ctr"/>
            <a:lstStyle/>
            <a:p>
              <a:pPr algn="ctr" defTabSz="932384"/>
              <a:endParaRPr lang="en-US" sz="2754">
                <a:solidFill>
                  <a:srgbClr val="FFFFFF"/>
                </a:solidFill>
                <a:latin typeface="Segoe UI"/>
              </a:endParaRPr>
            </a:p>
          </p:txBody>
        </p:sp>
        <p:cxnSp>
          <p:nvCxnSpPr>
            <p:cNvPr id="7" name="Straight Arrow Connector 6">
              <a:extLst>
                <a:ext uri="{FF2B5EF4-FFF2-40B4-BE49-F238E27FC236}">
                  <a16:creationId xmlns:a16="http://schemas.microsoft.com/office/drawing/2014/main" id="{B6CA9BDF-3F50-427B-B968-73FEB652A872}"/>
                </a:ext>
              </a:extLst>
            </p:cNvPr>
            <p:cNvCxnSpPr>
              <a:cxnSpLocks/>
            </p:cNvCxnSpPr>
            <p:nvPr/>
          </p:nvCxnSpPr>
          <p:spPr bwMode="auto">
            <a:xfrm rot="16200000" flipV="1">
              <a:off x="2567073" y="1930025"/>
              <a:ext cx="766894" cy="4"/>
            </a:xfrm>
            <a:prstGeom prst="straightConnector1">
              <a:avLst/>
            </a:prstGeom>
            <a:noFill/>
            <a:ln w="25400" cap="flat" cmpd="sng" algn="ctr">
              <a:solidFill>
                <a:srgbClr val="292929"/>
              </a:solidFill>
              <a:prstDash val="solid"/>
              <a:headEnd type="none" w="med" len="med"/>
              <a:tailEnd type="triangle"/>
            </a:ln>
            <a:effectLst/>
          </p:spPr>
        </p:cxnSp>
        <p:cxnSp>
          <p:nvCxnSpPr>
            <p:cNvPr id="8" name="Straight Arrow Connector 7">
              <a:extLst>
                <a:ext uri="{FF2B5EF4-FFF2-40B4-BE49-F238E27FC236}">
                  <a16:creationId xmlns:a16="http://schemas.microsoft.com/office/drawing/2014/main" id="{3CF66CF4-251C-479C-8DFD-DA97C8AA0F0C}"/>
                </a:ext>
              </a:extLst>
            </p:cNvPr>
            <p:cNvCxnSpPr>
              <a:cxnSpLocks/>
            </p:cNvCxnSpPr>
            <p:nvPr/>
          </p:nvCxnSpPr>
          <p:spPr bwMode="auto">
            <a:xfrm>
              <a:off x="2950523" y="2304299"/>
              <a:ext cx="2785809" cy="801"/>
            </a:xfrm>
            <a:prstGeom prst="straightConnector1">
              <a:avLst/>
            </a:prstGeom>
            <a:noFill/>
            <a:ln w="25400" cap="flat" cmpd="sng" algn="ctr">
              <a:solidFill>
                <a:srgbClr val="292929"/>
              </a:solidFill>
              <a:prstDash val="solid"/>
              <a:headEnd type="none" w="med" len="med"/>
              <a:tailEnd type="triangle"/>
            </a:ln>
            <a:effectLst/>
          </p:spPr>
        </p:cxnSp>
        <p:sp>
          <p:nvSpPr>
            <p:cNvPr id="9" name="Text Placeholder 6">
              <a:extLst>
                <a:ext uri="{FF2B5EF4-FFF2-40B4-BE49-F238E27FC236}">
                  <a16:creationId xmlns:a16="http://schemas.microsoft.com/office/drawing/2014/main" id="{3E2A1003-40AF-44B8-BA85-28DCF450597B}"/>
                </a:ext>
              </a:extLst>
            </p:cNvPr>
            <p:cNvSpPr txBox="1">
              <a:spLocks/>
            </p:cNvSpPr>
            <p:nvPr/>
          </p:nvSpPr>
          <p:spPr bwMode="auto">
            <a:xfrm>
              <a:off x="5785054" y="2220038"/>
              <a:ext cx="1009448" cy="11531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002266" eaLnBrk="0" fontAlgn="base" hangingPunct="0">
                <a:spcBef>
                  <a:spcPct val="20000"/>
                </a:spcBef>
                <a:spcAft>
                  <a:spcPct val="0"/>
                </a:spcAft>
                <a:buClr>
                  <a:srgbClr val="000000"/>
                </a:buClr>
                <a:defRPr/>
              </a:pPr>
              <a:r>
                <a:rPr lang="en-US" sz="1224" i="1" kern="0">
                  <a:solidFill>
                    <a:srgbClr val="292929">
                      <a:alpha val="99000"/>
                    </a:srgbClr>
                  </a:solidFill>
                  <a:latin typeface="Segoe UI"/>
                </a:rPr>
                <a:t>t</a:t>
              </a:r>
            </a:p>
          </p:txBody>
        </p:sp>
        <p:sp>
          <p:nvSpPr>
            <p:cNvPr id="10" name="Rectangle 9">
              <a:extLst>
                <a:ext uri="{FF2B5EF4-FFF2-40B4-BE49-F238E27FC236}">
                  <a16:creationId xmlns:a16="http://schemas.microsoft.com/office/drawing/2014/main" id="{53D98052-D14F-42BA-92BB-9851E65DAB4B}"/>
                </a:ext>
              </a:extLst>
            </p:cNvPr>
            <p:cNvSpPr/>
            <p:nvPr/>
          </p:nvSpPr>
          <p:spPr>
            <a:xfrm rot="16200000">
              <a:off x="2316303" y="1891083"/>
              <a:ext cx="879852" cy="196762"/>
            </a:xfrm>
            <a:prstGeom prst="rect">
              <a:avLst/>
            </a:prstGeom>
            <a:ln>
              <a:noFill/>
            </a:ln>
          </p:spPr>
          <p:txBody>
            <a:bodyPr wrap="square" lIns="75192" tIns="37596" rIns="75192" bIns="37596">
              <a:spAutoFit/>
            </a:bodyPr>
            <a:lstStyle/>
            <a:p>
              <a:pPr marL="250568" indent="-250568" algn="ctr" defTabSz="1002266" eaLnBrk="0" fontAlgn="base" hangingPunct="0">
                <a:lnSpc>
                  <a:spcPts val="877"/>
                </a:lnSpc>
                <a:spcBef>
                  <a:spcPct val="20000"/>
                </a:spcBef>
                <a:spcAft>
                  <a:spcPct val="0"/>
                </a:spcAft>
                <a:buClr>
                  <a:srgbClr val="000000"/>
                </a:buClr>
                <a:defRPr/>
              </a:pPr>
              <a:r>
                <a:rPr lang="en-US" sz="1122" kern="0">
                  <a:solidFill>
                    <a:srgbClr val="292929">
                      <a:alpha val="99000"/>
                    </a:srgbClr>
                  </a:solidFill>
                  <a:latin typeface="Segoe UI"/>
                </a:rPr>
                <a:t>Compute </a:t>
              </a:r>
            </a:p>
          </p:txBody>
        </p:sp>
        <p:cxnSp>
          <p:nvCxnSpPr>
            <p:cNvPr id="11" name="Straight Arrow Connector 10">
              <a:extLst>
                <a:ext uri="{FF2B5EF4-FFF2-40B4-BE49-F238E27FC236}">
                  <a16:creationId xmlns:a16="http://schemas.microsoft.com/office/drawing/2014/main" id="{5BEF7A87-9DAA-4FFF-94AB-B054732AC944}"/>
                </a:ext>
              </a:extLst>
            </p:cNvPr>
            <p:cNvCxnSpPr>
              <a:cxnSpLocks/>
            </p:cNvCxnSpPr>
            <p:nvPr/>
          </p:nvCxnSpPr>
          <p:spPr bwMode="auto">
            <a:xfrm flipV="1">
              <a:off x="2950522" y="2018474"/>
              <a:ext cx="900076" cy="55994"/>
            </a:xfrm>
            <a:prstGeom prst="straightConnector1">
              <a:avLst/>
            </a:prstGeom>
            <a:noFill/>
            <a:ln w="25400" cap="flat" cmpd="sng" algn="ctr">
              <a:solidFill>
                <a:srgbClr val="292929"/>
              </a:solidFill>
              <a:prstDash val="solid"/>
              <a:headEnd type="none" w="med" len="med"/>
              <a:tailEnd type="triangle"/>
            </a:ln>
            <a:effectLst/>
          </p:spPr>
        </p:cxnSp>
        <p:cxnSp>
          <p:nvCxnSpPr>
            <p:cNvPr id="12" name="Straight Arrow Connector 11">
              <a:extLst>
                <a:ext uri="{FF2B5EF4-FFF2-40B4-BE49-F238E27FC236}">
                  <a16:creationId xmlns:a16="http://schemas.microsoft.com/office/drawing/2014/main" id="{19502B52-5A05-47BA-861C-ACD7AAC7738D}"/>
                </a:ext>
              </a:extLst>
            </p:cNvPr>
            <p:cNvCxnSpPr>
              <a:cxnSpLocks/>
            </p:cNvCxnSpPr>
            <p:nvPr/>
          </p:nvCxnSpPr>
          <p:spPr bwMode="auto">
            <a:xfrm flipV="1">
              <a:off x="4739406" y="2000505"/>
              <a:ext cx="943020" cy="73965"/>
            </a:xfrm>
            <a:prstGeom prst="straightConnector1">
              <a:avLst/>
            </a:prstGeom>
            <a:noFill/>
            <a:ln w="25400" cap="flat" cmpd="sng" algn="ctr">
              <a:solidFill>
                <a:srgbClr val="292929"/>
              </a:solidFill>
              <a:prstDash val="solid"/>
              <a:headEnd type="none" w="med" len="med"/>
              <a:tailEnd type="triangle"/>
            </a:ln>
            <a:effectLst/>
          </p:spPr>
        </p:cxnSp>
        <p:cxnSp>
          <p:nvCxnSpPr>
            <p:cNvPr id="13" name="Straight Connector 12">
              <a:extLst>
                <a:ext uri="{FF2B5EF4-FFF2-40B4-BE49-F238E27FC236}">
                  <a16:creationId xmlns:a16="http://schemas.microsoft.com/office/drawing/2014/main" id="{3D38FC40-1040-41CB-B8F4-3B028BE9B3C4}"/>
                </a:ext>
              </a:extLst>
            </p:cNvPr>
            <p:cNvCxnSpPr>
              <a:cxnSpLocks/>
            </p:cNvCxnSpPr>
            <p:nvPr/>
          </p:nvCxnSpPr>
          <p:spPr bwMode="auto">
            <a:xfrm rot="5400000" flipH="1" flipV="1">
              <a:off x="4375348" y="1939447"/>
              <a:ext cx="730722" cy="1383"/>
            </a:xfrm>
            <a:prstGeom prst="line">
              <a:avLst/>
            </a:prstGeom>
            <a:noFill/>
            <a:ln w="19050" cap="flat" cmpd="sng" algn="ctr">
              <a:solidFill>
                <a:srgbClr val="292929"/>
              </a:solidFill>
              <a:prstDash val="sysDot"/>
              <a:headEnd type="none" w="med" len="med"/>
              <a:tailEnd type="none" w="med" len="med"/>
            </a:ln>
            <a:effectLst/>
          </p:spPr>
        </p:cxnSp>
        <p:sp>
          <p:nvSpPr>
            <p:cNvPr id="14" name="Rectangle 13">
              <a:extLst>
                <a:ext uri="{FF2B5EF4-FFF2-40B4-BE49-F238E27FC236}">
                  <a16:creationId xmlns:a16="http://schemas.microsoft.com/office/drawing/2014/main" id="{FCBDD917-082F-4047-8A62-46398353D8FF}"/>
                </a:ext>
              </a:extLst>
            </p:cNvPr>
            <p:cNvSpPr/>
            <p:nvPr/>
          </p:nvSpPr>
          <p:spPr>
            <a:xfrm>
              <a:off x="3814657" y="1708746"/>
              <a:ext cx="986938" cy="520495"/>
            </a:xfrm>
            <a:prstGeom prst="rect">
              <a:avLst/>
            </a:prstGeom>
            <a:ln>
              <a:noFill/>
            </a:ln>
          </p:spPr>
          <p:txBody>
            <a:bodyPr wrap="square" lIns="75192" tIns="37596" rIns="75192" bIns="37596">
              <a:spAutoFit/>
            </a:bodyPr>
            <a:lstStyle/>
            <a:p>
              <a:pPr marL="250568" indent="-250568" algn="ctr" defTabSz="1002266" eaLnBrk="0" fontAlgn="base" hangingPunct="0">
                <a:lnSpc>
                  <a:spcPts val="877"/>
                </a:lnSpc>
                <a:spcBef>
                  <a:spcPct val="20000"/>
                </a:spcBef>
                <a:spcAft>
                  <a:spcPct val="0"/>
                </a:spcAft>
                <a:buClr>
                  <a:srgbClr val="000000"/>
                </a:buClr>
                <a:defRPr/>
              </a:pPr>
              <a:endParaRPr lang="en-US" sz="1122" kern="0">
                <a:solidFill>
                  <a:srgbClr val="292929">
                    <a:alpha val="99000"/>
                  </a:srgbClr>
                </a:solidFill>
                <a:latin typeface="Segoe UI"/>
              </a:endParaRPr>
            </a:p>
            <a:p>
              <a:pPr marL="250568" indent="-250568" algn="ctr" defTabSz="1002266" eaLnBrk="0" fontAlgn="base" hangingPunct="0">
                <a:lnSpc>
                  <a:spcPts val="877"/>
                </a:lnSpc>
                <a:spcAft>
                  <a:spcPts val="658"/>
                </a:spcAft>
                <a:buClr>
                  <a:srgbClr val="000000"/>
                </a:buClr>
                <a:defRPr/>
              </a:pPr>
              <a:r>
                <a:rPr lang="en-US" sz="1122" kern="0">
                  <a:solidFill>
                    <a:srgbClr val="292929">
                      <a:alpha val="99000"/>
                    </a:srgbClr>
                  </a:solidFill>
                  <a:latin typeface="Segoe UI"/>
                </a:rPr>
                <a:t>Inactivity</a:t>
              </a:r>
            </a:p>
            <a:p>
              <a:pPr marL="250568" indent="-250568" algn="ctr" defTabSz="1002266" eaLnBrk="0" fontAlgn="base" hangingPunct="0">
                <a:lnSpc>
                  <a:spcPts val="877"/>
                </a:lnSpc>
                <a:spcAft>
                  <a:spcPts val="658"/>
                </a:spcAft>
                <a:buClr>
                  <a:srgbClr val="000000"/>
                </a:buClr>
                <a:defRPr/>
              </a:pPr>
              <a:r>
                <a:rPr lang="en-US" sz="1122" kern="0">
                  <a:solidFill>
                    <a:srgbClr val="292929">
                      <a:alpha val="99000"/>
                    </a:srgbClr>
                  </a:solidFill>
                  <a:latin typeface="Segoe UI"/>
                </a:rPr>
                <a:t>Period </a:t>
              </a:r>
            </a:p>
          </p:txBody>
        </p:sp>
        <p:cxnSp>
          <p:nvCxnSpPr>
            <p:cNvPr id="15" name="Straight Connector 14">
              <a:extLst>
                <a:ext uri="{FF2B5EF4-FFF2-40B4-BE49-F238E27FC236}">
                  <a16:creationId xmlns:a16="http://schemas.microsoft.com/office/drawing/2014/main" id="{4EBD0CCB-611C-4FD5-948D-F5697EED421A}"/>
                </a:ext>
              </a:extLst>
            </p:cNvPr>
            <p:cNvCxnSpPr>
              <a:cxnSpLocks/>
            </p:cNvCxnSpPr>
            <p:nvPr/>
          </p:nvCxnSpPr>
          <p:spPr bwMode="auto">
            <a:xfrm rot="5400000" flipH="1" flipV="1">
              <a:off x="3504118" y="1939447"/>
              <a:ext cx="730722" cy="1383"/>
            </a:xfrm>
            <a:prstGeom prst="line">
              <a:avLst/>
            </a:prstGeom>
            <a:noFill/>
            <a:ln w="19050" cap="flat" cmpd="sng" algn="ctr">
              <a:solidFill>
                <a:srgbClr val="292929"/>
              </a:solidFill>
              <a:prstDash val="sysDot"/>
              <a:headEnd type="none" w="med" len="med"/>
              <a:tailEnd type="none" w="med" len="med"/>
            </a:ln>
            <a:effectLst/>
          </p:spPr>
        </p:cxnSp>
        <p:sp>
          <p:nvSpPr>
            <p:cNvPr id="16" name="Text Placeholder 6">
              <a:extLst>
                <a:ext uri="{FF2B5EF4-FFF2-40B4-BE49-F238E27FC236}">
                  <a16:creationId xmlns:a16="http://schemas.microsoft.com/office/drawing/2014/main" id="{ECEEC552-C320-4B8A-8E19-CCB704187752}"/>
                </a:ext>
              </a:extLst>
            </p:cNvPr>
            <p:cNvSpPr txBox="1">
              <a:spLocks/>
            </p:cNvSpPr>
            <p:nvPr/>
          </p:nvSpPr>
          <p:spPr bwMode="auto">
            <a:xfrm>
              <a:off x="5785054" y="3504832"/>
              <a:ext cx="1009448" cy="11531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002266" eaLnBrk="0" fontAlgn="base" hangingPunct="0">
                <a:spcBef>
                  <a:spcPct val="20000"/>
                </a:spcBef>
                <a:spcAft>
                  <a:spcPct val="0"/>
                </a:spcAft>
                <a:buClr>
                  <a:srgbClr val="000000"/>
                </a:buClr>
                <a:defRPr/>
              </a:pPr>
              <a:r>
                <a:rPr lang="en-US" sz="1224" i="1" kern="0">
                  <a:solidFill>
                    <a:srgbClr val="292929">
                      <a:alpha val="99000"/>
                    </a:srgbClr>
                  </a:solidFill>
                  <a:latin typeface="Segoe UI"/>
                </a:rPr>
                <a:t>t</a:t>
              </a:r>
            </a:p>
          </p:txBody>
        </p:sp>
        <p:sp>
          <p:nvSpPr>
            <p:cNvPr id="17" name="Text Placeholder 6">
              <a:extLst>
                <a:ext uri="{FF2B5EF4-FFF2-40B4-BE49-F238E27FC236}">
                  <a16:creationId xmlns:a16="http://schemas.microsoft.com/office/drawing/2014/main" id="{161959DF-3FEF-49EE-AD7F-BC2780D8C697}"/>
                </a:ext>
              </a:extLst>
            </p:cNvPr>
            <p:cNvSpPr txBox="1">
              <a:spLocks/>
            </p:cNvSpPr>
            <p:nvPr/>
          </p:nvSpPr>
          <p:spPr bwMode="auto">
            <a:xfrm>
              <a:off x="5785054" y="4718917"/>
              <a:ext cx="1009448" cy="11531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002266" eaLnBrk="0" fontAlgn="base" hangingPunct="0">
                <a:spcBef>
                  <a:spcPct val="20000"/>
                </a:spcBef>
                <a:spcAft>
                  <a:spcPct val="0"/>
                </a:spcAft>
                <a:buClr>
                  <a:srgbClr val="000000"/>
                </a:buClr>
                <a:defRPr/>
              </a:pPr>
              <a:r>
                <a:rPr lang="en-US" sz="1224" i="1" kern="0">
                  <a:solidFill>
                    <a:srgbClr val="292929">
                      <a:alpha val="99000"/>
                    </a:srgbClr>
                  </a:solidFill>
                  <a:latin typeface="Segoe UI"/>
                </a:rPr>
                <a:t>t</a:t>
              </a:r>
            </a:p>
          </p:txBody>
        </p:sp>
        <p:sp>
          <p:nvSpPr>
            <p:cNvPr id="18" name="Text Placeholder 6">
              <a:extLst>
                <a:ext uri="{FF2B5EF4-FFF2-40B4-BE49-F238E27FC236}">
                  <a16:creationId xmlns:a16="http://schemas.microsoft.com/office/drawing/2014/main" id="{4BBA0E84-B9B4-4172-8950-1FCD58746588}"/>
                </a:ext>
              </a:extLst>
            </p:cNvPr>
            <p:cNvSpPr txBox="1">
              <a:spLocks/>
            </p:cNvSpPr>
            <p:nvPr/>
          </p:nvSpPr>
          <p:spPr bwMode="auto">
            <a:xfrm>
              <a:off x="5785054" y="5953080"/>
              <a:ext cx="1009448" cy="153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002266" eaLnBrk="0" fontAlgn="base" hangingPunct="0">
                <a:spcBef>
                  <a:spcPct val="20000"/>
                </a:spcBef>
                <a:spcAft>
                  <a:spcPct val="0"/>
                </a:spcAft>
                <a:buClr>
                  <a:srgbClr val="000000"/>
                </a:buClr>
                <a:defRPr/>
              </a:pPr>
              <a:r>
                <a:rPr lang="en-US" sz="1224" i="1" kern="0">
                  <a:solidFill>
                    <a:srgbClr val="292929">
                      <a:alpha val="99000"/>
                    </a:srgbClr>
                  </a:solidFill>
                  <a:latin typeface="Segoe UI"/>
                </a:rPr>
                <a:t>t</a:t>
              </a:r>
            </a:p>
          </p:txBody>
        </p:sp>
        <p:grpSp>
          <p:nvGrpSpPr>
            <p:cNvPr id="19" name="Group 18">
              <a:extLst>
                <a:ext uri="{FF2B5EF4-FFF2-40B4-BE49-F238E27FC236}">
                  <a16:creationId xmlns:a16="http://schemas.microsoft.com/office/drawing/2014/main" id="{469D03F4-DEDA-4EA7-A144-54F37A55B242}"/>
                </a:ext>
              </a:extLst>
            </p:cNvPr>
            <p:cNvGrpSpPr/>
            <p:nvPr/>
          </p:nvGrpSpPr>
          <p:grpSpPr>
            <a:xfrm>
              <a:off x="6055101" y="1421320"/>
              <a:ext cx="2936499" cy="921245"/>
              <a:chOff x="342904" y="1233639"/>
              <a:chExt cx="3613707" cy="1075461"/>
            </a:xfrm>
          </p:grpSpPr>
          <p:sp>
            <p:nvSpPr>
              <p:cNvPr id="20" name="TextBox 19">
                <a:extLst>
                  <a:ext uri="{FF2B5EF4-FFF2-40B4-BE49-F238E27FC236}">
                    <a16:creationId xmlns:a16="http://schemas.microsoft.com/office/drawing/2014/main" id="{6E81D058-2C2E-45F3-B693-C5AA94C5BE0D}"/>
                  </a:ext>
                </a:extLst>
              </p:cNvPr>
              <p:cNvSpPr txBox="1"/>
              <p:nvPr/>
            </p:nvSpPr>
            <p:spPr>
              <a:xfrm>
                <a:off x="342904" y="1233639"/>
                <a:ext cx="3045807" cy="412518"/>
              </a:xfrm>
              <a:prstGeom prst="rect">
                <a:avLst/>
              </a:prstGeom>
              <a:noFill/>
              <a:ln>
                <a:noFill/>
              </a:ln>
            </p:spPr>
            <p:txBody>
              <a:bodyPr wrap="square" lIns="0" tIns="46615" rIns="0" bIns="46615" rtlCol="0">
                <a:spAutoFit/>
              </a:bodyPr>
              <a:lstStyle/>
              <a:p>
                <a:pPr defTabSz="1242953">
                  <a:lnSpc>
                    <a:spcPct val="90000"/>
                  </a:lnSpc>
                  <a:spcBef>
                    <a:spcPct val="20000"/>
                  </a:spcBef>
                  <a:defRPr/>
                </a:pPr>
                <a:r>
                  <a:rPr lang="en-US" sz="1836" kern="0">
                    <a:solidFill>
                      <a:srgbClr val="00AEEF">
                        <a:alpha val="99000"/>
                      </a:srgbClr>
                    </a:solidFill>
                    <a:latin typeface="Segoe UI" pitchFamily="34" charset="0"/>
                    <a:ea typeface="Segoe UI" pitchFamily="34" charset="0"/>
                    <a:cs typeface="Segoe UI" pitchFamily="34" charset="0"/>
                  </a:rPr>
                  <a:t>On and Off</a:t>
                </a:r>
              </a:p>
            </p:txBody>
          </p:sp>
          <p:sp>
            <p:nvSpPr>
              <p:cNvPr id="21" name="Rectangle 20">
                <a:extLst>
                  <a:ext uri="{FF2B5EF4-FFF2-40B4-BE49-F238E27FC236}">
                    <a16:creationId xmlns:a16="http://schemas.microsoft.com/office/drawing/2014/main" id="{B20EA901-F4CB-4705-9DB2-E22799A1E44B}"/>
                  </a:ext>
                </a:extLst>
              </p:cNvPr>
              <p:cNvSpPr/>
              <p:nvPr/>
            </p:nvSpPr>
            <p:spPr>
              <a:xfrm>
                <a:off x="342907" y="1692317"/>
                <a:ext cx="3613704" cy="616783"/>
              </a:xfrm>
              <a:prstGeom prst="rect">
                <a:avLst/>
              </a:prstGeom>
              <a:ln>
                <a:noFill/>
              </a:ln>
            </p:spPr>
            <p:txBody>
              <a:bodyPr wrap="square" lIns="0" tIns="0" rIns="0" bIns="0">
                <a:spAutoFit/>
              </a:bodyPr>
              <a:lstStyle/>
              <a:p>
                <a:pPr marL="0" lvl="1" defTabSz="1002183" fontAlgn="base">
                  <a:spcAft>
                    <a:spcPct val="0"/>
                  </a:spcAft>
                  <a:defRPr/>
                </a:pPr>
                <a:r>
                  <a:rPr lang="en-US" sz="1122" kern="0">
                    <a:solidFill>
                      <a:srgbClr val="292929">
                        <a:alpha val="99000"/>
                      </a:srgbClr>
                    </a:solidFill>
                    <a:latin typeface="Segoe UI"/>
                    <a:ea typeface="Kozuka Gothic Pro R" pitchFamily="34" charset="-128"/>
                  </a:rPr>
                  <a:t>On and off workloads (for example: batch job).</a:t>
                </a:r>
              </a:p>
              <a:p>
                <a:pPr marL="0" lvl="1" defTabSz="1002183" fontAlgn="base">
                  <a:spcAft>
                    <a:spcPct val="0"/>
                  </a:spcAft>
                  <a:defRPr/>
                </a:pPr>
                <a:r>
                  <a:rPr lang="en-US" sz="1122" kern="0">
                    <a:solidFill>
                      <a:srgbClr val="292929">
                        <a:alpha val="99000"/>
                      </a:srgbClr>
                    </a:solidFill>
                    <a:latin typeface="Segoe UI"/>
                    <a:ea typeface="Kozuka Gothic Pro R" pitchFamily="34" charset="-128"/>
                  </a:rPr>
                  <a:t>Over provisioned capacity is wasted.</a:t>
                </a:r>
              </a:p>
              <a:p>
                <a:pPr marL="0" lvl="1" defTabSz="1002183" fontAlgn="base">
                  <a:spcAft>
                    <a:spcPct val="0"/>
                  </a:spcAft>
                  <a:defRPr/>
                </a:pPr>
                <a:r>
                  <a:rPr lang="en-US" sz="1122" kern="0">
                    <a:solidFill>
                      <a:srgbClr val="292929">
                        <a:alpha val="99000"/>
                      </a:srgbClr>
                    </a:solidFill>
                    <a:latin typeface="Segoe UI"/>
                    <a:ea typeface="Kozuka Gothic Pro R" pitchFamily="34" charset="-128"/>
                  </a:rPr>
                  <a:t>Time to market can be cumbersome. </a:t>
                </a:r>
              </a:p>
            </p:txBody>
          </p:sp>
        </p:grpSp>
        <p:grpSp>
          <p:nvGrpSpPr>
            <p:cNvPr id="22" name="Group 21">
              <a:extLst>
                <a:ext uri="{FF2B5EF4-FFF2-40B4-BE49-F238E27FC236}">
                  <a16:creationId xmlns:a16="http://schemas.microsoft.com/office/drawing/2014/main" id="{06810C62-B434-4EEF-A49F-E1995C8EEE76}"/>
                </a:ext>
              </a:extLst>
            </p:cNvPr>
            <p:cNvGrpSpPr/>
            <p:nvPr/>
          </p:nvGrpSpPr>
          <p:grpSpPr>
            <a:xfrm>
              <a:off x="6063462" y="3888204"/>
              <a:ext cx="3156738" cy="968932"/>
              <a:chOff x="342905" y="3877806"/>
              <a:chExt cx="3821938" cy="1131130"/>
            </a:xfrm>
          </p:grpSpPr>
          <p:sp>
            <p:nvSpPr>
              <p:cNvPr id="23" name="TextBox 22">
                <a:extLst>
                  <a:ext uri="{FF2B5EF4-FFF2-40B4-BE49-F238E27FC236}">
                    <a16:creationId xmlns:a16="http://schemas.microsoft.com/office/drawing/2014/main" id="{E390664F-6716-4246-BB96-16AB3395289E}"/>
                  </a:ext>
                </a:extLst>
              </p:cNvPr>
              <p:cNvSpPr txBox="1"/>
              <p:nvPr/>
            </p:nvSpPr>
            <p:spPr>
              <a:xfrm>
                <a:off x="342905" y="3877806"/>
                <a:ext cx="3821938" cy="412518"/>
              </a:xfrm>
              <a:prstGeom prst="rect">
                <a:avLst/>
              </a:prstGeom>
              <a:noFill/>
              <a:ln>
                <a:noFill/>
              </a:ln>
            </p:spPr>
            <p:txBody>
              <a:bodyPr wrap="square" lIns="0" tIns="46615" rIns="0" bIns="46615" rtlCol="0">
                <a:spAutoFit/>
              </a:bodyPr>
              <a:lstStyle/>
              <a:p>
                <a:pPr defTabSz="1242953">
                  <a:lnSpc>
                    <a:spcPct val="90000"/>
                  </a:lnSpc>
                  <a:spcBef>
                    <a:spcPct val="20000"/>
                  </a:spcBef>
                  <a:defRPr/>
                </a:pPr>
                <a:r>
                  <a:rPr lang="en-US" sz="1836" kern="0">
                    <a:solidFill>
                      <a:srgbClr val="00AEEF">
                        <a:alpha val="99000"/>
                      </a:srgbClr>
                    </a:solidFill>
                    <a:latin typeface="Segoe UI" pitchFamily="34" charset="0"/>
                    <a:ea typeface="Segoe UI" pitchFamily="34" charset="0"/>
                    <a:cs typeface="Segoe UI" pitchFamily="34" charset="0"/>
                  </a:rPr>
                  <a:t>Unpredictable Bursting</a:t>
                </a:r>
              </a:p>
            </p:txBody>
          </p:sp>
          <p:sp>
            <p:nvSpPr>
              <p:cNvPr id="24" name="Rectangle 23">
                <a:extLst>
                  <a:ext uri="{FF2B5EF4-FFF2-40B4-BE49-F238E27FC236}">
                    <a16:creationId xmlns:a16="http://schemas.microsoft.com/office/drawing/2014/main" id="{92417CAE-9A14-44D6-ABD6-6AA818C4E2E6}"/>
                  </a:ext>
                </a:extLst>
              </p:cNvPr>
              <p:cNvSpPr/>
              <p:nvPr/>
            </p:nvSpPr>
            <p:spPr>
              <a:xfrm>
                <a:off x="342905" y="4392153"/>
                <a:ext cx="3599725" cy="616783"/>
              </a:xfrm>
              <a:prstGeom prst="rect">
                <a:avLst/>
              </a:prstGeom>
              <a:ln>
                <a:noFill/>
              </a:ln>
            </p:spPr>
            <p:txBody>
              <a:bodyPr wrap="square" lIns="0" tIns="0" rIns="0" bIns="0">
                <a:spAutoFit/>
              </a:bodyPr>
              <a:lstStyle/>
              <a:p>
                <a:pPr marL="0" lvl="1" defTabSz="1002183" fontAlgn="base">
                  <a:spcAft>
                    <a:spcPct val="0"/>
                  </a:spcAft>
                  <a:defRPr/>
                </a:pPr>
                <a:r>
                  <a:rPr lang="en-US" sz="1122" kern="0">
                    <a:solidFill>
                      <a:srgbClr val="292929">
                        <a:alpha val="99000"/>
                      </a:srgbClr>
                    </a:solidFill>
                    <a:latin typeface="Segoe UI"/>
                    <a:ea typeface="Kozuka Gothic Pro R" pitchFamily="34" charset="-128"/>
                  </a:rPr>
                  <a:t>Unexpected/unplanned peak in demand.  </a:t>
                </a:r>
              </a:p>
              <a:p>
                <a:pPr marL="0" lvl="1" defTabSz="1002183" fontAlgn="base">
                  <a:spcAft>
                    <a:spcPct val="0"/>
                  </a:spcAft>
                  <a:defRPr/>
                </a:pPr>
                <a:r>
                  <a:rPr lang="en-US" sz="1122" kern="0">
                    <a:solidFill>
                      <a:srgbClr val="292929">
                        <a:alpha val="99000"/>
                      </a:srgbClr>
                    </a:solidFill>
                    <a:latin typeface="Segoe UI"/>
                    <a:ea typeface="Kozuka Gothic Pro R" pitchFamily="34" charset="-128"/>
                  </a:rPr>
                  <a:t>Sudden spike impacts performance. </a:t>
                </a:r>
              </a:p>
              <a:p>
                <a:pPr marL="0" lvl="1" defTabSz="1002183" fontAlgn="base">
                  <a:spcAft>
                    <a:spcPct val="0"/>
                  </a:spcAft>
                  <a:defRPr/>
                </a:pPr>
                <a:r>
                  <a:rPr lang="en-US" sz="1122" kern="0">
                    <a:solidFill>
                      <a:srgbClr val="292929">
                        <a:alpha val="99000"/>
                      </a:srgbClr>
                    </a:solidFill>
                    <a:latin typeface="Segoe UI"/>
                    <a:ea typeface="Kozuka Gothic Pro R" pitchFamily="34" charset="-128"/>
                  </a:rPr>
                  <a:t>Cannot over provision for extreme cases.</a:t>
                </a:r>
              </a:p>
            </p:txBody>
          </p:sp>
        </p:grpSp>
        <p:cxnSp>
          <p:nvCxnSpPr>
            <p:cNvPr id="25" name="Straight Arrow Connector 24">
              <a:extLst>
                <a:ext uri="{FF2B5EF4-FFF2-40B4-BE49-F238E27FC236}">
                  <a16:creationId xmlns:a16="http://schemas.microsoft.com/office/drawing/2014/main" id="{B5F70571-79C1-493D-ADDD-BE3B9275586D}"/>
                </a:ext>
              </a:extLst>
            </p:cNvPr>
            <p:cNvCxnSpPr>
              <a:cxnSpLocks/>
            </p:cNvCxnSpPr>
            <p:nvPr/>
          </p:nvCxnSpPr>
          <p:spPr bwMode="auto">
            <a:xfrm flipH="1" flipV="1">
              <a:off x="2958848" y="4023587"/>
              <a:ext cx="4" cy="768756"/>
            </a:xfrm>
            <a:prstGeom prst="straightConnector1">
              <a:avLst/>
            </a:prstGeom>
            <a:noFill/>
            <a:ln w="25400" cap="flat" cmpd="sng" algn="ctr">
              <a:solidFill>
                <a:srgbClr val="292929"/>
              </a:solidFill>
              <a:prstDash val="solid"/>
              <a:headEnd type="none" w="med" len="med"/>
              <a:tailEnd type="triangle"/>
            </a:ln>
            <a:effectLst/>
          </p:spPr>
        </p:cxnSp>
        <p:cxnSp>
          <p:nvCxnSpPr>
            <p:cNvPr id="26" name="Straight Arrow Connector 25">
              <a:extLst>
                <a:ext uri="{FF2B5EF4-FFF2-40B4-BE49-F238E27FC236}">
                  <a16:creationId xmlns:a16="http://schemas.microsoft.com/office/drawing/2014/main" id="{119B66B4-4D7A-467A-B3CE-BEBB005ED6AA}"/>
                </a:ext>
              </a:extLst>
            </p:cNvPr>
            <p:cNvCxnSpPr>
              <a:cxnSpLocks/>
            </p:cNvCxnSpPr>
            <p:nvPr/>
          </p:nvCxnSpPr>
          <p:spPr bwMode="auto">
            <a:xfrm>
              <a:off x="2958850" y="4783101"/>
              <a:ext cx="2785809" cy="801"/>
            </a:xfrm>
            <a:prstGeom prst="straightConnector1">
              <a:avLst/>
            </a:prstGeom>
            <a:noFill/>
            <a:ln w="25400" cap="flat" cmpd="sng" algn="ctr">
              <a:solidFill>
                <a:srgbClr val="292929"/>
              </a:solidFill>
              <a:prstDash val="solid"/>
              <a:headEnd type="none" w="med" len="med"/>
              <a:tailEnd type="triangle"/>
            </a:ln>
            <a:effectLst/>
          </p:spPr>
        </p:cxnSp>
        <p:sp>
          <p:nvSpPr>
            <p:cNvPr id="27" name="Rectangle 26">
              <a:extLst>
                <a:ext uri="{FF2B5EF4-FFF2-40B4-BE49-F238E27FC236}">
                  <a16:creationId xmlns:a16="http://schemas.microsoft.com/office/drawing/2014/main" id="{693CA917-DEBE-45D0-8561-ABC9DC2A2B3E}"/>
                </a:ext>
              </a:extLst>
            </p:cNvPr>
            <p:cNvSpPr/>
            <p:nvPr/>
          </p:nvSpPr>
          <p:spPr>
            <a:xfrm rot="16200000">
              <a:off x="2327891" y="4356925"/>
              <a:ext cx="873331" cy="196762"/>
            </a:xfrm>
            <a:prstGeom prst="rect">
              <a:avLst/>
            </a:prstGeom>
            <a:ln>
              <a:noFill/>
            </a:ln>
          </p:spPr>
          <p:txBody>
            <a:bodyPr wrap="square" lIns="75192" tIns="37596" rIns="75192" bIns="37596">
              <a:spAutoFit/>
            </a:bodyPr>
            <a:lstStyle/>
            <a:p>
              <a:pPr marL="250568" indent="-250568" algn="ctr" defTabSz="1002266" eaLnBrk="0" fontAlgn="base" hangingPunct="0">
                <a:lnSpc>
                  <a:spcPts val="877"/>
                </a:lnSpc>
                <a:spcBef>
                  <a:spcPct val="20000"/>
                </a:spcBef>
                <a:spcAft>
                  <a:spcPct val="0"/>
                </a:spcAft>
                <a:buClr>
                  <a:srgbClr val="000000"/>
                </a:buClr>
                <a:defRPr/>
              </a:pPr>
              <a:r>
                <a:rPr lang="en-US" sz="1122" kern="0">
                  <a:solidFill>
                    <a:srgbClr val="292929">
                      <a:alpha val="99000"/>
                    </a:srgbClr>
                  </a:solidFill>
                  <a:latin typeface="Segoe UI"/>
                </a:rPr>
                <a:t>Compute </a:t>
              </a:r>
            </a:p>
          </p:txBody>
        </p:sp>
        <p:grpSp>
          <p:nvGrpSpPr>
            <p:cNvPr id="28" name="Group 27">
              <a:extLst>
                <a:ext uri="{FF2B5EF4-FFF2-40B4-BE49-F238E27FC236}">
                  <a16:creationId xmlns:a16="http://schemas.microsoft.com/office/drawing/2014/main" id="{0438842F-E604-43D4-8894-732D926E0D21}"/>
                </a:ext>
              </a:extLst>
            </p:cNvPr>
            <p:cNvGrpSpPr/>
            <p:nvPr/>
          </p:nvGrpSpPr>
          <p:grpSpPr>
            <a:xfrm>
              <a:off x="2953595" y="4112606"/>
              <a:ext cx="2785152" cy="421773"/>
              <a:chOff x="5520892" y="5257417"/>
              <a:chExt cx="3307216" cy="721360"/>
            </a:xfrm>
          </p:grpSpPr>
          <p:cxnSp>
            <p:nvCxnSpPr>
              <p:cNvPr id="29" name="Straight Arrow Connector 28">
                <a:extLst>
                  <a:ext uri="{FF2B5EF4-FFF2-40B4-BE49-F238E27FC236}">
                    <a16:creationId xmlns:a16="http://schemas.microsoft.com/office/drawing/2014/main" id="{2D1B10C7-DCE6-4EC2-AEEB-8D2DDA1DCB3B}"/>
                  </a:ext>
                </a:extLst>
              </p:cNvPr>
              <p:cNvCxnSpPr/>
              <p:nvPr/>
            </p:nvCxnSpPr>
            <p:spPr bwMode="auto">
              <a:xfrm>
                <a:off x="7600265" y="5975286"/>
                <a:ext cx="1227843" cy="2508"/>
              </a:xfrm>
              <a:prstGeom prst="straightConnector1">
                <a:avLst/>
              </a:prstGeom>
              <a:noFill/>
              <a:ln w="25400" cap="flat" cmpd="sng" algn="ctr">
                <a:solidFill>
                  <a:srgbClr val="292929"/>
                </a:solidFill>
                <a:prstDash val="solid"/>
                <a:headEnd type="none" w="med" len="med"/>
                <a:tailEnd type="triangle"/>
              </a:ln>
              <a:effectLst/>
            </p:spPr>
          </p:cxnSp>
          <p:cxnSp>
            <p:nvCxnSpPr>
              <p:cNvPr id="30" name="Straight Connector 29">
                <a:extLst>
                  <a:ext uri="{FF2B5EF4-FFF2-40B4-BE49-F238E27FC236}">
                    <a16:creationId xmlns:a16="http://schemas.microsoft.com/office/drawing/2014/main" id="{CF57AC37-B68A-41FB-848F-A99F68FE0AE1}"/>
                  </a:ext>
                </a:extLst>
              </p:cNvPr>
              <p:cNvCxnSpPr>
                <a:endCxn id="31" idx="0"/>
              </p:cNvCxnSpPr>
              <p:nvPr/>
            </p:nvCxnSpPr>
            <p:spPr bwMode="auto">
              <a:xfrm>
                <a:off x="5520892" y="5967876"/>
                <a:ext cx="1168667" cy="0"/>
              </a:xfrm>
              <a:prstGeom prst="line">
                <a:avLst/>
              </a:prstGeom>
              <a:noFill/>
              <a:ln w="25400" cap="flat" cmpd="sng" algn="ctr">
                <a:solidFill>
                  <a:srgbClr val="292929"/>
                </a:solidFill>
                <a:prstDash val="solid"/>
                <a:headEnd type="none" w="med" len="med"/>
                <a:tailEnd type="triangle"/>
              </a:ln>
              <a:effectLst/>
            </p:spPr>
          </p:cxnSp>
          <p:sp>
            <p:nvSpPr>
              <p:cNvPr id="31" name="Freeform 83">
                <a:extLst>
                  <a:ext uri="{FF2B5EF4-FFF2-40B4-BE49-F238E27FC236}">
                    <a16:creationId xmlns:a16="http://schemas.microsoft.com/office/drawing/2014/main" id="{072E2710-6BF4-4D5E-804E-1D77173F811D}"/>
                  </a:ext>
                </a:extLst>
              </p:cNvPr>
              <p:cNvSpPr/>
              <p:nvPr/>
            </p:nvSpPr>
            <p:spPr>
              <a:xfrm>
                <a:off x="6689558" y="5257417"/>
                <a:ext cx="899962"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noFill/>
              <a:ln w="25400" cap="flat" cmpd="sng" algn="ctr">
                <a:solidFill>
                  <a:srgbClr val="292929"/>
                </a:solidFill>
                <a:prstDash val="solid"/>
                <a:headEnd type="none" w="med" len="med"/>
                <a:tailEnd type="triangle"/>
              </a:ln>
              <a:effectLst/>
            </p:spPr>
            <p:txBody>
              <a:bodyPr rtlCol="0" anchor="ctr"/>
              <a:lstStyle/>
              <a:p>
                <a:pPr algn="ctr" defTabSz="1242953">
                  <a:defRPr/>
                </a:pPr>
                <a:endParaRPr lang="en-US" sz="2754" kern="0">
                  <a:solidFill>
                    <a:srgbClr val="292929"/>
                  </a:solidFill>
                  <a:latin typeface="Segoe UI"/>
                </a:endParaRPr>
              </a:p>
            </p:txBody>
          </p:sp>
        </p:grpSp>
        <p:grpSp>
          <p:nvGrpSpPr>
            <p:cNvPr id="32" name="Group 31">
              <a:extLst>
                <a:ext uri="{FF2B5EF4-FFF2-40B4-BE49-F238E27FC236}">
                  <a16:creationId xmlns:a16="http://schemas.microsoft.com/office/drawing/2014/main" id="{418424C3-0316-4737-8B67-DB7EB144EC94}"/>
                </a:ext>
              </a:extLst>
            </p:cNvPr>
            <p:cNvGrpSpPr/>
            <p:nvPr/>
          </p:nvGrpSpPr>
          <p:grpSpPr>
            <a:xfrm>
              <a:off x="6063461" y="2671393"/>
              <a:ext cx="3085844" cy="928267"/>
              <a:chOff x="342905" y="2485579"/>
              <a:chExt cx="3492569" cy="1083658"/>
            </a:xfrm>
          </p:grpSpPr>
          <p:sp>
            <p:nvSpPr>
              <p:cNvPr id="33" name="TextBox 32">
                <a:extLst>
                  <a:ext uri="{FF2B5EF4-FFF2-40B4-BE49-F238E27FC236}">
                    <a16:creationId xmlns:a16="http://schemas.microsoft.com/office/drawing/2014/main" id="{9C64DC7D-0101-4AA6-8FEB-A86048BA6044}"/>
                  </a:ext>
                </a:extLst>
              </p:cNvPr>
              <p:cNvSpPr txBox="1"/>
              <p:nvPr/>
            </p:nvSpPr>
            <p:spPr>
              <a:xfrm>
                <a:off x="342905" y="2485579"/>
                <a:ext cx="3119051" cy="412518"/>
              </a:xfrm>
              <a:prstGeom prst="rect">
                <a:avLst/>
              </a:prstGeom>
              <a:noFill/>
              <a:ln>
                <a:noFill/>
              </a:ln>
            </p:spPr>
            <p:txBody>
              <a:bodyPr wrap="square" lIns="0" tIns="46615" rIns="0" bIns="46615" rtlCol="0">
                <a:spAutoFit/>
              </a:bodyPr>
              <a:lstStyle/>
              <a:p>
                <a:pPr defTabSz="1242953">
                  <a:lnSpc>
                    <a:spcPct val="90000"/>
                  </a:lnSpc>
                  <a:spcBef>
                    <a:spcPct val="20000"/>
                  </a:spcBef>
                  <a:defRPr/>
                </a:pPr>
                <a:r>
                  <a:rPr lang="en-US" sz="1836" kern="0">
                    <a:solidFill>
                      <a:srgbClr val="00AEEF">
                        <a:alpha val="99000"/>
                      </a:srgbClr>
                    </a:solidFill>
                    <a:latin typeface="Segoe UI" pitchFamily="34" charset="0"/>
                    <a:ea typeface="Segoe UI" pitchFamily="34" charset="0"/>
                    <a:cs typeface="Segoe UI" pitchFamily="34" charset="0"/>
                  </a:rPr>
                  <a:t>Growing Fast</a:t>
                </a:r>
              </a:p>
            </p:txBody>
          </p:sp>
          <p:sp>
            <p:nvSpPr>
              <p:cNvPr id="34" name="Rectangle 33">
                <a:extLst>
                  <a:ext uri="{FF2B5EF4-FFF2-40B4-BE49-F238E27FC236}">
                    <a16:creationId xmlns:a16="http://schemas.microsoft.com/office/drawing/2014/main" id="{847C9069-C19A-412E-A65D-5C4D482A56DA}"/>
                  </a:ext>
                </a:extLst>
              </p:cNvPr>
              <p:cNvSpPr/>
              <p:nvPr/>
            </p:nvSpPr>
            <p:spPr>
              <a:xfrm>
                <a:off x="342905" y="2952454"/>
                <a:ext cx="3492569" cy="616783"/>
              </a:xfrm>
              <a:prstGeom prst="rect">
                <a:avLst/>
              </a:prstGeom>
              <a:ln>
                <a:noFill/>
              </a:ln>
            </p:spPr>
            <p:txBody>
              <a:bodyPr wrap="square" lIns="0" tIns="0" rIns="0" bIns="0">
                <a:spAutoFit/>
              </a:bodyPr>
              <a:lstStyle/>
              <a:p>
                <a:pPr marL="0" lvl="1" defTabSz="1002183" fontAlgn="base">
                  <a:spcAft>
                    <a:spcPct val="0"/>
                  </a:spcAft>
                  <a:defRPr/>
                </a:pPr>
                <a:r>
                  <a:rPr lang="en-US" sz="1122" kern="0">
                    <a:solidFill>
                      <a:srgbClr val="292929">
                        <a:alpha val="99000"/>
                      </a:srgbClr>
                    </a:solidFill>
                    <a:latin typeface="Segoe UI"/>
                    <a:ea typeface="Kozuka Gothic Pro R" pitchFamily="34" charset="-128"/>
                  </a:rPr>
                  <a:t>Successful services needs to grow/scale.   </a:t>
                </a:r>
              </a:p>
              <a:p>
                <a:pPr marL="0" lvl="1" defTabSz="1002183" fontAlgn="base">
                  <a:spcAft>
                    <a:spcPct val="0"/>
                  </a:spcAft>
                  <a:defRPr/>
                </a:pPr>
                <a:r>
                  <a:rPr lang="en-US" sz="1122" kern="0">
                    <a:solidFill>
                      <a:srgbClr val="292929">
                        <a:alpha val="99000"/>
                      </a:srgbClr>
                    </a:solidFill>
                    <a:latin typeface="Segoe UI"/>
                    <a:ea typeface="Kozuka Gothic Pro R" pitchFamily="34" charset="-128"/>
                  </a:rPr>
                  <a:t>Keeping up with growth is a big IT challenge. </a:t>
                </a:r>
              </a:p>
              <a:p>
                <a:pPr marL="0" lvl="1" defTabSz="1002183" fontAlgn="base">
                  <a:spcAft>
                    <a:spcPct val="0"/>
                  </a:spcAft>
                  <a:defRPr/>
                </a:pPr>
                <a:r>
                  <a:rPr lang="en-US" sz="1122" kern="0">
                    <a:solidFill>
                      <a:srgbClr val="292929">
                        <a:alpha val="99000"/>
                      </a:srgbClr>
                    </a:solidFill>
                    <a:latin typeface="Segoe UI"/>
                    <a:ea typeface="Kozuka Gothic Pro R" pitchFamily="34" charset="-128"/>
                  </a:rPr>
                  <a:t>Cannot provision hardware fast enough.</a:t>
                </a:r>
              </a:p>
            </p:txBody>
          </p:sp>
        </p:grpSp>
        <p:cxnSp>
          <p:nvCxnSpPr>
            <p:cNvPr id="35" name="Straight Arrow Connector 34">
              <a:extLst>
                <a:ext uri="{FF2B5EF4-FFF2-40B4-BE49-F238E27FC236}">
                  <a16:creationId xmlns:a16="http://schemas.microsoft.com/office/drawing/2014/main" id="{BB1BC3D7-28B2-4A1C-8526-B0123B2A2446}"/>
                </a:ext>
              </a:extLst>
            </p:cNvPr>
            <p:cNvCxnSpPr>
              <a:cxnSpLocks/>
            </p:cNvCxnSpPr>
            <p:nvPr/>
          </p:nvCxnSpPr>
          <p:spPr bwMode="auto">
            <a:xfrm flipH="1" flipV="1">
              <a:off x="2950519" y="2776748"/>
              <a:ext cx="3073" cy="797087"/>
            </a:xfrm>
            <a:prstGeom prst="straightConnector1">
              <a:avLst/>
            </a:prstGeom>
            <a:noFill/>
            <a:ln w="25400" cap="flat" cmpd="sng" algn="ctr">
              <a:solidFill>
                <a:srgbClr val="292929"/>
              </a:solidFill>
              <a:prstDash val="solid"/>
              <a:headEnd type="none" w="med" len="med"/>
              <a:tailEnd type="triangle"/>
            </a:ln>
            <a:effectLst/>
          </p:spPr>
        </p:cxnSp>
        <p:cxnSp>
          <p:nvCxnSpPr>
            <p:cNvPr id="36" name="Straight Arrow Connector 35">
              <a:extLst>
                <a:ext uri="{FF2B5EF4-FFF2-40B4-BE49-F238E27FC236}">
                  <a16:creationId xmlns:a16="http://schemas.microsoft.com/office/drawing/2014/main" id="{8A808728-50BE-44C3-B429-1C76E0B3F888}"/>
                </a:ext>
              </a:extLst>
            </p:cNvPr>
            <p:cNvCxnSpPr>
              <a:cxnSpLocks/>
            </p:cNvCxnSpPr>
            <p:nvPr/>
          </p:nvCxnSpPr>
          <p:spPr bwMode="auto">
            <a:xfrm>
              <a:off x="2953596" y="3562114"/>
              <a:ext cx="2785809" cy="801"/>
            </a:xfrm>
            <a:prstGeom prst="straightConnector1">
              <a:avLst/>
            </a:prstGeom>
            <a:noFill/>
            <a:ln w="25400" cap="flat" cmpd="sng" algn="ctr">
              <a:solidFill>
                <a:srgbClr val="292929"/>
              </a:solidFill>
              <a:prstDash val="solid"/>
              <a:headEnd type="none" w="med" len="med"/>
              <a:tailEnd type="triangle"/>
            </a:ln>
            <a:effectLst/>
          </p:spPr>
        </p:cxnSp>
        <p:sp>
          <p:nvSpPr>
            <p:cNvPr id="37" name="Rectangle 36">
              <a:extLst>
                <a:ext uri="{FF2B5EF4-FFF2-40B4-BE49-F238E27FC236}">
                  <a16:creationId xmlns:a16="http://schemas.microsoft.com/office/drawing/2014/main" id="{C1678387-11D3-47A8-BF88-479655335A22}"/>
                </a:ext>
              </a:extLst>
            </p:cNvPr>
            <p:cNvSpPr/>
            <p:nvPr/>
          </p:nvSpPr>
          <p:spPr>
            <a:xfrm rot="16200000">
              <a:off x="2321523" y="3154121"/>
              <a:ext cx="869411" cy="196762"/>
            </a:xfrm>
            <a:prstGeom prst="rect">
              <a:avLst/>
            </a:prstGeom>
            <a:ln>
              <a:noFill/>
            </a:ln>
          </p:spPr>
          <p:txBody>
            <a:bodyPr wrap="square" lIns="75192" tIns="37596" rIns="75192" bIns="37596">
              <a:spAutoFit/>
            </a:bodyPr>
            <a:lstStyle/>
            <a:p>
              <a:pPr marL="250568" indent="-250568" algn="ctr" defTabSz="1002266" eaLnBrk="0" fontAlgn="base" hangingPunct="0">
                <a:lnSpc>
                  <a:spcPts val="877"/>
                </a:lnSpc>
                <a:spcBef>
                  <a:spcPct val="20000"/>
                </a:spcBef>
                <a:spcAft>
                  <a:spcPct val="0"/>
                </a:spcAft>
                <a:buClr>
                  <a:srgbClr val="000000"/>
                </a:buClr>
                <a:defRPr/>
              </a:pPr>
              <a:r>
                <a:rPr lang="en-US" sz="1122" kern="0">
                  <a:solidFill>
                    <a:srgbClr val="292929">
                      <a:alpha val="99000"/>
                    </a:srgbClr>
                  </a:solidFill>
                  <a:latin typeface="Segoe UI"/>
                </a:rPr>
                <a:t>Compute </a:t>
              </a:r>
            </a:p>
          </p:txBody>
        </p:sp>
        <p:sp>
          <p:nvSpPr>
            <p:cNvPr id="38" name="Freeform 90">
              <a:extLst>
                <a:ext uri="{FF2B5EF4-FFF2-40B4-BE49-F238E27FC236}">
                  <a16:creationId xmlns:a16="http://schemas.microsoft.com/office/drawing/2014/main" id="{E12235C6-BFFD-4659-B7A0-C596D372C69B}"/>
                </a:ext>
              </a:extLst>
            </p:cNvPr>
            <p:cNvSpPr/>
            <p:nvPr/>
          </p:nvSpPr>
          <p:spPr>
            <a:xfrm>
              <a:off x="2945362" y="2822580"/>
              <a:ext cx="2726356" cy="737233"/>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ln w="25400">
              <a:solidFill>
                <a:srgbClr val="292929"/>
              </a:solidFill>
              <a:headEnd type="none" w="med" len="med"/>
              <a:tailEnd type="triangle"/>
            </a:ln>
            <a:effectLst/>
          </p:spPr>
          <p:txBody>
            <a:bodyPr lIns="75192" tIns="37596" rIns="75192" bIns="37596" rtlCol="0" anchor="ctr"/>
            <a:lstStyle/>
            <a:p>
              <a:pPr algn="ctr" defTabSz="1242953">
                <a:defRPr/>
              </a:pPr>
              <a:endParaRPr lang="en-US" sz="2754" kern="0">
                <a:solidFill>
                  <a:sysClr val="windowText" lastClr="000000"/>
                </a:solidFill>
                <a:latin typeface="Segoe UI"/>
              </a:endParaRPr>
            </a:p>
          </p:txBody>
        </p:sp>
        <p:grpSp>
          <p:nvGrpSpPr>
            <p:cNvPr id="39" name="Group 38">
              <a:extLst>
                <a:ext uri="{FF2B5EF4-FFF2-40B4-BE49-F238E27FC236}">
                  <a16:creationId xmlns:a16="http://schemas.microsoft.com/office/drawing/2014/main" id="{F23EB9B5-375F-499C-9D19-074944059085}"/>
                </a:ext>
              </a:extLst>
            </p:cNvPr>
            <p:cNvGrpSpPr/>
            <p:nvPr/>
          </p:nvGrpSpPr>
          <p:grpSpPr>
            <a:xfrm>
              <a:off x="6063459" y="5152444"/>
              <a:ext cx="2973207" cy="933276"/>
              <a:chOff x="342905" y="5150364"/>
              <a:chExt cx="3941859" cy="1089506"/>
            </a:xfrm>
          </p:grpSpPr>
          <p:sp>
            <p:nvSpPr>
              <p:cNvPr id="40" name="TextBox 39">
                <a:extLst>
                  <a:ext uri="{FF2B5EF4-FFF2-40B4-BE49-F238E27FC236}">
                    <a16:creationId xmlns:a16="http://schemas.microsoft.com/office/drawing/2014/main" id="{FC13ADFD-C705-44F7-9445-8F08EE371FB0}"/>
                  </a:ext>
                </a:extLst>
              </p:cNvPr>
              <p:cNvSpPr txBox="1"/>
              <p:nvPr/>
            </p:nvSpPr>
            <p:spPr>
              <a:xfrm>
                <a:off x="342905" y="5150364"/>
                <a:ext cx="3941859" cy="412518"/>
              </a:xfrm>
              <a:prstGeom prst="rect">
                <a:avLst/>
              </a:prstGeom>
              <a:noFill/>
              <a:ln>
                <a:noFill/>
              </a:ln>
            </p:spPr>
            <p:txBody>
              <a:bodyPr wrap="square" lIns="0" tIns="46615" rIns="0" bIns="46615" rtlCol="0">
                <a:spAutoFit/>
              </a:bodyPr>
              <a:lstStyle/>
              <a:p>
                <a:pPr defTabSz="1242953">
                  <a:lnSpc>
                    <a:spcPct val="90000"/>
                  </a:lnSpc>
                  <a:spcBef>
                    <a:spcPct val="20000"/>
                  </a:spcBef>
                  <a:defRPr/>
                </a:pPr>
                <a:r>
                  <a:rPr lang="en-US" sz="1836" kern="0">
                    <a:solidFill>
                      <a:srgbClr val="00AEEF">
                        <a:alpha val="99000"/>
                      </a:srgbClr>
                    </a:solidFill>
                    <a:latin typeface="Segoe UI" pitchFamily="34" charset="0"/>
                    <a:ea typeface="Segoe UI" pitchFamily="34" charset="0"/>
                    <a:cs typeface="Segoe UI" pitchFamily="34" charset="0"/>
                  </a:rPr>
                  <a:t>Predictable Bursting</a:t>
                </a:r>
              </a:p>
            </p:txBody>
          </p:sp>
          <p:sp>
            <p:nvSpPr>
              <p:cNvPr id="41" name="Rectangle 40">
                <a:extLst>
                  <a:ext uri="{FF2B5EF4-FFF2-40B4-BE49-F238E27FC236}">
                    <a16:creationId xmlns:a16="http://schemas.microsoft.com/office/drawing/2014/main" id="{61DA63FB-4BFE-492C-8655-F508346CCA95}"/>
                  </a:ext>
                </a:extLst>
              </p:cNvPr>
              <p:cNvSpPr/>
              <p:nvPr/>
            </p:nvSpPr>
            <p:spPr>
              <a:xfrm>
                <a:off x="342905" y="5623087"/>
                <a:ext cx="3653646" cy="616783"/>
              </a:xfrm>
              <a:prstGeom prst="rect">
                <a:avLst/>
              </a:prstGeom>
              <a:ln>
                <a:noFill/>
              </a:ln>
            </p:spPr>
            <p:txBody>
              <a:bodyPr wrap="square" lIns="0" tIns="0" rIns="0" bIns="0">
                <a:spAutoFit/>
              </a:bodyPr>
              <a:lstStyle/>
              <a:p>
                <a:pPr marL="0" lvl="1" defTabSz="1002183" fontAlgn="base">
                  <a:spcAft>
                    <a:spcPct val="0"/>
                  </a:spcAft>
                  <a:defRPr/>
                </a:pPr>
                <a:r>
                  <a:rPr lang="en-US" sz="1122" kern="0">
                    <a:solidFill>
                      <a:srgbClr val="292929">
                        <a:alpha val="99000"/>
                      </a:srgbClr>
                    </a:solidFill>
                    <a:latin typeface="Segoe UI"/>
                    <a:ea typeface="Kozuka Gothic Pro R" pitchFamily="34" charset="-128"/>
                  </a:rPr>
                  <a:t>Services with micro seasonality trends.   </a:t>
                </a:r>
              </a:p>
              <a:p>
                <a:pPr marL="0" lvl="1" defTabSz="1002183" fontAlgn="base">
                  <a:spcAft>
                    <a:spcPct val="0"/>
                  </a:spcAft>
                  <a:defRPr/>
                </a:pPr>
                <a:r>
                  <a:rPr lang="en-US" sz="1122" kern="0">
                    <a:solidFill>
                      <a:srgbClr val="292929">
                        <a:alpha val="99000"/>
                      </a:srgbClr>
                    </a:solidFill>
                    <a:latin typeface="Segoe UI"/>
                    <a:ea typeface="Kozuka Gothic Pro R" pitchFamily="34" charset="-128"/>
                  </a:rPr>
                  <a:t>Peaks due to periodic increased demand.</a:t>
                </a:r>
              </a:p>
              <a:p>
                <a:pPr marL="0" lvl="1" defTabSz="1002183" fontAlgn="base">
                  <a:spcAft>
                    <a:spcPct val="0"/>
                  </a:spcAft>
                  <a:defRPr/>
                </a:pPr>
                <a:r>
                  <a:rPr lang="en-US" sz="1122" kern="0">
                    <a:solidFill>
                      <a:srgbClr val="292929">
                        <a:alpha val="99000"/>
                      </a:srgbClr>
                    </a:solidFill>
                    <a:latin typeface="Segoe UI"/>
                    <a:ea typeface="Kozuka Gothic Pro R" pitchFamily="34" charset="-128"/>
                  </a:rPr>
                  <a:t>IT complexity and wasted capacity.</a:t>
                </a:r>
              </a:p>
            </p:txBody>
          </p:sp>
        </p:grpSp>
        <p:cxnSp>
          <p:nvCxnSpPr>
            <p:cNvPr id="42" name="Straight Arrow Connector 41">
              <a:extLst>
                <a:ext uri="{FF2B5EF4-FFF2-40B4-BE49-F238E27FC236}">
                  <a16:creationId xmlns:a16="http://schemas.microsoft.com/office/drawing/2014/main" id="{4EF5167A-90DB-4CE1-9179-93A7F342132F}"/>
                </a:ext>
              </a:extLst>
            </p:cNvPr>
            <p:cNvCxnSpPr>
              <a:cxnSpLocks/>
            </p:cNvCxnSpPr>
            <p:nvPr/>
          </p:nvCxnSpPr>
          <p:spPr bwMode="auto">
            <a:xfrm flipV="1">
              <a:off x="2972035" y="5282465"/>
              <a:ext cx="0" cy="768759"/>
            </a:xfrm>
            <a:prstGeom prst="straightConnector1">
              <a:avLst/>
            </a:prstGeom>
            <a:noFill/>
            <a:ln w="25400" cap="flat" cmpd="sng" algn="ctr">
              <a:solidFill>
                <a:srgbClr val="292929"/>
              </a:solidFill>
              <a:prstDash val="solid"/>
              <a:headEnd type="none" w="med" len="med"/>
              <a:tailEnd type="triangle"/>
            </a:ln>
            <a:effectLst/>
          </p:spPr>
        </p:cxnSp>
        <p:cxnSp>
          <p:nvCxnSpPr>
            <p:cNvPr id="43" name="Straight Arrow Connector 42">
              <a:extLst>
                <a:ext uri="{FF2B5EF4-FFF2-40B4-BE49-F238E27FC236}">
                  <a16:creationId xmlns:a16="http://schemas.microsoft.com/office/drawing/2014/main" id="{8929777F-4906-45BC-8814-3E8BC7F44D99}"/>
                </a:ext>
              </a:extLst>
            </p:cNvPr>
            <p:cNvCxnSpPr>
              <a:cxnSpLocks/>
            </p:cNvCxnSpPr>
            <p:nvPr/>
          </p:nvCxnSpPr>
          <p:spPr bwMode="auto">
            <a:xfrm>
              <a:off x="2958573" y="6040477"/>
              <a:ext cx="2785808" cy="801"/>
            </a:xfrm>
            <a:prstGeom prst="straightConnector1">
              <a:avLst/>
            </a:prstGeom>
            <a:noFill/>
            <a:ln w="25400" cap="flat" cmpd="sng" algn="ctr">
              <a:solidFill>
                <a:srgbClr val="292929"/>
              </a:solidFill>
              <a:prstDash val="solid"/>
              <a:headEnd type="none" w="med" len="med"/>
              <a:tailEnd type="triangle"/>
            </a:ln>
            <a:effectLst/>
          </p:spPr>
        </p:cxnSp>
        <p:sp>
          <p:nvSpPr>
            <p:cNvPr id="44" name="Rectangle 43">
              <a:extLst>
                <a:ext uri="{FF2B5EF4-FFF2-40B4-BE49-F238E27FC236}">
                  <a16:creationId xmlns:a16="http://schemas.microsoft.com/office/drawing/2014/main" id="{D95A261B-B6C0-4FAF-B95D-FE32FC45A872}"/>
                </a:ext>
              </a:extLst>
            </p:cNvPr>
            <p:cNvSpPr/>
            <p:nvPr/>
          </p:nvSpPr>
          <p:spPr>
            <a:xfrm rot="16200000">
              <a:off x="2338932" y="5434497"/>
              <a:ext cx="877627" cy="196762"/>
            </a:xfrm>
            <a:prstGeom prst="rect">
              <a:avLst/>
            </a:prstGeom>
            <a:ln>
              <a:noFill/>
            </a:ln>
          </p:spPr>
          <p:txBody>
            <a:bodyPr wrap="square" lIns="75192" tIns="37596" rIns="75192" bIns="37596">
              <a:spAutoFit/>
            </a:bodyPr>
            <a:lstStyle/>
            <a:p>
              <a:pPr marL="250568" indent="-250568" algn="ctr" defTabSz="1002266" eaLnBrk="0" fontAlgn="base" hangingPunct="0">
                <a:lnSpc>
                  <a:spcPts val="877"/>
                </a:lnSpc>
                <a:spcBef>
                  <a:spcPct val="20000"/>
                </a:spcBef>
                <a:spcAft>
                  <a:spcPct val="0"/>
                </a:spcAft>
                <a:buClr>
                  <a:srgbClr val="000000"/>
                </a:buClr>
                <a:defRPr/>
              </a:pPr>
              <a:r>
                <a:rPr lang="en-US" sz="1122" kern="0">
                  <a:solidFill>
                    <a:srgbClr val="292929">
                      <a:alpha val="99000"/>
                    </a:srgbClr>
                  </a:solidFill>
                  <a:latin typeface="Segoe UI"/>
                </a:rPr>
                <a:t>Compute </a:t>
              </a:r>
            </a:p>
          </p:txBody>
        </p:sp>
        <p:sp>
          <p:nvSpPr>
            <p:cNvPr id="45" name="Freeform 97">
              <a:extLst>
                <a:ext uri="{FF2B5EF4-FFF2-40B4-BE49-F238E27FC236}">
                  <a16:creationId xmlns:a16="http://schemas.microsoft.com/office/drawing/2014/main" id="{8FF55B84-B17D-4EFB-9E46-90AE337A7349}"/>
                </a:ext>
              </a:extLst>
            </p:cNvPr>
            <p:cNvSpPr/>
            <p:nvPr/>
          </p:nvSpPr>
          <p:spPr>
            <a:xfrm>
              <a:off x="2970188" y="5330733"/>
              <a:ext cx="2579638" cy="499417"/>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noFill/>
            <a:ln w="25400" cap="flat" cmpd="sng" algn="ctr">
              <a:solidFill>
                <a:srgbClr val="292929"/>
              </a:solidFill>
              <a:prstDash val="solid"/>
              <a:headEnd type="none" w="med" len="med"/>
              <a:tailEnd type="triangle"/>
            </a:ln>
            <a:effectLst/>
          </p:spPr>
          <p:txBody>
            <a:bodyPr lIns="75194" tIns="37598" rIns="75194" bIns="37598" rtlCol="0" anchor="ctr"/>
            <a:lstStyle/>
            <a:p>
              <a:pPr algn="ctr" defTabSz="1242953">
                <a:defRPr/>
              </a:pPr>
              <a:endParaRPr lang="en-US" sz="2754" kern="0">
                <a:solidFill>
                  <a:srgbClr val="292929"/>
                </a:solidFill>
                <a:latin typeface="Segoe UI"/>
              </a:endParaRPr>
            </a:p>
          </p:txBody>
        </p:sp>
        <p:cxnSp>
          <p:nvCxnSpPr>
            <p:cNvPr id="46" name="Straight Connector 45">
              <a:extLst>
                <a:ext uri="{FF2B5EF4-FFF2-40B4-BE49-F238E27FC236}">
                  <a16:creationId xmlns:a16="http://schemas.microsoft.com/office/drawing/2014/main" id="{6D162B8A-4C86-4B87-95A1-C21D98DE01CD}"/>
                </a:ext>
              </a:extLst>
            </p:cNvPr>
            <p:cNvCxnSpPr>
              <a:cxnSpLocks/>
            </p:cNvCxnSpPr>
            <p:nvPr/>
          </p:nvCxnSpPr>
          <p:spPr bwMode="auto">
            <a:xfrm>
              <a:off x="2993282" y="5651670"/>
              <a:ext cx="2618036" cy="21289"/>
            </a:xfrm>
            <a:prstGeom prst="line">
              <a:avLst/>
            </a:prstGeom>
            <a:noFill/>
            <a:ln w="19050" cap="flat" cmpd="sng" algn="ctr">
              <a:solidFill>
                <a:srgbClr val="292929"/>
              </a:solidFill>
              <a:prstDash val="sysDot"/>
              <a:headEnd type="none" w="med" len="med"/>
              <a:tailEnd type="none" w="med" len="med"/>
            </a:ln>
            <a:effectLst/>
          </p:spPr>
        </p:cxnSp>
        <p:cxnSp>
          <p:nvCxnSpPr>
            <p:cNvPr id="47" name="Straight Connector 46">
              <a:extLst>
                <a:ext uri="{FF2B5EF4-FFF2-40B4-BE49-F238E27FC236}">
                  <a16:creationId xmlns:a16="http://schemas.microsoft.com/office/drawing/2014/main" id="{7B27DA6E-9183-47D0-8D8D-11A9E977A825}"/>
                </a:ext>
              </a:extLst>
            </p:cNvPr>
            <p:cNvCxnSpPr>
              <a:cxnSpLocks/>
            </p:cNvCxnSpPr>
            <p:nvPr/>
          </p:nvCxnSpPr>
          <p:spPr>
            <a:xfrm>
              <a:off x="2288293" y="3740103"/>
              <a:ext cx="6371660" cy="0"/>
            </a:xfrm>
            <a:prstGeom prst="line">
              <a:avLst/>
            </a:prstGeom>
            <a:noFill/>
            <a:ln w="9525" cap="flat" cmpd="sng" algn="ctr">
              <a:solidFill>
                <a:srgbClr val="0071BC">
                  <a:lumMod val="40000"/>
                  <a:lumOff val="60000"/>
                </a:srgbClr>
              </a:solidFill>
              <a:prstDash val="solid"/>
            </a:ln>
            <a:effectLst/>
          </p:spPr>
        </p:cxnSp>
        <p:cxnSp>
          <p:nvCxnSpPr>
            <p:cNvPr id="48" name="Straight Connector 47">
              <a:extLst>
                <a:ext uri="{FF2B5EF4-FFF2-40B4-BE49-F238E27FC236}">
                  <a16:creationId xmlns:a16="http://schemas.microsoft.com/office/drawing/2014/main" id="{79187E3D-AC1C-49DD-9E20-066D891BECF7}"/>
                </a:ext>
              </a:extLst>
            </p:cNvPr>
            <p:cNvCxnSpPr>
              <a:cxnSpLocks/>
            </p:cNvCxnSpPr>
            <p:nvPr/>
          </p:nvCxnSpPr>
          <p:spPr>
            <a:xfrm>
              <a:off x="2288293" y="4980296"/>
              <a:ext cx="6371660" cy="0"/>
            </a:xfrm>
            <a:prstGeom prst="line">
              <a:avLst/>
            </a:prstGeom>
            <a:noFill/>
            <a:ln w="9525" cap="flat" cmpd="sng" algn="ctr">
              <a:solidFill>
                <a:srgbClr val="0071BC">
                  <a:lumMod val="40000"/>
                  <a:lumOff val="60000"/>
                </a:srgbClr>
              </a:solidFill>
              <a:prstDash val="solid"/>
            </a:ln>
            <a:effectLst/>
          </p:spPr>
        </p:cxnSp>
        <p:cxnSp>
          <p:nvCxnSpPr>
            <p:cNvPr id="49" name="Straight Connector 48">
              <a:extLst>
                <a:ext uri="{FF2B5EF4-FFF2-40B4-BE49-F238E27FC236}">
                  <a16:creationId xmlns:a16="http://schemas.microsoft.com/office/drawing/2014/main" id="{28C7AB2B-4C0F-46A3-B7FD-18FAD4CAA43D}"/>
                </a:ext>
              </a:extLst>
            </p:cNvPr>
            <p:cNvCxnSpPr>
              <a:cxnSpLocks/>
            </p:cNvCxnSpPr>
            <p:nvPr/>
          </p:nvCxnSpPr>
          <p:spPr>
            <a:xfrm>
              <a:off x="2288293" y="2516406"/>
              <a:ext cx="6371660" cy="0"/>
            </a:xfrm>
            <a:prstGeom prst="line">
              <a:avLst/>
            </a:prstGeom>
            <a:noFill/>
            <a:ln w="9525" cap="flat" cmpd="sng" algn="ctr">
              <a:solidFill>
                <a:srgbClr val="0071BC">
                  <a:lumMod val="40000"/>
                  <a:lumOff val="60000"/>
                </a:srgbClr>
              </a:solidFill>
              <a:prstDash val="solid"/>
            </a:ln>
            <a:effectLst/>
          </p:spPr>
        </p:cxnSp>
      </p:grpSp>
    </p:spTree>
    <p:extLst>
      <p:ext uri="{BB962C8B-B14F-4D97-AF65-F5344CB8AC3E}">
        <p14:creationId xmlns:p14="http://schemas.microsoft.com/office/powerpoint/2010/main" val="323527000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46877347"/>
      </p:ext>
    </p:extLst>
  </p:cSld>
  <p:clrMapOvr>
    <a:masterClrMapping/>
  </p:clrMapOvr>
  <p:transition spd="slow"/>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205760491"/>
              </p:ext>
            </p:extLst>
          </p:nvPr>
        </p:nvGraphicFramePr>
        <p:xfrm>
          <a:off x="655638" y="1408113"/>
          <a:ext cx="10880725" cy="22494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31734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4A71D5C7-A7D6-46CE-B888-CF65241F6B98}"/>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506ED-07D9-4CE8-BB92-B6B761FF2656}"/>
              </a:ext>
            </a:extLst>
          </p:cNvPr>
          <p:cNvSpPr>
            <a:spLocks noGrp="1"/>
          </p:cNvSpPr>
          <p:nvPr>
            <p:ph type="title"/>
          </p:nvPr>
        </p:nvSpPr>
        <p:spPr/>
        <p:txBody>
          <a:bodyPr/>
          <a:lstStyle/>
          <a:p>
            <a:r>
              <a:rPr lang="en-US"/>
              <a:t>Module Summary</a:t>
            </a:r>
          </a:p>
        </p:txBody>
      </p:sp>
      <p:graphicFrame>
        <p:nvGraphicFramePr>
          <p:cNvPr id="5" name="Content Placeholder 4">
            <a:extLst>
              <a:ext uri="{FF2B5EF4-FFF2-40B4-BE49-F238E27FC236}">
                <a16:creationId xmlns:a16="http://schemas.microsoft.com/office/drawing/2014/main" id="{9160CB12-1FA7-4DC0-84DC-78AA49CF4904}"/>
              </a:ext>
            </a:extLst>
          </p:cNvPr>
          <p:cNvGraphicFramePr>
            <a:graphicFrameLocks noGrp="1"/>
          </p:cNvGraphicFramePr>
          <p:nvPr>
            <p:ph sz="quarter" idx="13"/>
            <p:extLst>
              <p:ext uri="{D42A27DB-BD31-4B8C-83A1-F6EECF244321}">
                <p14:modId xmlns:p14="http://schemas.microsoft.com/office/powerpoint/2010/main" val="2106533040"/>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5959006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atabase as a Service </a:t>
            </a:r>
          </a:p>
        </p:txBody>
      </p:sp>
      <p:sp>
        <p:nvSpPr>
          <p:cNvPr id="4" name="Content Placeholder 3"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F3616A99-090F-45E1-9334-58D58B148205}"/>
              </a:ext>
            </a:extLst>
          </p:cNvPr>
          <p:cNvSpPr>
            <a:spLocks noGrp="1"/>
          </p:cNvSpPr>
          <p:nvPr>
            <p:ph sz="quarter" idx="13"/>
          </p:nvPr>
        </p:nvSpPr>
        <p:spPr>
          <a:xfrm>
            <a:off x="655639" y="993335"/>
            <a:ext cx="10880726" cy="4819650"/>
          </a:xfrm>
        </p:spPr>
        <p:txBody>
          <a:bodyPr/>
          <a:lstStyle/>
          <a:p>
            <a:endParaRPr lang="en-US"/>
          </a:p>
        </p:txBody>
      </p:sp>
      <p:sp>
        <p:nvSpPr>
          <p:cNvPr id="5" name="Rectangle 4"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322A765D-EF46-436F-98D5-358A046EA054}"/>
              </a:ext>
            </a:extLst>
          </p:cNvPr>
          <p:cNvSpPr/>
          <p:nvPr/>
        </p:nvSpPr>
        <p:spPr bwMode="auto">
          <a:xfrm>
            <a:off x="617944" y="993335"/>
            <a:ext cx="8181960" cy="5267832"/>
          </a:xfrm>
          <a:prstGeom prst="rect">
            <a:avLst/>
          </a:prstGeom>
          <a:solidFill>
            <a:sysClr val="window" lastClr="FFFFFF"/>
          </a:solidFill>
          <a:ln w="25400" cap="flat" cmpd="sng" algn="ctr">
            <a:solidFill>
              <a:sysClr val="windowText" lastClr="000000"/>
            </a:solidFill>
            <a:prstDash val="solid"/>
            <a:headEnd type="none" w="med" len="med"/>
            <a:tailEnd type="none" w="med" len="med"/>
          </a:ln>
          <a:effectLst/>
        </p:spPr>
        <p:txBody>
          <a:bodyPr vert="horz" wrap="square" lIns="76133" tIns="38067" rIns="76133" bIns="38067" numCol="1" rtlCol="0" anchor="ctr" anchorCtr="0" compatLnSpc="1">
            <a:prstTxWarp prst="textNoShape">
              <a:avLst/>
            </a:prstTxWarp>
          </a:bodyPr>
          <a:lstStyle/>
          <a:p>
            <a:pPr marL="0" marR="0" lvl="0" indent="0" algn="ctr" defTabSz="761016" rtl="0" eaLnBrk="0" fontAlgn="base" latinLnBrk="0" hangingPunct="0">
              <a:lnSpc>
                <a:spcPct val="100000"/>
              </a:lnSpc>
              <a:spcBef>
                <a:spcPct val="0"/>
              </a:spcBef>
              <a:spcAft>
                <a:spcPct val="0"/>
              </a:spcAft>
              <a:buClrTx/>
              <a:buSzTx/>
              <a:buFontTx/>
              <a:buNone/>
              <a:tabLst/>
              <a:defRPr/>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ectangle 5"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5CA6A9E2-0801-42E6-82C9-FF9DD0C47385}"/>
              </a:ext>
            </a:extLst>
          </p:cNvPr>
          <p:cNvSpPr/>
          <p:nvPr/>
        </p:nvSpPr>
        <p:spPr>
          <a:xfrm>
            <a:off x="1168804" y="1683322"/>
            <a:ext cx="1865758" cy="317133"/>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864" rtl="0" eaLnBrk="1" fontAlgn="base" latinLnBrk="0" hangingPunct="1">
              <a:lnSpc>
                <a:spcPct val="100000"/>
              </a:lnSpc>
              <a:spcBef>
                <a:spcPct val="0"/>
              </a:spcBef>
              <a:spcAft>
                <a:spcPct val="0"/>
              </a:spcAft>
              <a:buClrTx/>
              <a:buSzTx/>
              <a:buFontTx/>
              <a:buNone/>
              <a:tabLst/>
              <a:defRPr/>
            </a:pPr>
            <a:r>
              <a:rPr kumimoji="0" lang="en-US" sz="1750" b="0" i="0" u="none" strike="noStrike" kern="1200" cap="none" spc="0" normalizeH="0" baseline="0" noProof="0" dirty="0">
                <a:ln>
                  <a:noFill/>
                </a:ln>
                <a:solidFill>
                  <a:schemeClr val="tx1"/>
                </a:solidFill>
                <a:effectLst/>
                <a:uLnTx/>
                <a:uFillTx/>
                <a:latin typeface="Segoe UI"/>
                <a:cs typeface="Segoe UI Light"/>
              </a:rPr>
              <a:t>On-Premises</a:t>
            </a:r>
            <a:endParaRPr lang="en-US" sz="1750" b="0" i="0" u="none" strike="noStrike" kern="1200" cap="none" spc="0" normalizeH="0" baseline="0" noProof="0" dirty="0">
              <a:ln>
                <a:noFill/>
              </a:ln>
              <a:solidFill>
                <a:schemeClr val="tx1"/>
              </a:solidFill>
              <a:effectLst/>
              <a:uLnTx/>
              <a:uFillTx/>
              <a:latin typeface="Segoe UI"/>
              <a:cs typeface="Segoe UI Light"/>
            </a:endParaRPr>
          </a:p>
        </p:txBody>
      </p:sp>
      <p:sp>
        <p:nvSpPr>
          <p:cNvPr id="7" name="TextBox 52"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9ED902E4-C93F-4D5D-8C32-314454F924CA}"/>
              </a:ext>
            </a:extLst>
          </p:cNvPr>
          <p:cNvSpPr txBox="1"/>
          <p:nvPr/>
        </p:nvSpPr>
        <p:spPr>
          <a:xfrm>
            <a:off x="598518" y="2237171"/>
            <a:ext cx="453970" cy="3919171"/>
          </a:xfrm>
          <a:prstGeom prst="rect">
            <a:avLst/>
          </a:prstGeom>
          <a:noFill/>
        </p:spPr>
        <p:txBody>
          <a:bodyPr vert="vert270" wrap="square"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864" rtl="0" eaLnBrk="1" fontAlgn="base" latinLnBrk="0" hangingPunct="1">
              <a:lnSpc>
                <a:spcPct val="100000"/>
              </a:lnSpc>
              <a:spcBef>
                <a:spcPct val="0"/>
              </a:spcBef>
              <a:spcAft>
                <a:spcPct val="0"/>
              </a:spcAft>
              <a:buClrTx/>
              <a:buSzTx/>
              <a:buFontTx/>
              <a:buNone/>
              <a:tabLst/>
              <a:defRPr/>
            </a:pPr>
            <a:r>
              <a:rPr kumimoji="0" lang="en-US" sz="1750" b="0" i="0" u="none" strike="noStrike" kern="1200" cap="none" spc="0" normalizeH="0" baseline="0" noProof="0">
                <a:ln>
                  <a:noFill/>
                </a:ln>
                <a:effectLst/>
                <a:uLnTx/>
                <a:uFillTx/>
                <a:latin typeface="Segoe UI"/>
                <a:ea typeface="+mn-ea"/>
                <a:cs typeface="Segoe UI"/>
              </a:rPr>
              <a:t>You scale, make resilient and manage</a:t>
            </a:r>
            <a:endParaRPr lang="en-US" sz="1750" b="0" i="0" u="none" strike="noStrike" kern="1200" cap="none" spc="0" normalizeH="0" baseline="0" noProof="0">
              <a:ln>
                <a:noFill/>
              </a:ln>
              <a:effectLst/>
              <a:uLnTx/>
              <a:uFillTx/>
              <a:latin typeface="Segoe UI"/>
              <a:cs typeface="Segoe UI"/>
            </a:endParaRPr>
          </a:p>
        </p:txBody>
      </p:sp>
      <p:sp>
        <p:nvSpPr>
          <p:cNvPr id="8" name="Rectangle 7"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F37E6B9A-09B8-4050-91F4-EAAFD2B192AD}"/>
              </a:ext>
            </a:extLst>
          </p:cNvPr>
          <p:cNvSpPr/>
          <p:nvPr/>
        </p:nvSpPr>
        <p:spPr>
          <a:xfrm>
            <a:off x="3820173" y="1572463"/>
            <a:ext cx="1741759"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864" rtl="0" eaLnBrk="1" fontAlgn="base" latinLnBrk="0" hangingPunct="1">
              <a:lnSpc>
                <a:spcPct val="100000"/>
              </a:lnSpc>
              <a:spcBef>
                <a:spcPct val="0"/>
              </a:spcBef>
              <a:spcAft>
                <a:spcPct val="0"/>
              </a:spcAft>
              <a:buClrTx/>
              <a:buSzTx/>
              <a:buFontTx/>
              <a:buNone/>
              <a:tabLst/>
              <a:defRPr/>
            </a:pPr>
            <a:r>
              <a:rPr kumimoji="0" lang="en-US" sz="1750" b="0" i="0" u="none" strike="noStrike" kern="1200" cap="none" spc="0" normalizeH="0" baseline="0" noProof="0" dirty="0">
                <a:ln>
                  <a:noFill/>
                </a:ln>
                <a:solidFill>
                  <a:schemeClr val="tx1"/>
                </a:solidFill>
                <a:effectLst/>
                <a:uLnTx/>
                <a:uFillTx/>
                <a:latin typeface="Segoe UI"/>
                <a:cs typeface="Segoe UI Light"/>
              </a:rPr>
              <a:t>Infrastructure</a:t>
            </a:r>
            <a:endParaRPr lang="en-US" sz="1750" b="0" i="0" u="none" strike="noStrike" kern="1200" cap="none" spc="0" normalizeH="0" baseline="0" noProof="0" dirty="0">
              <a:ln>
                <a:noFill/>
              </a:ln>
              <a:solidFill>
                <a:schemeClr val="tx1"/>
              </a:solidFill>
              <a:effectLst/>
              <a:uLnTx/>
              <a:uFillTx/>
              <a:latin typeface="Segoe UI"/>
              <a:cs typeface="Segoe UI Light"/>
            </a:endParaRPr>
          </a:p>
          <a:p>
            <a:pPr marL="0" marR="0" lvl="1" indent="0" algn="ctr" defTabSz="1217864" rtl="0" eaLnBrk="1" fontAlgn="base" latinLnBrk="0" hangingPunct="1">
              <a:lnSpc>
                <a:spcPct val="100000"/>
              </a:lnSpc>
              <a:spcBef>
                <a:spcPct val="0"/>
              </a:spcBef>
              <a:spcAft>
                <a:spcPct val="0"/>
              </a:spcAft>
              <a:buClrTx/>
              <a:buSzTx/>
              <a:buFontTx/>
              <a:buNone/>
              <a:tabLst/>
              <a:defRPr/>
            </a:pPr>
            <a:r>
              <a:rPr kumimoji="0" lang="en-US" sz="1750" b="0" i="0" u="none" strike="noStrike" kern="1200" cap="none" spc="0" normalizeH="0" baseline="0" noProof="0" dirty="0">
                <a:ln>
                  <a:noFill/>
                </a:ln>
                <a:solidFill>
                  <a:schemeClr val="tx1"/>
                </a:solidFill>
                <a:effectLst/>
                <a:uLnTx/>
                <a:uFillTx/>
                <a:latin typeface="Segoe UI"/>
                <a:cs typeface="Segoe UI Light"/>
              </a:rPr>
              <a:t>(as a Service)</a:t>
            </a:r>
            <a:endParaRPr lang="en-US" sz="1750" b="0" i="0" u="none" strike="noStrike" kern="1200" cap="none" spc="0" normalizeH="0" baseline="0" noProof="0" dirty="0">
              <a:ln>
                <a:noFill/>
              </a:ln>
              <a:solidFill>
                <a:schemeClr val="tx1"/>
              </a:solidFill>
              <a:effectLst/>
              <a:uLnTx/>
              <a:uFillTx/>
              <a:latin typeface="Segoe UI"/>
              <a:cs typeface="Segoe UI Light"/>
            </a:endParaRPr>
          </a:p>
        </p:txBody>
      </p:sp>
      <p:sp>
        <p:nvSpPr>
          <p:cNvPr id="9" name="Rectangle 8"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AC2E2DEB-8B80-4964-AA13-C891ACA6B2CB}"/>
              </a:ext>
            </a:extLst>
          </p:cNvPr>
          <p:cNvSpPr/>
          <p:nvPr/>
        </p:nvSpPr>
        <p:spPr>
          <a:xfrm>
            <a:off x="3848381" y="5374391"/>
            <a:ext cx="1637350"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Storage</a:t>
            </a:r>
          </a:p>
        </p:txBody>
      </p:sp>
      <p:sp>
        <p:nvSpPr>
          <p:cNvPr id="10" name="Rectangle 9"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A418583E-607D-4518-9AF9-B85A90A8EBFE}"/>
              </a:ext>
            </a:extLst>
          </p:cNvPr>
          <p:cNvSpPr/>
          <p:nvPr/>
        </p:nvSpPr>
        <p:spPr>
          <a:xfrm>
            <a:off x="3848381" y="4919819"/>
            <a:ext cx="1637350"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Servers</a:t>
            </a:r>
          </a:p>
        </p:txBody>
      </p:sp>
      <p:sp>
        <p:nvSpPr>
          <p:cNvPr id="11" name="Rectangle 10"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CC4DBA0E-AEA7-48AA-A2FA-D2EC64E2396C}"/>
              </a:ext>
            </a:extLst>
          </p:cNvPr>
          <p:cNvSpPr/>
          <p:nvPr/>
        </p:nvSpPr>
        <p:spPr>
          <a:xfrm>
            <a:off x="3848381" y="5828960"/>
            <a:ext cx="1637350"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Networking</a:t>
            </a:r>
          </a:p>
        </p:txBody>
      </p:sp>
      <p:sp>
        <p:nvSpPr>
          <p:cNvPr id="12" name="Rectangle 11"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6AEDBBEB-86FF-48A0-A8BD-88F2A5A1A3EF}"/>
              </a:ext>
            </a:extLst>
          </p:cNvPr>
          <p:cNvSpPr/>
          <p:nvPr/>
        </p:nvSpPr>
        <p:spPr>
          <a:xfrm>
            <a:off x="3848381" y="4010676"/>
            <a:ext cx="1637350" cy="380793"/>
          </a:xfrm>
          <a:prstGeom prst="rect">
            <a:avLst/>
          </a:prstGeom>
          <a:solidFill>
            <a:schemeClr val="tx2"/>
          </a:solidFill>
          <a:ln w="9525" cap="flat" cmpd="sng" algn="ctr">
            <a:noFill/>
            <a:prstDash val="solid"/>
          </a:ln>
          <a:effectLst/>
        </p:spPr>
        <p:txBody>
          <a:bodyPr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O/S</a:t>
            </a:r>
          </a:p>
        </p:txBody>
      </p:sp>
      <p:sp>
        <p:nvSpPr>
          <p:cNvPr id="13" name="Rectangle 12"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F9414D59-1C42-4A28-8FEF-F5215FE67D29}"/>
              </a:ext>
            </a:extLst>
          </p:cNvPr>
          <p:cNvSpPr/>
          <p:nvPr/>
        </p:nvSpPr>
        <p:spPr>
          <a:xfrm>
            <a:off x="3848381" y="3556103"/>
            <a:ext cx="1637350" cy="380793"/>
          </a:xfrm>
          <a:prstGeom prst="rect">
            <a:avLst/>
          </a:prstGeom>
          <a:solidFill>
            <a:schemeClr val="tx2"/>
          </a:solidFill>
          <a:ln w="9525" cap="flat" cmpd="sng" algn="ctr">
            <a:noFill/>
            <a:prstDash val="solid"/>
          </a:ln>
          <a:effectLst/>
        </p:spPr>
        <p:txBody>
          <a:bodyPr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Middleware</a:t>
            </a:r>
          </a:p>
        </p:txBody>
      </p:sp>
      <p:sp>
        <p:nvSpPr>
          <p:cNvPr id="14" name="Rectangle 13"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8D6AB7C3-D761-43D9-B4DE-EFBC8E942696}"/>
              </a:ext>
            </a:extLst>
          </p:cNvPr>
          <p:cNvSpPr/>
          <p:nvPr/>
        </p:nvSpPr>
        <p:spPr>
          <a:xfrm>
            <a:off x="3848381" y="4465248"/>
            <a:ext cx="1637350"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Virtualization</a:t>
            </a:r>
          </a:p>
        </p:txBody>
      </p:sp>
      <p:sp>
        <p:nvSpPr>
          <p:cNvPr id="15" name="Rectangle 14"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CDB57443-61C5-4136-87AF-950A3E135F20}"/>
              </a:ext>
            </a:extLst>
          </p:cNvPr>
          <p:cNvSpPr/>
          <p:nvPr/>
        </p:nvSpPr>
        <p:spPr>
          <a:xfrm>
            <a:off x="3848381" y="2646962"/>
            <a:ext cx="1637350" cy="380793"/>
          </a:xfrm>
          <a:prstGeom prst="rect">
            <a:avLst/>
          </a:prstGeom>
          <a:solidFill>
            <a:schemeClr val="tx2"/>
          </a:solidFill>
          <a:ln w="9525" cap="flat" cmpd="sng" algn="ctr">
            <a:noFill/>
            <a:prstDash val="solid"/>
          </a:ln>
          <a:effectLst/>
        </p:spPr>
        <p:txBody>
          <a:bodyPr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Data</a:t>
            </a:r>
          </a:p>
        </p:txBody>
      </p:sp>
      <p:sp>
        <p:nvSpPr>
          <p:cNvPr id="16" name="Rectangle 15"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AFAE36B5-830B-446D-9F8A-4A2C535EACCE}"/>
              </a:ext>
            </a:extLst>
          </p:cNvPr>
          <p:cNvSpPr/>
          <p:nvPr/>
        </p:nvSpPr>
        <p:spPr>
          <a:xfrm>
            <a:off x="3848381" y="2192391"/>
            <a:ext cx="1637350" cy="380793"/>
          </a:xfrm>
          <a:prstGeom prst="rect">
            <a:avLst/>
          </a:prstGeom>
          <a:solidFill>
            <a:schemeClr val="tx2"/>
          </a:solidFill>
          <a:ln w="9525" cap="flat" cmpd="sng" algn="ctr">
            <a:noFill/>
            <a:prstDash val="solid"/>
          </a:ln>
          <a:effectLst/>
        </p:spPr>
        <p:txBody>
          <a:bodyPr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Applications</a:t>
            </a:r>
          </a:p>
        </p:txBody>
      </p:sp>
      <p:sp>
        <p:nvSpPr>
          <p:cNvPr id="17" name="Rectangle 16"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47D2EC10-84FA-420E-BEF5-4506FEA38990}"/>
              </a:ext>
            </a:extLst>
          </p:cNvPr>
          <p:cNvSpPr/>
          <p:nvPr/>
        </p:nvSpPr>
        <p:spPr>
          <a:xfrm>
            <a:off x="3848381" y="3101534"/>
            <a:ext cx="1637350" cy="380793"/>
          </a:xfrm>
          <a:prstGeom prst="rect">
            <a:avLst/>
          </a:prstGeom>
          <a:solidFill>
            <a:schemeClr val="tx2"/>
          </a:solidFill>
          <a:ln w="9525" cap="flat" cmpd="sng" algn="ctr">
            <a:noFill/>
            <a:prstDash val="solid"/>
          </a:ln>
          <a:effectLst/>
        </p:spPr>
        <p:txBody>
          <a:bodyPr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Runtime</a:t>
            </a:r>
          </a:p>
        </p:txBody>
      </p:sp>
      <p:sp>
        <p:nvSpPr>
          <p:cNvPr id="18" name="Left Brace 17"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D26D976C-0148-4DED-AED1-1289B6CBEB0A}"/>
              </a:ext>
            </a:extLst>
          </p:cNvPr>
          <p:cNvSpPr/>
          <p:nvPr/>
        </p:nvSpPr>
        <p:spPr>
          <a:xfrm flipH="1">
            <a:off x="5494958" y="4424161"/>
            <a:ext cx="228476" cy="1763041"/>
          </a:xfrm>
          <a:prstGeom prst="leftBrace">
            <a:avLst>
              <a:gd name="adj1" fmla="val 0"/>
              <a:gd name="adj2" fmla="val 50000"/>
            </a:avLst>
          </a:prstGeom>
          <a:noFill/>
          <a:ln w="9525" cap="flat" cmpd="sng" algn="ctr">
            <a:solidFill>
              <a:sysClr val="windowText" lastClr="000000">
                <a:shade val="95000"/>
                <a:satMod val="105000"/>
              </a:sysClr>
            </a:solidFill>
            <a:prstDash val="solid"/>
          </a:ln>
          <a:effectLst/>
        </p:spPr>
        <p:txBody>
          <a:bodyPr rtlCol="0" anchor="ctr"/>
          <a:lstStyle/>
          <a:p>
            <a:pPr marL="0" marR="0" lvl="0" indent="0" algn="ctr" defTabSz="1217964" rtl="0" eaLnBrk="0" fontAlgn="base" latinLnBrk="0" hangingPunct="0">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9" name="TextBox 56"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563B4937-8F78-4534-8BC2-283D96FA144A}"/>
              </a:ext>
            </a:extLst>
          </p:cNvPr>
          <p:cNvSpPr txBox="1"/>
          <p:nvPr/>
        </p:nvSpPr>
        <p:spPr>
          <a:xfrm rot="10800000" flipH="1">
            <a:off x="5641362" y="4081020"/>
            <a:ext cx="453970" cy="2285999"/>
          </a:xfrm>
          <a:prstGeom prst="rect">
            <a:avLst/>
          </a:prstGeom>
          <a:noFill/>
        </p:spPr>
        <p:txBody>
          <a:bodyPr vert="eaVert" wrap="square"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864" rtl="0" eaLnBrk="1" fontAlgn="base" latinLnBrk="0" hangingPunct="1">
              <a:lnSpc>
                <a:spcPct val="100000"/>
              </a:lnSpc>
              <a:spcBef>
                <a:spcPct val="0"/>
              </a:spcBef>
              <a:spcAft>
                <a:spcPct val="0"/>
              </a:spcAft>
              <a:buClrTx/>
              <a:buSzTx/>
              <a:buFontTx/>
              <a:buNone/>
              <a:tabLst/>
              <a:defRPr/>
            </a:pPr>
            <a:r>
              <a:rPr kumimoji="0" lang="en-US" sz="1750" b="0" i="0" u="none" strike="noStrike" kern="1200" cap="none" spc="0" normalizeH="0" baseline="0" noProof="0">
                <a:ln>
                  <a:noFill/>
                </a:ln>
                <a:effectLst/>
                <a:uLnTx/>
                <a:uFillTx/>
                <a:latin typeface="Segoe UI"/>
                <a:ea typeface="+mn-ea"/>
                <a:cs typeface="Segoe UI"/>
              </a:rPr>
              <a:t>Managed by vendor</a:t>
            </a:r>
            <a:endParaRPr lang="en-US" sz="1750" b="0" i="0" u="none" strike="noStrike" kern="1200" cap="none" spc="0" normalizeH="0" baseline="0" noProof="0">
              <a:ln>
                <a:noFill/>
              </a:ln>
              <a:effectLst/>
              <a:uLnTx/>
              <a:uFillTx/>
              <a:latin typeface="Segoe UI"/>
              <a:cs typeface="Segoe UI"/>
            </a:endParaRPr>
          </a:p>
        </p:txBody>
      </p:sp>
      <p:sp>
        <p:nvSpPr>
          <p:cNvPr id="20" name="Left Brace 19"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A28E9357-CF65-4849-AEBB-E98FA030C88E}"/>
              </a:ext>
            </a:extLst>
          </p:cNvPr>
          <p:cNvSpPr/>
          <p:nvPr/>
        </p:nvSpPr>
        <p:spPr>
          <a:xfrm>
            <a:off x="3662363" y="2192390"/>
            <a:ext cx="133278" cy="2199075"/>
          </a:xfrm>
          <a:prstGeom prst="leftBrace">
            <a:avLst>
              <a:gd name="adj1" fmla="val 0"/>
              <a:gd name="adj2" fmla="val 50000"/>
            </a:avLst>
          </a:prstGeom>
          <a:noFill/>
          <a:ln w="9525" cap="flat" cmpd="sng" algn="ctr">
            <a:solidFill>
              <a:sysClr val="windowText" lastClr="000000">
                <a:shade val="95000"/>
                <a:satMod val="105000"/>
              </a:sysClr>
            </a:solidFill>
            <a:prstDash val="solid"/>
          </a:ln>
          <a:effectLst/>
        </p:spPr>
        <p:txBody>
          <a:bodyPr rtlCol="0" anchor="ctr"/>
          <a:lstStyle/>
          <a:p>
            <a:pPr marL="0" marR="0" lvl="0" indent="0" algn="ctr" defTabSz="1217964" rtl="0" eaLnBrk="0" fontAlgn="base" latinLnBrk="0" hangingPunct="0">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21" name="TextBox 58"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F056AA30-BEB6-47FF-BDF0-B57A277FF0EC}"/>
              </a:ext>
            </a:extLst>
          </p:cNvPr>
          <p:cNvSpPr txBox="1"/>
          <p:nvPr/>
        </p:nvSpPr>
        <p:spPr>
          <a:xfrm>
            <a:off x="2998523" y="2175675"/>
            <a:ext cx="723275" cy="2077396"/>
          </a:xfrm>
          <a:prstGeom prst="rect">
            <a:avLst/>
          </a:prstGeom>
          <a:noFill/>
        </p:spPr>
        <p:txBody>
          <a:bodyPr vert="vert270" wrap="square"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Bef>
                <a:spcPct val="0"/>
              </a:spcBef>
              <a:spcAft>
                <a:spcPct val="0"/>
              </a:spcAft>
              <a:defRPr/>
            </a:pPr>
            <a:r>
              <a:rPr kumimoji="0" lang="en-US" sz="1750" b="0" i="0" u="none" strike="noStrike" kern="1200" cap="none" spc="0" normalizeH="0" baseline="0" noProof="0">
                <a:ln>
                  <a:noFill/>
                </a:ln>
                <a:effectLst/>
                <a:uLnTx/>
                <a:uFillTx/>
                <a:latin typeface="Segoe UI"/>
                <a:ea typeface="+mn-ea"/>
                <a:cs typeface="Segoe UI"/>
              </a:rPr>
              <a:t>You scale, make</a:t>
            </a:r>
            <a:r>
              <a:rPr lang="en-US" sz="1750">
                <a:latin typeface="Segoe UI"/>
                <a:cs typeface="Segoe UI"/>
              </a:rPr>
              <a:t> </a:t>
            </a:r>
            <a:endParaRPr lang="en-US" sz="1750" b="0" i="0" u="none" strike="noStrike" kern="1200" cap="none" spc="0" normalizeH="0" baseline="0" noProof="0">
              <a:ln>
                <a:noFill/>
              </a:ln>
              <a:effectLst/>
              <a:uLnTx/>
              <a:uFillTx/>
              <a:latin typeface="Segoe UI"/>
              <a:cs typeface="Segoe UI" panose="020B0502040204020203" pitchFamily="34" charset="0"/>
            </a:endParaRPr>
          </a:p>
          <a:p>
            <a:pPr marL="0" marR="0" lvl="1" indent="0" algn="ctr" defTabSz="1217864" rtl="0" eaLnBrk="1" fontAlgn="base" latinLnBrk="0" hangingPunct="1">
              <a:lnSpc>
                <a:spcPct val="100000"/>
              </a:lnSpc>
              <a:spcBef>
                <a:spcPct val="0"/>
              </a:spcBef>
              <a:spcAft>
                <a:spcPct val="0"/>
              </a:spcAft>
              <a:buClrTx/>
              <a:buSzTx/>
              <a:buFontTx/>
              <a:buNone/>
              <a:tabLst/>
              <a:defRPr/>
            </a:pPr>
            <a:r>
              <a:rPr kumimoji="0" lang="en-US" sz="1750" b="0" i="0" u="none" strike="noStrike" kern="1200" cap="none" spc="0" normalizeH="0" baseline="0" noProof="0">
                <a:ln>
                  <a:noFill/>
                </a:ln>
                <a:effectLst/>
                <a:uLnTx/>
                <a:uFillTx/>
                <a:latin typeface="Segoe UI"/>
                <a:ea typeface="+mn-ea"/>
                <a:cs typeface="Segoe UI"/>
              </a:rPr>
              <a:t>resilient &amp; manage</a:t>
            </a:r>
            <a:endParaRPr lang="en-US" sz="1750" b="0" i="0" u="none" strike="noStrike" kern="1200" cap="none" spc="0" normalizeH="0" baseline="0" noProof="0">
              <a:ln>
                <a:noFill/>
              </a:ln>
              <a:effectLst/>
              <a:uLnTx/>
              <a:uFillTx/>
              <a:latin typeface="Segoe UI"/>
              <a:cs typeface="Segoe UI"/>
            </a:endParaRPr>
          </a:p>
        </p:txBody>
      </p:sp>
      <p:sp>
        <p:nvSpPr>
          <p:cNvPr id="22" name="Rectangle 21"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F7632473-8D1A-4A0B-AABF-B83F75AD5056}"/>
              </a:ext>
            </a:extLst>
          </p:cNvPr>
          <p:cNvSpPr/>
          <p:nvPr/>
        </p:nvSpPr>
        <p:spPr>
          <a:xfrm>
            <a:off x="6399903" y="1487363"/>
            <a:ext cx="1724055" cy="65439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Bef>
                <a:spcPct val="0"/>
              </a:spcBef>
              <a:spcAft>
                <a:spcPct val="0"/>
              </a:spcAft>
              <a:defRPr/>
            </a:pPr>
            <a:r>
              <a:rPr kumimoji="0" lang="en-US" sz="1750" b="0" i="0" u="none" strike="noStrike" kern="1200" cap="none" spc="0" normalizeH="0" baseline="0" noProof="0" dirty="0">
                <a:ln>
                  <a:noFill/>
                </a:ln>
                <a:solidFill>
                  <a:schemeClr val="tx1"/>
                </a:solidFill>
                <a:effectLst/>
                <a:uLnTx/>
                <a:uFillTx/>
                <a:latin typeface="Segoe UI"/>
                <a:cs typeface="Segoe UI Light"/>
              </a:rPr>
              <a:t>Platform</a:t>
            </a:r>
            <a:r>
              <a:rPr lang="en-US" sz="1750" dirty="0">
                <a:solidFill>
                  <a:schemeClr val="tx1"/>
                </a:solidFill>
                <a:latin typeface="Segoe UI"/>
                <a:cs typeface="Segoe UI Light"/>
              </a:rPr>
              <a:t> </a:t>
            </a:r>
            <a:endParaRPr lang="en-US" sz="1750" b="0" i="0" u="none" strike="noStrike" kern="1200" cap="none" spc="0" normalizeH="0" baseline="0" noProof="0" dirty="0">
              <a:ln>
                <a:noFill/>
              </a:ln>
              <a:solidFill>
                <a:schemeClr val="tx1"/>
              </a:solidFill>
              <a:effectLst/>
              <a:uLnTx/>
              <a:uFillTx/>
              <a:latin typeface="Segoe UI"/>
              <a:cs typeface="Segoe UI Light" panose="020B0502040204020203" pitchFamily="34" charset="0"/>
            </a:endParaRPr>
          </a:p>
          <a:p>
            <a:pPr marL="0" marR="0" lvl="1" indent="0" algn="ctr" defTabSz="1217864" rtl="0" eaLnBrk="1" fontAlgn="base" latinLnBrk="0" hangingPunct="1">
              <a:lnSpc>
                <a:spcPct val="100000"/>
              </a:lnSpc>
              <a:spcBef>
                <a:spcPct val="0"/>
              </a:spcBef>
              <a:spcAft>
                <a:spcPct val="0"/>
              </a:spcAft>
              <a:buClrTx/>
              <a:buSzTx/>
              <a:buFontTx/>
              <a:buNone/>
              <a:tabLst/>
              <a:defRPr/>
            </a:pPr>
            <a:r>
              <a:rPr kumimoji="0" lang="en-US" sz="1750" b="0" i="0" u="none" strike="noStrike" kern="1200" cap="none" spc="0" normalizeH="0" baseline="0" noProof="0" dirty="0">
                <a:ln>
                  <a:noFill/>
                </a:ln>
                <a:solidFill>
                  <a:schemeClr val="tx1"/>
                </a:solidFill>
                <a:effectLst/>
                <a:uLnTx/>
                <a:uFillTx/>
                <a:latin typeface="Segoe UI"/>
                <a:cs typeface="Segoe UI Light"/>
              </a:rPr>
              <a:t>(as a Service)</a:t>
            </a:r>
            <a:endParaRPr lang="en-US" sz="1750" b="0" i="0" u="none" strike="noStrike" kern="1200" cap="none" spc="0" normalizeH="0" baseline="0" noProof="0" dirty="0">
              <a:ln>
                <a:noFill/>
              </a:ln>
              <a:solidFill>
                <a:schemeClr val="tx1"/>
              </a:solidFill>
              <a:effectLst/>
              <a:uLnTx/>
              <a:uFillTx/>
              <a:latin typeface="Segoe UI"/>
              <a:cs typeface="Segoe UI Light"/>
            </a:endParaRPr>
          </a:p>
        </p:txBody>
      </p:sp>
      <p:sp>
        <p:nvSpPr>
          <p:cNvPr id="23" name="Left Brace 22"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D82D6CEF-48B4-4968-8305-9A4C54E4BD4C}"/>
              </a:ext>
            </a:extLst>
          </p:cNvPr>
          <p:cNvSpPr/>
          <p:nvPr/>
        </p:nvSpPr>
        <p:spPr>
          <a:xfrm flipH="1">
            <a:off x="8041688" y="3096770"/>
            <a:ext cx="209466" cy="3121249"/>
          </a:xfrm>
          <a:prstGeom prst="leftBrace">
            <a:avLst>
              <a:gd name="adj1" fmla="val 0"/>
              <a:gd name="adj2" fmla="val 50000"/>
            </a:avLst>
          </a:prstGeom>
          <a:noFill/>
          <a:ln w="9525" cap="flat" cmpd="sng" algn="ctr">
            <a:solidFill>
              <a:sysClr val="windowText" lastClr="000000">
                <a:shade val="95000"/>
                <a:satMod val="105000"/>
              </a:sysClr>
            </a:solidFill>
            <a:prstDash val="solid"/>
          </a:ln>
          <a:effectLst/>
        </p:spPr>
        <p:txBody>
          <a:bodyPr rtlCol="0" anchor="ctr"/>
          <a:lstStyle/>
          <a:p>
            <a:pPr marL="0" marR="0" lvl="0" indent="0" algn="ctr" defTabSz="1217964" rtl="0" eaLnBrk="0" fontAlgn="base" latinLnBrk="0" hangingPunct="0">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24" name="TextBox 54"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C230FA1C-9206-49F8-BA54-58C9B86AF0BC}"/>
              </a:ext>
            </a:extLst>
          </p:cNvPr>
          <p:cNvSpPr txBox="1"/>
          <p:nvPr/>
        </p:nvSpPr>
        <p:spPr>
          <a:xfrm rot="10800000" flipH="1">
            <a:off x="8123958" y="3079550"/>
            <a:ext cx="723275" cy="2984782"/>
          </a:xfrm>
          <a:prstGeom prst="rect">
            <a:avLst/>
          </a:prstGeom>
          <a:noFill/>
        </p:spPr>
        <p:txBody>
          <a:bodyPr vert="eaVert" wrap="square"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864" rtl="0" eaLnBrk="1" fontAlgn="base" latinLnBrk="0" hangingPunct="1">
              <a:lnSpc>
                <a:spcPct val="100000"/>
              </a:lnSpc>
              <a:spcBef>
                <a:spcPct val="0"/>
              </a:spcBef>
              <a:spcAft>
                <a:spcPct val="0"/>
              </a:spcAft>
              <a:buClrTx/>
              <a:buSzTx/>
              <a:buFontTx/>
              <a:buNone/>
              <a:tabLst/>
              <a:defRPr/>
            </a:pPr>
            <a:r>
              <a:rPr kumimoji="0" lang="en-US" sz="1750" b="0" i="0" u="none" strike="noStrike" kern="1200" cap="none" spc="0" normalizeH="0" baseline="0" noProof="0">
                <a:ln>
                  <a:noFill/>
                </a:ln>
                <a:effectLst/>
                <a:uLnTx/>
                <a:uFillTx/>
                <a:latin typeface="Segoe UI"/>
                <a:ea typeface="+mn-ea"/>
                <a:cs typeface="Segoe UI"/>
              </a:rPr>
              <a:t>Scale, resilience and </a:t>
            </a:r>
            <a:br>
              <a:rPr lang="en-US" sz="1750" b="0" i="0" u="none" strike="noStrike" kern="1200" cap="none" spc="0" normalizeH="0" baseline="0" noProof="0">
                <a:ln>
                  <a:noFill/>
                </a:ln>
                <a:effectLst/>
                <a:uLnTx/>
                <a:uFillTx/>
                <a:latin typeface="Segoe UI"/>
                <a:cs typeface="Segoe UI" panose="020B0502040204020203" pitchFamily="34" charset="0"/>
              </a:rPr>
            </a:br>
            <a:r>
              <a:rPr kumimoji="0" lang="en-US" sz="1750" b="0" i="0" u="none" strike="noStrike" kern="1200" cap="none" spc="0" normalizeH="0" baseline="0" noProof="0">
                <a:ln>
                  <a:noFill/>
                </a:ln>
                <a:effectLst/>
                <a:uLnTx/>
                <a:uFillTx/>
                <a:latin typeface="Segoe UI"/>
                <a:ea typeface="+mn-ea"/>
                <a:cs typeface="Segoe UI"/>
              </a:rPr>
              <a:t>management by vendor</a:t>
            </a:r>
            <a:endParaRPr lang="en-US" sz="1750" b="0" i="0" u="none" strike="noStrike" kern="1200" cap="none" spc="0" normalizeH="0" baseline="0" noProof="0">
              <a:ln>
                <a:noFill/>
              </a:ln>
              <a:effectLst/>
              <a:uLnTx/>
              <a:uFillTx/>
              <a:latin typeface="Segoe UI"/>
              <a:cs typeface="Segoe UI"/>
            </a:endParaRPr>
          </a:p>
        </p:txBody>
      </p:sp>
      <p:sp>
        <p:nvSpPr>
          <p:cNvPr id="25" name="Left Brace 24"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66F53200-0AF0-4529-A41B-BA5E6DE59444}"/>
              </a:ext>
            </a:extLst>
          </p:cNvPr>
          <p:cNvSpPr/>
          <p:nvPr/>
        </p:nvSpPr>
        <p:spPr>
          <a:xfrm>
            <a:off x="6233345" y="2173348"/>
            <a:ext cx="152317" cy="847264"/>
          </a:xfrm>
          <a:prstGeom prst="leftBrace">
            <a:avLst>
              <a:gd name="adj1" fmla="val 0"/>
              <a:gd name="adj2" fmla="val 50000"/>
            </a:avLst>
          </a:prstGeom>
          <a:noFill/>
          <a:ln w="9525" cap="flat" cmpd="sng" algn="ctr">
            <a:solidFill>
              <a:sysClr val="windowText" lastClr="000000">
                <a:shade val="95000"/>
                <a:satMod val="105000"/>
              </a:sysClr>
            </a:solidFill>
            <a:prstDash val="solid"/>
          </a:ln>
          <a:effectLst/>
        </p:spPr>
        <p:txBody>
          <a:bodyPr rtlCol="0" anchor="ctr"/>
          <a:lstStyle/>
          <a:p>
            <a:pPr marL="0" marR="0" lvl="0" indent="0" algn="ctr" defTabSz="1217964" rtl="0" eaLnBrk="0" fontAlgn="base" latinLnBrk="0" hangingPunct="0">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26" name="TextBox 60"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5435210F-E558-4586-A5C5-B4E1549E8670}"/>
              </a:ext>
            </a:extLst>
          </p:cNvPr>
          <p:cNvSpPr txBox="1"/>
          <p:nvPr/>
        </p:nvSpPr>
        <p:spPr>
          <a:xfrm>
            <a:off x="5715444" y="2079805"/>
            <a:ext cx="453970" cy="1311706"/>
          </a:xfrm>
          <a:prstGeom prst="rect">
            <a:avLst/>
          </a:prstGeom>
          <a:noFill/>
        </p:spPr>
        <p:txBody>
          <a:bodyPr vert="vert270" wrap="none"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864" rtl="0" eaLnBrk="1" fontAlgn="base" latinLnBrk="0" hangingPunct="1">
              <a:lnSpc>
                <a:spcPct val="100000"/>
              </a:lnSpc>
              <a:spcBef>
                <a:spcPct val="0"/>
              </a:spcBef>
              <a:spcAft>
                <a:spcPct val="0"/>
              </a:spcAft>
              <a:buClrTx/>
              <a:buSzTx/>
              <a:buFontTx/>
              <a:buNone/>
              <a:tabLst/>
              <a:defRPr/>
            </a:pPr>
            <a:r>
              <a:rPr kumimoji="0" lang="en-US" sz="1750" b="0" i="0" u="none" strike="noStrike" kern="1200" cap="none" spc="0" normalizeH="0" baseline="0" noProof="0">
                <a:ln>
                  <a:noFill/>
                </a:ln>
                <a:effectLst/>
                <a:uLnTx/>
                <a:uFillTx/>
                <a:latin typeface="Segoe UI"/>
                <a:ea typeface="+mn-ea"/>
                <a:cs typeface="Segoe UI"/>
              </a:rPr>
              <a:t>You manage</a:t>
            </a:r>
            <a:endParaRPr lang="en-US" sz="1750" b="0" i="0" u="none" strike="noStrike" kern="1200" cap="none" spc="0" normalizeH="0" baseline="0" noProof="0">
              <a:ln>
                <a:noFill/>
              </a:ln>
              <a:effectLst/>
              <a:uLnTx/>
              <a:uFillTx/>
              <a:latin typeface="Segoe UI"/>
              <a:cs typeface="Segoe UI"/>
            </a:endParaRPr>
          </a:p>
        </p:txBody>
      </p:sp>
      <p:sp>
        <p:nvSpPr>
          <p:cNvPr id="27" name="Rectangle 26"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1F9501E1-C29D-4BB2-9485-9F1D3DFC1E27}"/>
              </a:ext>
            </a:extLst>
          </p:cNvPr>
          <p:cNvSpPr/>
          <p:nvPr/>
        </p:nvSpPr>
        <p:spPr>
          <a:xfrm>
            <a:off x="6395084" y="5374390"/>
            <a:ext cx="1637349"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Storage</a:t>
            </a:r>
          </a:p>
        </p:txBody>
      </p:sp>
      <p:sp>
        <p:nvSpPr>
          <p:cNvPr id="28" name="Rectangle 27"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9400EB85-A7B8-4776-96AF-BCEC33EF0D39}"/>
              </a:ext>
            </a:extLst>
          </p:cNvPr>
          <p:cNvSpPr/>
          <p:nvPr/>
        </p:nvSpPr>
        <p:spPr>
          <a:xfrm>
            <a:off x="6395084" y="4919818"/>
            <a:ext cx="1637349"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Servers</a:t>
            </a:r>
          </a:p>
        </p:txBody>
      </p:sp>
      <p:sp>
        <p:nvSpPr>
          <p:cNvPr id="29" name="Rectangle 28"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BD6CC425-E887-4BC3-9F33-A10161D9B480}"/>
              </a:ext>
            </a:extLst>
          </p:cNvPr>
          <p:cNvSpPr/>
          <p:nvPr/>
        </p:nvSpPr>
        <p:spPr>
          <a:xfrm>
            <a:off x="6395084" y="5828960"/>
            <a:ext cx="1637349"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Networking</a:t>
            </a:r>
          </a:p>
        </p:txBody>
      </p:sp>
      <p:sp>
        <p:nvSpPr>
          <p:cNvPr id="30" name="Rectangle 29"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13F0463C-1437-4452-890C-F930C20145BB}"/>
              </a:ext>
            </a:extLst>
          </p:cNvPr>
          <p:cNvSpPr/>
          <p:nvPr/>
        </p:nvSpPr>
        <p:spPr>
          <a:xfrm>
            <a:off x="6395084" y="4010675"/>
            <a:ext cx="1637349"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O/S</a:t>
            </a:r>
          </a:p>
        </p:txBody>
      </p:sp>
      <p:sp>
        <p:nvSpPr>
          <p:cNvPr id="31" name="Rectangle 30"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E6C34FBB-0F49-418B-85C3-D705F12D6EC4}"/>
              </a:ext>
            </a:extLst>
          </p:cNvPr>
          <p:cNvSpPr/>
          <p:nvPr/>
        </p:nvSpPr>
        <p:spPr>
          <a:xfrm>
            <a:off x="6395084" y="3556102"/>
            <a:ext cx="1637349"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Middleware</a:t>
            </a:r>
          </a:p>
        </p:txBody>
      </p:sp>
      <p:sp>
        <p:nvSpPr>
          <p:cNvPr id="32" name="Rectangle 31"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8E3BECF8-6FD9-4E4B-AB02-210DC5A05DAA}"/>
              </a:ext>
            </a:extLst>
          </p:cNvPr>
          <p:cNvSpPr/>
          <p:nvPr/>
        </p:nvSpPr>
        <p:spPr>
          <a:xfrm>
            <a:off x="6395084" y="4465247"/>
            <a:ext cx="1637349"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Virtualization</a:t>
            </a:r>
          </a:p>
        </p:txBody>
      </p:sp>
      <p:sp>
        <p:nvSpPr>
          <p:cNvPr id="33" name="Rectangle 32"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5409B55B-8882-4A16-92FE-B768106273E1}"/>
              </a:ext>
            </a:extLst>
          </p:cNvPr>
          <p:cNvSpPr/>
          <p:nvPr/>
        </p:nvSpPr>
        <p:spPr>
          <a:xfrm>
            <a:off x="6395084" y="2192390"/>
            <a:ext cx="1637349" cy="380793"/>
          </a:xfrm>
          <a:prstGeom prst="rect">
            <a:avLst/>
          </a:prstGeom>
          <a:solidFill>
            <a:schemeClr val="tx2"/>
          </a:solidFill>
          <a:ln w="9525" cap="flat" cmpd="sng" algn="ctr">
            <a:noFill/>
            <a:prstDash val="solid"/>
          </a:ln>
          <a:effectLst/>
        </p:spPr>
        <p:txBody>
          <a:bodyPr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Applications</a:t>
            </a:r>
          </a:p>
        </p:txBody>
      </p:sp>
      <p:sp>
        <p:nvSpPr>
          <p:cNvPr id="34" name="Rectangle 33"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B49F66DF-ED55-4E5F-BDC8-1B98E0CD1280}"/>
              </a:ext>
            </a:extLst>
          </p:cNvPr>
          <p:cNvSpPr/>
          <p:nvPr/>
        </p:nvSpPr>
        <p:spPr>
          <a:xfrm>
            <a:off x="6395084" y="3101533"/>
            <a:ext cx="1637349"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Runtime</a:t>
            </a:r>
          </a:p>
        </p:txBody>
      </p:sp>
      <p:sp>
        <p:nvSpPr>
          <p:cNvPr id="35" name="Rectangle 34"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9EA92E25-2F49-4365-89D2-0A94D2CD188A}"/>
              </a:ext>
            </a:extLst>
          </p:cNvPr>
          <p:cNvSpPr/>
          <p:nvPr/>
        </p:nvSpPr>
        <p:spPr>
          <a:xfrm>
            <a:off x="6395084" y="2646961"/>
            <a:ext cx="1637349" cy="380793"/>
          </a:xfrm>
          <a:prstGeom prst="rect">
            <a:avLst/>
          </a:prstGeom>
          <a:solidFill>
            <a:schemeClr val="tx2"/>
          </a:solidFill>
          <a:ln w="9525" cap="flat" cmpd="sng" algn="ctr">
            <a:noFill/>
            <a:prstDash val="solid"/>
          </a:ln>
          <a:effectLst/>
        </p:spPr>
        <p:txBody>
          <a:bodyPr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Data</a:t>
            </a:r>
          </a:p>
        </p:txBody>
      </p:sp>
      <p:sp>
        <p:nvSpPr>
          <p:cNvPr id="36" name="Rectangle 35"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448663E4-0322-4112-ADFC-761E775C778F}"/>
              </a:ext>
            </a:extLst>
          </p:cNvPr>
          <p:cNvSpPr/>
          <p:nvPr/>
        </p:nvSpPr>
        <p:spPr>
          <a:xfrm>
            <a:off x="933314" y="1078260"/>
            <a:ext cx="7677288" cy="39996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864" rtl="0" eaLnBrk="1" fontAlgn="base" latinLnBrk="0" hangingPunct="1">
              <a:lnSpc>
                <a:spcPct val="100000"/>
              </a:lnSpc>
              <a:spcBef>
                <a:spcPct val="0"/>
              </a:spcBef>
              <a:spcAft>
                <a:spcPct val="0"/>
              </a:spcAft>
              <a:buClrTx/>
              <a:buSzTx/>
              <a:buFontTx/>
              <a:buNone/>
              <a:tabLst/>
              <a:defRPr/>
            </a:pPr>
            <a:r>
              <a:rPr kumimoji="0" lang="en-US" sz="2599"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Hosting models</a:t>
            </a:r>
          </a:p>
        </p:txBody>
      </p:sp>
      <p:sp>
        <p:nvSpPr>
          <p:cNvPr id="37" name="Rectangle 36"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CABD6AEF-09AF-4C9A-BBE4-5FCBC908164D}"/>
              </a:ext>
            </a:extLst>
          </p:cNvPr>
          <p:cNvSpPr/>
          <p:nvPr/>
        </p:nvSpPr>
        <p:spPr bwMode="auto">
          <a:xfrm>
            <a:off x="8915400" y="984194"/>
            <a:ext cx="2630191" cy="5276974"/>
          </a:xfrm>
          <a:prstGeom prst="rect">
            <a:avLst/>
          </a:prstGeom>
          <a:solidFill>
            <a:sysClr val="window" lastClr="FFFFFF"/>
          </a:solidFill>
          <a:ln w="25400" cap="flat" cmpd="sng" algn="ctr">
            <a:solidFill>
              <a:sysClr val="windowText" lastClr="000000"/>
            </a:solidFill>
            <a:prstDash val="solid"/>
            <a:headEnd type="none" w="med" len="med"/>
            <a:tailEnd type="none" w="med" len="med"/>
          </a:ln>
          <a:effectLst/>
        </p:spPr>
        <p:txBody>
          <a:bodyPr vert="horz" wrap="square" lIns="76133" tIns="38067" rIns="76133" bIns="38067" numCol="1" rtlCol="0" anchor="ctr" anchorCtr="0" compatLnSpc="1">
            <a:prstTxWarp prst="textNoShape">
              <a:avLst/>
            </a:prstTxWarp>
          </a:bodyPr>
          <a:lstStyle/>
          <a:p>
            <a:pPr marL="0" marR="0" lvl="0" indent="0" algn="ctr" defTabSz="761016" rtl="0" eaLnBrk="0" fontAlgn="base" latinLnBrk="0" hangingPunct="0">
              <a:lnSpc>
                <a:spcPct val="100000"/>
              </a:lnSpc>
              <a:spcBef>
                <a:spcPct val="0"/>
              </a:spcBef>
              <a:spcAft>
                <a:spcPct val="0"/>
              </a:spcAft>
              <a:buClrTx/>
              <a:buSzTx/>
              <a:buFontTx/>
              <a:buNone/>
              <a:tabLst/>
              <a:defRPr/>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 name="Rectangle 37"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8CFBDFB8-E0E8-4016-B99A-FB29AB32CF36}"/>
              </a:ext>
            </a:extLst>
          </p:cNvPr>
          <p:cNvSpPr/>
          <p:nvPr/>
        </p:nvSpPr>
        <p:spPr>
          <a:xfrm>
            <a:off x="8991601" y="1564586"/>
            <a:ext cx="1661521" cy="639731"/>
          </a:xfrm>
          <a:prstGeom prst="rect">
            <a:avLst/>
          </a:prstGeom>
          <a:noFill/>
          <a:ln w="9525" cap="flat" cmpd="sng" algn="ctr">
            <a:noFill/>
            <a:prstDash val="solid"/>
          </a:ln>
          <a:effectLst/>
        </p:spPr>
        <p:txBody>
          <a:bodyPr lIns="76138" tIns="0" rIns="7613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Bef>
                <a:spcPct val="0"/>
              </a:spcBef>
              <a:spcAft>
                <a:spcPct val="0"/>
              </a:spcAft>
              <a:defRPr/>
            </a:pPr>
            <a:r>
              <a:rPr kumimoji="0" lang="en-US" sz="1750" b="0" i="0" u="none" strike="noStrike" kern="1200" cap="none" spc="0" normalizeH="0" baseline="0" noProof="0" dirty="0">
                <a:ln>
                  <a:noFill/>
                </a:ln>
                <a:solidFill>
                  <a:schemeClr val="tx1"/>
                </a:solidFill>
                <a:effectLst/>
                <a:uLnTx/>
                <a:uFillTx/>
                <a:latin typeface="Segoe UI"/>
                <a:cs typeface="Segoe UI Light"/>
              </a:rPr>
              <a:t>Software</a:t>
            </a:r>
            <a:r>
              <a:rPr lang="en-US" sz="1750" dirty="0">
                <a:solidFill>
                  <a:schemeClr val="tx1"/>
                </a:solidFill>
                <a:latin typeface="Segoe UI"/>
                <a:cs typeface="Segoe UI Light"/>
              </a:rPr>
              <a:t> </a:t>
            </a:r>
            <a:endParaRPr lang="en-US" sz="1750" dirty="0">
              <a:solidFill>
                <a:schemeClr val="tx1"/>
              </a:solidFill>
              <a:latin typeface="Segoe UI"/>
              <a:cs typeface="Segoe UI"/>
            </a:endParaRPr>
          </a:p>
          <a:p>
            <a:pPr marL="0" marR="0" lvl="1" indent="0" algn="ctr" defTabSz="1217864" rtl="0" eaLnBrk="1" fontAlgn="base" latinLnBrk="0" hangingPunct="1">
              <a:lnSpc>
                <a:spcPct val="100000"/>
              </a:lnSpc>
              <a:spcBef>
                <a:spcPct val="0"/>
              </a:spcBef>
              <a:spcAft>
                <a:spcPct val="0"/>
              </a:spcAft>
              <a:buClrTx/>
              <a:buSzTx/>
              <a:buFontTx/>
              <a:buNone/>
              <a:tabLst/>
              <a:defRPr/>
            </a:pPr>
            <a:r>
              <a:rPr kumimoji="0" lang="en-US" sz="1750" b="0" i="0" u="none" strike="noStrike" kern="1200" cap="none" spc="0" normalizeH="0" baseline="0" noProof="0" dirty="0">
                <a:ln>
                  <a:noFill/>
                </a:ln>
                <a:solidFill>
                  <a:schemeClr val="tx1"/>
                </a:solidFill>
                <a:effectLst/>
                <a:uLnTx/>
                <a:uFillTx/>
                <a:latin typeface="Segoe UI"/>
                <a:cs typeface="Segoe UI Light"/>
              </a:rPr>
              <a:t>(as a Service)</a:t>
            </a:r>
            <a:endParaRPr lang="en-US" sz="1750" b="0" i="0" u="none" strike="noStrike" kern="1200" cap="none" spc="0" normalizeH="0" baseline="0" noProof="0" dirty="0">
              <a:ln>
                <a:noFill/>
              </a:ln>
              <a:solidFill>
                <a:schemeClr val="tx1"/>
              </a:solidFill>
              <a:effectLst/>
              <a:uLnTx/>
              <a:uFillTx/>
              <a:latin typeface="Segoe UI"/>
              <a:cs typeface="Segoe UI Light"/>
            </a:endParaRPr>
          </a:p>
        </p:txBody>
      </p:sp>
      <p:sp>
        <p:nvSpPr>
          <p:cNvPr id="39" name="Rectangle 38"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D81D16AC-2295-47F2-8BC9-254D32D333E9}"/>
              </a:ext>
            </a:extLst>
          </p:cNvPr>
          <p:cNvSpPr/>
          <p:nvPr/>
        </p:nvSpPr>
        <p:spPr>
          <a:xfrm>
            <a:off x="9008252" y="5374388"/>
            <a:ext cx="1637349"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Storage</a:t>
            </a:r>
          </a:p>
        </p:txBody>
      </p:sp>
      <p:sp>
        <p:nvSpPr>
          <p:cNvPr id="40" name="Rectangle 39"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A36E4D75-6CDF-4E47-8421-9CC80B8407D5}"/>
              </a:ext>
            </a:extLst>
          </p:cNvPr>
          <p:cNvSpPr/>
          <p:nvPr/>
        </p:nvSpPr>
        <p:spPr>
          <a:xfrm>
            <a:off x="9008252" y="4919815"/>
            <a:ext cx="1637349"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Servers</a:t>
            </a:r>
          </a:p>
        </p:txBody>
      </p:sp>
      <p:sp>
        <p:nvSpPr>
          <p:cNvPr id="41" name="Rectangle 40"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9030BA2A-BF97-4D6C-BECF-D65E02AD13FB}"/>
              </a:ext>
            </a:extLst>
          </p:cNvPr>
          <p:cNvSpPr/>
          <p:nvPr/>
        </p:nvSpPr>
        <p:spPr>
          <a:xfrm>
            <a:off x="9008252" y="5828957"/>
            <a:ext cx="1637349"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Networking</a:t>
            </a:r>
          </a:p>
        </p:txBody>
      </p:sp>
      <p:sp>
        <p:nvSpPr>
          <p:cNvPr id="42" name="Rectangle 41"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F8759418-147D-4439-B877-C5D78C14A362}"/>
              </a:ext>
            </a:extLst>
          </p:cNvPr>
          <p:cNvSpPr/>
          <p:nvPr/>
        </p:nvSpPr>
        <p:spPr>
          <a:xfrm>
            <a:off x="9008252" y="4010673"/>
            <a:ext cx="1637349"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O/S</a:t>
            </a:r>
          </a:p>
        </p:txBody>
      </p:sp>
      <p:sp>
        <p:nvSpPr>
          <p:cNvPr id="43" name="Rectangle 42"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37809154-6676-423A-BA2D-AB2DCD41973B}"/>
              </a:ext>
            </a:extLst>
          </p:cNvPr>
          <p:cNvSpPr/>
          <p:nvPr/>
        </p:nvSpPr>
        <p:spPr>
          <a:xfrm>
            <a:off x="9008252" y="3556100"/>
            <a:ext cx="1637349"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Middleware</a:t>
            </a:r>
          </a:p>
        </p:txBody>
      </p:sp>
      <p:sp>
        <p:nvSpPr>
          <p:cNvPr id="44" name="Rectangle 43"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2203971B-41FD-4043-83A1-14EC2E9237CB}"/>
              </a:ext>
            </a:extLst>
          </p:cNvPr>
          <p:cNvSpPr/>
          <p:nvPr/>
        </p:nvSpPr>
        <p:spPr>
          <a:xfrm>
            <a:off x="9008252" y="4465243"/>
            <a:ext cx="1637349"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Virtualization</a:t>
            </a:r>
          </a:p>
        </p:txBody>
      </p:sp>
      <p:sp>
        <p:nvSpPr>
          <p:cNvPr id="45" name="Rectangle 44"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5942A1C4-46E0-4E2E-82ED-21765EAF4BC3}"/>
              </a:ext>
            </a:extLst>
          </p:cNvPr>
          <p:cNvSpPr/>
          <p:nvPr/>
        </p:nvSpPr>
        <p:spPr>
          <a:xfrm>
            <a:off x="9008252" y="2192386"/>
            <a:ext cx="1637349"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Applications</a:t>
            </a:r>
          </a:p>
        </p:txBody>
      </p:sp>
      <p:sp>
        <p:nvSpPr>
          <p:cNvPr id="46" name="Rectangle 45"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55F65A84-A685-497E-A9A3-ABC4C3DA7FB1}"/>
              </a:ext>
            </a:extLst>
          </p:cNvPr>
          <p:cNvSpPr/>
          <p:nvPr/>
        </p:nvSpPr>
        <p:spPr>
          <a:xfrm>
            <a:off x="9008252" y="3101530"/>
            <a:ext cx="1637349"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Runtime</a:t>
            </a:r>
          </a:p>
        </p:txBody>
      </p:sp>
      <p:sp>
        <p:nvSpPr>
          <p:cNvPr id="47" name="Rectangle 46"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4BF20A39-ACC1-49D2-826D-D2A148B01020}"/>
              </a:ext>
            </a:extLst>
          </p:cNvPr>
          <p:cNvSpPr/>
          <p:nvPr/>
        </p:nvSpPr>
        <p:spPr>
          <a:xfrm>
            <a:off x="9008252" y="2646958"/>
            <a:ext cx="1637349" cy="380793"/>
          </a:xfrm>
          <a:prstGeom prst="rect">
            <a:avLst/>
          </a:prstGeom>
          <a:solidFill>
            <a:srgbClr val="107C10"/>
          </a:solidFill>
          <a:ln w="9525" cap="flat" cmpd="sng" algn="ctr">
            <a:noFill/>
            <a:prstDash val="solid"/>
          </a:ln>
          <a:effectLst/>
        </p:spPr>
        <p:txBody>
          <a:bodyPr lIns="0" rIns="0"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Data</a:t>
            </a:r>
          </a:p>
        </p:txBody>
      </p:sp>
      <p:sp>
        <p:nvSpPr>
          <p:cNvPr id="48" name="Rectangle 47"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6D027800-E78A-4E22-B8CC-37C13BDB97D1}"/>
              </a:ext>
            </a:extLst>
          </p:cNvPr>
          <p:cNvSpPr/>
          <p:nvPr/>
        </p:nvSpPr>
        <p:spPr>
          <a:xfrm>
            <a:off x="8980124" y="1090589"/>
            <a:ext cx="2278566" cy="369089"/>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864" rtl="0" eaLnBrk="1" fontAlgn="base" latinLnBrk="0" hangingPunct="1">
              <a:lnSpc>
                <a:spcPct val="100000"/>
              </a:lnSpc>
              <a:spcBef>
                <a:spcPct val="0"/>
              </a:spcBef>
              <a:spcAft>
                <a:spcPct val="0"/>
              </a:spcAft>
              <a:buClrTx/>
              <a:buSzTx/>
              <a:buFontTx/>
              <a:buNone/>
              <a:tabLst/>
              <a:defRPr/>
            </a:pPr>
            <a:r>
              <a:rPr kumimoji="0" lang="en-US" sz="2599"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Business model</a:t>
            </a:r>
          </a:p>
        </p:txBody>
      </p:sp>
      <p:sp>
        <p:nvSpPr>
          <p:cNvPr id="49" name="Rectangle 48"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12B7BF20-F662-4259-A44C-5364B3F22398}"/>
              </a:ext>
            </a:extLst>
          </p:cNvPr>
          <p:cNvSpPr/>
          <p:nvPr/>
        </p:nvSpPr>
        <p:spPr>
          <a:xfrm>
            <a:off x="1296163" y="5367248"/>
            <a:ext cx="1637350" cy="380793"/>
          </a:xfrm>
          <a:prstGeom prst="rect">
            <a:avLst/>
          </a:prstGeom>
          <a:solidFill>
            <a:schemeClr val="tx2"/>
          </a:solidFill>
          <a:ln w="9525" cap="flat" cmpd="sng" algn="ctr">
            <a:noFill/>
            <a:prstDash val="solid"/>
          </a:ln>
          <a:effectLst/>
        </p:spPr>
        <p:txBody>
          <a:bodyPr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Storage</a:t>
            </a:r>
          </a:p>
        </p:txBody>
      </p:sp>
      <p:sp>
        <p:nvSpPr>
          <p:cNvPr id="50" name="Rectangle 49"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BC806CFC-87AB-4964-81CE-B1F34D2E2985}"/>
              </a:ext>
            </a:extLst>
          </p:cNvPr>
          <p:cNvSpPr/>
          <p:nvPr/>
        </p:nvSpPr>
        <p:spPr>
          <a:xfrm>
            <a:off x="1296163" y="4912676"/>
            <a:ext cx="1637350" cy="380793"/>
          </a:xfrm>
          <a:prstGeom prst="rect">
            <a:avLst/>
          </a:prstGeom>
          <a:solidFill>
            <a:schemeClr val="tx2"/>
          </a:solidFill>
          <a:ln w="9525" cap="flat" cmpd="sng" algn="ctr">
            <a:noFill/>
            <a:prstDash val="solid"/>
          </a:ln>
          <a:effectLst/>
        </p:spPr>
        <p:txBody>
          <a:bodyPr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Servers</a:t>
            </a:r>
          </a:p>
        </p:txBody>
      </p:sp>
      <p:sp>
        <p:nvSpPr>
          <p:cNvPr id="51" name="Rectangle 50"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F1F8EFCA-DC17-410D-A686-4DC92760B759}"/>
              </a:ext>
            </a:extLst>
          </p:cNvPr>
          <p:cNvSpPr/>
          <p:nvPr/>
        </p:nvSpPr>
        <p:spPr>
          <a:xfrm>
            <a:off x="1296163" y="5821817"/>
            <a:ext cx="1637350" cy="380793"/>
          </a:xfrm>
          <a:prstGeom prst="rect">
            <a:avLst/>
          </a:prstGeom>
          <a:solidFill>
            <a:schemeClr val="tx2"/>
          </a:solidFill>
          <a:ln w="9525" cap="flat" cmpd="sng" algn="ctr">
            <a:noFill/>
            <a:prstDash val="solid"/>
          </a:ln>
          <a:effectLst/>
        </p:spPr>
        <p:txBody>
          <a:bodyPr rtlCol="0" anchor="ctr" anchorCtr="0"/>
          <a:lstStyle/>
          <a:p>
            <a:pPr marL="0" marR="0" lvl="0" indent="0" algn="ctr" defTabSz="1217964" rtl="0" eaLnBrk="0" fontAlgn="base" latinLnBrk="0" hangingPunct="0">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Networking</a:t>
            </a:r>
          </a:p>
        </p:txBody>
      </p:sp>
      <p:sp>
        <p:nvSpPr>
          <p:cNvPr id="52" name="Rectangle 51"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BEDB0322-95D6-4FE9-BB7C-D98CF8FD385F}"/>
              </a:ext>
            </a:extLst>
          </p:cNvPr>
          <p:cNvSpPr/>
          <p:nvPr/>
        </p:nvSpPr>
        <p:spPr>
          <a:xfrm>
            <a:off x="1296163" y="4003534"/>
            <a:ext cx="1637350" cy="380793"/>
          </a:xfrm>
          <a:prstGeom prst="rect">
            <a:avLst/>
          </a:prstGeom>
          <a:solidFill>
            <a:schemeClr val="tx2"/>
          </a:solidFill>
          <a:ln w="9525" cap="flat" cmpd="sng" algn="ctr">
            <a:noFill/>
            <a:prstDash val="solid"/>
          </a:ln>
          <a:effectLst/>
        </p:spPr>
        <p:txBody>
          <a:bodyPr rtlCol="0" anchor="ctr" anchorCtr="0"/>
          <a:lstStyle/>
          <a:p>
            <a:pPr algn="ctr" defTabSz="1217964" eaLnBrk="0" fontAlgn="base" hangingPunct="0">
              <a:spcBef>
                <a:spcPct val="0"/>
              </a:spcBef>
              <a:spcAft>
                <a:spcPct val="0"/>
              </a:spcAft>
              <a:defRPr/>
            </a:pPr>
            <a:r>
              <a:rPr lang="en-US" sz="1300">
                <a:solidFill>
                  <a:prstClr val="white"/>
                </a:solidFill>
                <a:latin typeface="Segoe UI"/>
                <a:cs typeface="Segoe UI" panose="020B0502040204020203" pitchFamily="34" charset="0"/>
              </a:rPr>
              <a:t>O/S</a:t>
            </a:r>
          </a:p>
        </p:txBody>
      </p:sp>
      <p:sp>
        <p:nvSpPr>
          <p:cNvPr id="53" name="Rectangle 52"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E7EDEE7C-71E9-4C6E-9497-E4F0F2794F12}"/>
              </a:ext>
            </a:extLst>
          </p:cNvPr>
          <p:cNvSpPr/>
          <p:nvPr/>
        </p:nvSpPr>
        <p:spPr>
          <a:xfrm>
            <a:off x="1296163" y="3548962"/>
            <a:ext cx="1637350" cy="380793"/>
          </a:xfrm>
          <a:prstGeom prst="rect">
            <a:avLst/>
          </a:prstGeom>
          <a:solidFill>
            <a:schemeClr val="tx2"/>
          </a:solidFill>
          <a:ln w="9525" cap="flat" cmpd="sng" algn="ctr">
            <a:noFill/>
            <a:prstDash val="solid"/>
          </a:ln>
          <a:effectLst/>
        </p:spPr>
        <p:txBody>
          <a:bodyPr rtlCol="0" anchor="ctr" anchorCtr="0"/>
          <a:lstStyle/>
          <a:p>
            <a:pPr marR="0" lvl="0" indent="0" algn="ctr" defTabSz="1217964" eaLnBrk="0" fontAlgn="base" hangingPunct="0">
              <a:lnSpc>
                <a:spcPct val="100000"/>
              </a:lnSpc>
              <a:spcBef>
                <a:spcPct val="0"/>
              </a:spcBef>
              <a:spcAft>
                <a:spcPct val="0"/>
              </a:spcAft>
              <a:buClrTx/>
              <a:buSzTx/>
              <a:buFontTx/>
              <a:buNone/>
              <a:tabLst/>
              <a:defRPr/>
            </a:pPr>
            <a:r>
              <a:rPr lang="en-US" sz="1300">
                <a:solidFill>
                  <a:prstClr val="white"/>
                </a:solidFill>
                <a:latin typeface="Segoe UI"/>
                <a:cs typeface="Segoe UI" panose="020B0502040204020203" pitchFamily="34" charset="0"/>
              </a:rPr>
              <a:t>Middleware</a:t>
            </a:r>
          </a:p>
        </p:txBody>
      </p:sp>
      <p:sp>
        <p:nvSpPr>
          <p:cNvPr id="54" name="Rectangle 53"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57776630-9364-48AA-AE35-25828F05067D}"/>
              </a:ext>
            </a:extLst>
          </p:cNvPr>
          <p:cNvSpPr/>
          <p:nvPr/>
        </p:nvSpPr>
        <p:spPr>
          <a:xfrm>
            <a:off x="1296163" y="4458104"/>
            <a:ext cx="1637350" cy="380793"/>
          </a:xfrm>
          <a:prstGeom prst="rect">
            <a:avLst/>
          </a:prstGeom>
          <a:solidFill>
            <a:schemeClr val="tx2"/>
          </a:solidFill>
          <a:ln w="9525" cap="flat" cmpd="sng" algn="ctr">
            <a:noFill/>
            <a:prstDash val="solid"/>
          </a:ln>
          <a:effectLst/>
        </p:spPr>
        <p:txBody>
          <a:bodyPr rtlCol="0" anchor="ctr" anchorCtr="0"/>
          <a:lstStyle/>
          <a:p>
            <a:pPr marR="0" lvl="0" indent="0" algn="ctr" defTabSz="1217964" eaLnBrk="0" fontAlgn="base" hangingPunct="0">
              <a:lnSpc>
                <a:spcPct val="100000"/>
              </a:lnSpc>
              <a:spcBef>
                <a:spcPct val="0"/>
              </a:spcBef>
              <a:spcAft>
                <a:spcPct val="0"/>
              </a:spcAft>
              <a:buClrTx/>
              <a:buSzTx/>
              <a:buFontTx/>
              <a:buNone/>
              <a:tabLst/>
              <a:defRPr/>
            </a:pPr>
            <a:r>
              <a:rPr lang="en-US" sz="1300">
                <a:solidFill>
                  <a:prstClr val="white"/>
                </a:solidFill>
                <a:latin typeface="Segoe UI"/>
                <a:cs typeface="Segoe UI" panose="020B0502040204020203" pitchFamily="34" charset="0"/>
              </a:rPr>
              <a:t>Virtualization</a:t>
            </a:r>
          </a:p>
        </p:txBody>
      </p:sp>
      <p:sp>
        <p:nvSpPr>
          <p:cNvPr id="55" name="Rectangle 54"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45CE9A64-73F0-4191-9DDE-D81703466E0F}"/>
              </a:ext>
            </a:extLst>
          </p:cNvPr>
          <p:cNvSpPr/>
          <p:nvPr/>
        </p:nvSpPr>
        <p:spPr>
          <a:xfrm>
            <a:off x="1296163" y="2639819"/>
            <a:ext cx="1637350" cy="380793"/>
          </a:xfrm>
          <a:prstGeom prst="rect">
            <a:avLst/>
          </a:prstGeom>
          <a:solidFill>
            <a:schemeClr val="tx2"/>
          </a:solidFill>
          <a:ln w="9525" cap="flat" cmpd="sng" algn="ctr">
            <a:noFill/>
            <a:prstDash val="solid"/>
          </a:ln>
          <a:effectLst/>
        </p:spPr>
        <p:txBody>
          <a:bodyPr rtlCol="0" anchor="ctr" anchorCtr="0"/>
          <a:lstStyle/>
          <a:p>
            <a:pPr marR="0" lvl="0" indent="0" algn="ctr" defTabSz="1217964" eaLnBrk="0" fontAlgn="base" hangingPunct="0">
              <a:lnSpc>
                <a:spcPct val="100000"/>
              </a:lnSpc>
              <a:spcBef>
                <a:spcPct val="0"/>
              </a:spcBef>
              <a:spcAft>
                <a:spcPct val="0"/>
              </a:spcAft>
              <a:buClrTx/>
              <a:buSzTx/>
              <a:buFontTx/>
              <a:buNone/>
              <a:tabLst/>
              <a:defRPr/>
            </a:pPr>
            <a:r>
              <a:rPr lang="en-US" sz="1300">
                <a:solidFill>
                  <a:prstClr val="white"/>
                </a:solidFill>
                <a:latin typeface="Segoe UI"/>
                <a:cs typeface="Segoe UI" panose="020B0502040204020203" pitchFamily="34" charset="0"/>
              </a:rPr>
              <a:t>Data</a:t>
            </a:r>
          </a:p>
        </p:txBody>
      </p:sp>
      <p:sp>
        <p:nvSpPr>
          <p:cNvPr id="56" name="Rectangle 55"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173592CB-CF9A-4DAF-BD20-45C07BBD5CD3}"/>
              </a:ext>
            </a:extLst>
          </p:cNvPr>
          <p:cNvSpPr/>
          <p:nvPr/>
        </p:nvSpPr>
        <p:spPr>
          <a:xfrm>
            <a:off x="1296163" y="2185246"/>
            <a:ext cx="1637350" cy="380793"/>
          </a:xfrm>
          <a:prstGeom prst="rect">
            <a:avLst/>
          </a:prstGeom>
          <a:solidFill>
            <a:schemeClr val="tx2"/>
          </a:solidFill>
          <a:ln w="9525" cap="flat" cmpd="sng" algn="ctr">
            <a:noFill/>
            <a:prstDash val="solid"/>
          </a:ln>
          <a:effectLst/>
        </p:spPr>
        <p:txBody>
          <a:bodyPr rtlCol="0" anchor="ctr" anchorCtr="0"/>
          <a:lstStyle/>
          <a:p>
            <a:pPr algn="ctr" defTabSz="1217964" eaLnBrk="0" fontAlgn="base" hangingPunct="0">
              <a:spcBef>
                <a:spcPct val="0"/>
              </a:spcBef>
              <a:spcAft>
                <a:spcPct val="0"/>
              </a:spcAft>
              <a:defRPr/>
            </a:pPr>
            <a:r>
              <a:rPr lang="en-US" sz="1300">
                <a:solidFill>
                  <a:prstClr val="white"/>
                </a:solidFill>
                <a:latin typeface="Segoe UI"/>
                <a:cs typeface="Segoe UI" panose="020B0502040204020203" pitchFamily="34" charset="0"/>
              </a:rPr>
              <a:t>Applications</a:t>
            </a:r>
          </a:p>
        </p:txBody>
      </p:sp>
      <p:sp>
        <p:nvSpPr>
          <p:cNvPr id="57" name="Rectangle 56"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850FE7C0-7F83-470A-BD62-5EC5D101CE0D}"/>
              </a:ext>
            </a:extLst>
          </p:cNvPr>
          <p:cNvSpPr/>
          <p:nvPr/>
        </p:nvSpPr>
        <p:spPr>
          <a:xfrm>
            <a:off x="1296163" y="3094392"/>
            <a:ext cx="1637350" cy="380793"/>
          </a:xfrm>
          <a:prstGeom prst="rect">
            <a:avLst/>
          </a:prstGeom>
          <a:solidFill>
            <a:schemeClr val="tx2"/>
          </a:solidFill>
          <a:ln w="9525" cap="flat" cmpd="sng" algn="ctr">
            <a:noFill/>
            <a:prstDash val="solid"/>
          </a:ln>
          <a:effectLst/>
        </p:spPr>
        <p:txBody>
          <a:bodyPr rtlCol="0" anchor="ctr" anchorCtr="0"/>
          <a:lstStyle/>
          <a:p>
            <a:pPr algn="ctr" defTabSz="1217964" eaLnBrk="0" fontAlgn="base" hangingPunct="0">
              <a:spcBef>
                <a:spcPct val="0"/>
              </a:spcBef>
              <a:spcAft>
                <a:spcPct val="0"/>
              </a:spcAft>
              <a:defRPr/>
            </a:pPr>
            <a:r>
              <a:rPr lang="en-US" sz="1300">
                <a:solidFill>
                  <a:prstClr val="white"/>
                </a:solidFill>
                <a:latin typeface="Segoe UI"/>
                <a:cs typeface="Segoe UI" panose="020B0502040204020203" pitchFamily="34" charset="0"/>
              </a:rPr>
              <a:t>Runtime</a:t>
            </a:r>
          </a:p>
        </p:txBody>
      </p:sp>
      <p:sp>
        <p:nvSpPr>
          <p:cNvPr id="58" name="Left Brace 57"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45B5EB6F-C0D3-4C45-B353-629B0F982475}"/>
              </a:ext>
            </a:extLst>
          </p:cNvPr>
          <p:cNvSpPr/>
          <p:nvPr/>
        </p:nvSpPr>
        <p:spPr>
          <a:xfrm>
            <a:off x="1047065" y="2185246"/>
            <a:ext cx="243479" cy="4017364"/>
          </a:xfrm>
          <a:prstGeom prst="leftBrace">
            <a:avLst>
              <a:gd name="adj1" fmla="val 0"/>
              <a:gd name="adj2" fmla="val 50000"/>
            </a:avLst>
          </a:prstGeom>
          <a:noFill/>
          <a:ln w="9525" cap="flat" cmpd="sng" algn="ctr">
            <a:solidFill>
              <a:sysClr val="windowText" lastClr="000000">
                <a:shade val="95000"/>
                <a:satMod val="105000"/>
              </a:sysClr>
            </a:solidFill>
            <a:prstDash val="solid"/>
          </a:ln>
          <a:effectLst/>
        </p:spPr>
        <p:txBody>
          <a:bodyPr rtlCol="0" anchor="ctr"/>
          <a:lstStyle/>
          <a:p>
            <a:pPr marL="0" marR="0" lvl="0" indent="0" algn="ctr" defTabSz="1217964" rtl="0" eaLnBrk="0" fontAlgn="base" latinLnBrk="0" hangingPunct="0">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prstClr val="black"/>
              </a:solidFill>
              <a:effectLst/>
              <a:uLnTx/>
              <a:uFillTx/>
              <a:latin typeface="Segoe UI"/>
              <a:ea typeface="Segoe UI" pitchFamily="34" charset="0"/>
              <a:cs typeface="Segoe UI" pitchFamily="34" charset="0"/>
            </a:endParaRPr>
          </a:p>
        </p:txBody>
      </p:sp>
      <p:sp>
        <p:nvSpPr>
          <p:cNvPr id="59" name="TextBox 54"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B78AD3C7-57E8-479C-AE47-A49F635534FC}"/>
              </a:ext>
            </a:extLst>
          </p:cNvPr>
          <p:cNvSpPr txBox="1"/>
          <p:nvPr/>
        </p:nvSpPr>
        <p:spPr>
          <a:xfrm rot="10800000" flipH="1">
            <a:off x="10782926" y="2294550"/>
            <a:ext cx="723275" cy="3511193"/>
          </a:xfrm>
          <a:prstGeom prst="rect">
            <a:avLst/>
          </a:prstGeom>
          <a:noFill/>
        </p:spPr>
        <p:txBody>
          <a:bodyPr vert="eaVert" wrap="square"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864" rtl="0" eaLnBrk="1" fontAlgn="base" latinLnBrk="0" hangingPunct="1">
              <a:lnSpc>
                <a:spcPct val="100000"/>
              </a:lnSpc>
              <a:spcBef>
                <a:spcPct val="0"/>
              </a:spcBef>
              <a:spcAft>
                <a:spcPct val="0"/>
              </a:spcAft>
              <a:buClrTx/>
              <a:buSzTx/>
              <a:buFontTx/>
              <a:buNone/>
              <a:tabLst/>
              <a:defRPr/>
            </a:pPr>
            <a:r>
              <a:rPr kumimoji="0" lang="en-US" sz="1750" b="0" i="0" u="none" strike="noStrike" kern="1200" cap="none" spc="0" normalizeH="0" baseline="0" noProof="0">
                <a:ln>
                  <a:noFill/>
                </a:ln>
                <a:effectLst/>
                <a:uLnTx/>
                <a:uFillTx/>
                <a:latin typeface="Segoe UI"/>
                <a:ea typeface="+mn-ea"/>
                <a:cs typeface="Segoe UI"/>
              </a:rPr>
              <a:t>Scale, resilience and </a:t>
            </a:r>
            <a:br>
              <a:rPr lang="en-US" sz="1750" b="0" i="0" u="none" strike="noStrike" kern="1200" cap="none" spc="0" normalizeH="0" baseline="0" noProof="0">
                <a:ln>
                  <a:noFill/>
                </a:ln>
                <a:effectLst/>
                <a:uLnTx/>
                <a:uFillTx/>
                <a:latin typeface="Segoe UI"/>
                <a:cs typeface="Segoe UI" panose="020B0502040204020203" pitchFamily="34" charset="0"/>
              </a:rPr>
            </a:br>
            <a:r>
              <a:rPr kumimoji="0" lang="en-US" sz="1750" b="0" i="0" u="none" strike="noStrike" kern="1200" cap="none" spc="0" normalizeH="0" baseline="0" noProof="0">
                <a:ln>
                  <a:noFill/>
                </a:ln>
                <a:effectLst/>
                <a:uLnTx/>
                <a:uFillTx/>
                <a:latin typeface="Segoe UI"/>
                <a:ea typeface="+mn-ea"/>
                <a:cs typeface="Segoe UI"/>
              </a:rPr>
              <a:t>management by vendor</a:t>
            </a:r>
            <a:endParaRPr lang="en-US" sz="1750" b="0" i="0" u="none" strike="noStrike" kern="1200" cap="none" spc="0" normalizeH="0" baseline="0" noProof="0">
              <a:ln>
                <a:noFill/>
              </a:ln>
              <a:effectLst/>
              <a:uLnTx/>
              <a:uFillTx/>
              <a:latin typeface="Segoe UI"/>
              <a:cs typeface="Segoe UI"/>
            </a:endParaRPr>
          </a:p>
        </p:txBody>
      </p:sp>
      <p:sp>
        <p:nvSpPr>
          <p:cNvPr id="60" name="Left Brace 59"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2DA31131-68D0-4C48-AF08-D37B52FEFE21}"/>
              </a:ext>
            </a:extLst>
          </p:cNvPr>
          <p:cNvSpPr/>
          <p:nvPr/>
        </p:nvSpPr>
        <p:spPr>
          <a:xfrm flipH="1">
            <a:off x="10653122" y="2176021"/>
            <a:ext cx="243479" cy="4017364"/>
          </a:xfrm>
          <a:prstGeom prst="leftBrace">
            <a:avLst>
              <a:gd name="adj1" fmla="val 0"/>
              <a:gd name="adj2" fmla="val 50000"/>
            </a:avLst>
          </a:prstGeom>
          <a:ln/>
        </p:spPr>
        <p:style>
          <a:lnRef idx="2">
            <a:schemeClr val="dk1"/>
          </a:lnRef>
          <a:fillRef idx="0">
            <a:schemeClr val="dk1"/>
          </a:fillRef>
          <a:effectRef idx="1">
            <a:schemeClr val="dk1"/>
          </a:effectRef>
          <a:fontRef idx="minor">
            <a:schemeClr val="tx1"/>
          </a:fontRef>
        </p:style>
        <p:txBody>
          <a:bodyPr rtlCol="0" anchor="ctr"/>
          <a:lstStyle/>
          <a:p>
            <a:pPr marL="0" marR="0" lvl="0" indent="0" algn="ctr" defTabSz="1217964" rtl="0" eaLnBrk="0" fontAlgn="base" latinLnBrk="0" hangingPunct="0">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61" name="Rectangle 60" descr="In this picture, we show 4 columns:&#10;- On Premisses&#10;- Infrastructure as a service&#10;- Platform as a Service &#10;- Software as a Service&#10;&#10;Bello you have the different items for each one of those topics.&#10;1) On Premisses Here you manage and scale everything (Applications, Data, Runtime, OS, Servers, Storage, etc)&#10;2) Infrastructure as a service Here you manage some items as Applications, Data, Runtime, Middleware and OS and the vendor manage others, like virtualization, servers, storage and networking&#10;3) Platform as a Service (Pizza delivered) Here you manage only Applications and Data. All the rest are managed by vendor&#10;4) Software as a Service Here everything is managed by the vendor, you just go and use the software">
            <a:extLst>
              <a:ext uri="{FF2B5EF4-FFF2-40B4-BE49-F238E27FC236}">
                <a16:creationId xmlns:a16="http://schemas.microsoft.com/office/drawing/2014/main" id="{C853264D-42AB-4475-8889-67A557E352B9}"/>
              </a:ext>
            </a:extLst>
          </p:cNvPr>
          <p:cNvSpPr/>
          <p:nvPr/>
        </p:nvSpPr>
        <p:spPr bwMode="auto">
          <a:xfrm>
            <a:off x="6230396" y="2085996"/>
            <a:ext cx="1938981" cy="1019744"/>
          </a:xfrm>
          <a:prstGeom prst="rect">
            <a:avLst/>
          </a:prstGeom>
          <a:noFill/>
          <a:ln w="50800" cap="flat" cmpd="sng" algn="ctr">
            <a:solidFill>
              <a:srgbClr val="FF000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0" fontAlgn="base" latinLnBrk="0" hangingPunct="0">
              <a:lnSpc>
                <a:spcPct val="90000"/>
              </a:lnSpc>
              <a:spcBef>
                <a:spcPct val="0"/>
              </a:spcBef>
              <a:spcAft>
                <a:spcPct val="0"/>
              </a:spcAft>
              <a:buClrTx/>
              <a:buSzTx/>
              <a:buFontTx/>
              <a:buNone/>
              <a:tabLst/>
              <a:defRPr/>
            </a:pPr>
            <a:endParaRPr kumimoji="0" lang="nl-BE"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41856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EK" val="687"/>
  <p:tag name="MIO_GUID" val="8fb68f85-347f-4c96-bcd6-aea04e9fc5f2"/>
  <p:tag name="MIO_EKGUID" val="abebb2be-48a5-4e1f-abcb-93a98ec74fa8"/>
  <p:tag name="MIO_UPDATE" val="True"/>
  <p:tag name="MIO_VERSION" val="06.09.2019 10:46:05"/>
  <p:tag name="MIO_DBID" val="12B0C59E-2253-4124-A5E9-470ADF4CB168"/>
  <p:tag name="MIO_LASTDOWNLOADED" val="30.03.2020 12:12:38"/>
  <p:tag name="MIO_OBJECTNAME" val="Rows alternating"/>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 val="687"/>
  <p:tag name="MIO_GUID" val="8fb68f85-347f-4c96-bcd6-aea04e9fc5f2"/>
  <p:tag name="MIO_EKGUID" val="abebb2be-48a5-4e1f-abcb-93a98ec74fa8"/>
  <p:tag name="MIO_UPDATE" val="True"/>
  <p:tag name="MIO_VERSION" val="06.09.2019 10:46:05"/>
  <p:tag name="MIO_DBID" val="12B0C59E-2253-4124-A5E9-470ADF4CB168"/>
  <p:tag name="MIO_LASTDOWNLOADED" val="30.03.2020 12:14:43"/>
  <p:tag name="MIO_OBJECTNAME" val="Rows alternating"/>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xml><?xml version="1.0" encoding="utf-8"?>
<p:tagLst xmlns:a="http://schemas.openxmlformats.org/drawingml/2006/main" xmlns:r="http://schemas.openxmlformats.org/officeDocument/2006/relationships" xmlns:p="http://schemas.openxmlformats.org/presentationml/2006/main">
  <p:tag name="MIO_EK" val="687"/>
  <p:tag name="MIO_GUID" val="8fb68f85-347f-4c96-bcd6-aea04e9fc5f2"/>
  <p:tag name="MIO_EKGUID" val="abebb2be-48a5-4e1f-abcb-93a98ec74fa8"/>
  <p:tag name="MIO_UPDATE" val="True"/>
  <p:tag name="MIO_VERSION" val="06.09.2019 10:46:05"/>
  <p:tag name="MIO_DBID" val="12B0C59E-2253-4124-A5E9-470ADF4CB168"/>
  <p:tag name="MIO_LASTDOWNLOADED" val="30.03.2020 12:23:19"/>
  <p:tag name="MIO_OBJECTNAME" val="Rows alternating"/>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0</_ip_UnifiedCompliancePolicyUIAction>
    <_ip_UnifiedCompliancePolicyProperties xmlns="http://schemas.microsoft.com/sharepoint/v3">{"__type":"ComplianceItemProperties:#Microsoft.Office.CompliancePolicy.ComplianceData","LastPolicyEvaluatedTimeUtc":"2020-04-30T20:06:08.5536082Z","Rules":{"0c7fbd91-e10c-46cd-b2e3-5bcaeda0676a":{"Actions":{"TagShowPolicyTip":{"ActionName":"TagShowPolicyTip","CodeVersion":"1.0.3.0","LastAppliedTimeUTC":"2020-04-30T20:06:07.2879724Z","Properties":null,"RuleVersion":"0"},"NotifyUser":{"ActionName":"NotifyUser","CodeVersion":"1.0.3.0","LastAppliedTimeUTC":"2020-04-30T20:06:07.2879724Z","Properties":null,"RuleVersion":"0"},"GenerateIncidentReport":{"ActionName":"GenerateIncidentReport","CodeVersion":"1.0.2.0","LastAppliedTimeUTC":"2020-04-30T20:06:08.5223568Z","Properties":null,"RuleVersion":"0"},"TagReporting":{"ActionName":"TagReporting","CodeVersion":"1.00.0002.000","LastAppliedTimeUTC":"2020-04-30T20:06:08.5536082Z","Properties":{},"RuleVersion":"0"}},"Properties":{},"RuleId":"0c7fbd91-e10c-46cd-b2e3-5bcaeda0676a","Scenario":0}},"UniqueId":"b5d10f51-da07-45b6-a24f-694038b9d5f5"}</_ip_UnifiedCompliancePolicyProperties>
    <MediaServiceKeyPoints xmlns="0b15a96f-9efd-4f0c-b199-c53b2a01cb9d" xsi:nil="true"/>
    <_Flow_SignoffStatus xmlns="0b15a96f-9efd-4f0c-b199-c53b2a01cb9d" xsi:nil="true"/>
  </documentManagement>
</p:properties>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4" ma:contentTypeDescription="Create a new document." ma:contentTypeScope="" ma:versionID="1df681d697d8aac7f77a088f07a7b417">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5129d515aaa5dedb4e6d2d94ccbda6ba"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_Flow_SignoffStatus" ma:index="21"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75C05EC8-D295-4080-807A-6EA8C339A657}">
  <ds:schemaRefs>
    <ds:schemaRef ds:uri="Strauss.PersonalizationDefinition"/>
  </ds:schemaRefs>
</ds:datastoreItem>
</file>

<file path=customXml/itemProps10.xml><?xml version="1.0" encoding="utf-8"?>
<ds:datastoreItem xmlns:ds="http://schemas.openxmlformats.org/officeDocument/2006/customXml" ds:itemID="{AFC6EFE8-0803-4EAD-85CB-9584F7E56AB1}">
  <ds:schemaRefs>
    <ds:schemaRef ds:uri="Strauss.PersonalizationDefinition"/>
  </ds:schemaRefs>
</ds:datastoreItem>
</file>

<file path=customXml/itemProps11.xml><?xml version="1.0" encoding="utf-8"?>
<ds:datastoreItem xmlns:ds="http://schemas.openxmlformats.org/officeDocument/2006/customXml" ds:itemID="{993A5BF1-7D62-46F4-96ED-121737ABC015}">
  <ds:schemaRefs>
    <ds:schemaRef ds:uri="0b15a96f-9efd-4f0c-b199-c53b2a01cb9d"/>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EBCC33FC-94BB-4B1D-A4C6-D2E6A3A4B1FD}">
  <ds:schemaRefs>
    <ds:schemaRef ds:uri="Strauss.PersonalizationDefinition"/>
  </ds:schemaRefs>
</ds:datastoreItem>
</file>

<file path=customXml/itemProps3.xml><?xml version="1.0" encoding="utf-8"?>
<ds:datastoreItem xmlns:ds="http://schemas.openxmlformats.org/officeDocument/2006/customXml" ds:itemID="{9CFE9A22-C3CB-45B7-B365-FE59FD6BB66B}">
  <ds:schemaRefs>
    <ds:schemaRef ds:uri="Strauss.PersonalizationDefinition"/>
  </ds:schemaRefs>
</ds:datastoreItem>
</file>

<file path=customXml/itemProps4.xml><?xml version="1.0" encoding="utf-8"?>
<ds:datastoreItem xmlns:ds="http://schemas.openxmlformats.org/officeDocument/2006/customXml" ds:itemID="{8C813AD3-4323-4935-9B1F-5249375C68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A3D745BE-9CEC-4023-A6D3-C6C7407C7839}">
  <ds:schemaRefs>
    <ds:schemaRef ds:uri="http://schemas.microsoft.com/sharepoint/v3/contenttype/forms"/>
  </ds:schemaRefs>
</ds:datastoreItem>
</file>

<file path=customXml/itemProps6.xml><?xml version="1.0" encoding="utf-8"?>
<ds:datastoreItem xmlns:ds="http://schemas.openxmlformats.org/officeDocument/2006/customXml" ds:itemID="{9EEC7FED-AC7D-45C9-8F29-C2C8A7233C3D}">
  <ds:schemaRefs>
    <ds:schemaRef ds:uri="Strauss.PersonalizationDefinition"/>
  </ds:schemaRefs>
</ds:datastoreItem>
</file>

<file path=customXml/itemProps7.xml><?xml version="1.0" encoding="utf-8"?>
<ds:datastoreItem xmlns:ds="http://schemas.openxmlformats.org/officeDocument/2006/customXml" ds:itemID="{CD086AF5-CCD3-41C8-B98A-2B159789D38E}">
  <ds:schemaRefs>
    <ds:schemaRef ds:uri="Strauss.PersonalizationDefinition"/>
  </ds:schemaRefs>
</ds:datastoreItem>
</file>

<file path=customXml/itemProps8.xml><?xml version="1.0" encoding="utf-8"?>
<ds:datastoreItem xmlns:ds="http://schemas.openxmlformats.org/officeDocument/2006/customXml" ds:itemID="{7C42A160-080E-4178-8FDB-B5422D4D778A}">
  <ds:schemaRefs>
    <ds:schemaRef ds:uri="Strauss.PersonalizationDefinition"/>
  </ds:schemaRefs>
</ds:datastoreItem>
</file>

<file path=customXml/itemProps9.xml><?xml version="1.0" encoding="utf-8"?>
<ds:datastoreItem xmlns:ds="http://schemas.openxmlformats.org/officeDocument/2006/customXml" ds:itemID="{FA9A642D-03F3-4918-8DE5-5900BE4EC2E4}">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219</TotalTime>
  <Words>19815</Words>
  <Application>Microsoft Office PowerPoint</Application>
  <PresentationFormat>Widescreen</PresentationFormat>
  <Paragraphs>2092</Paragraphs>
  <Slides>83</Slides>
  <Notes>78</Notes>
  <HiddenSlides>27</HiddenSlides>
  <MMClips>1</MMClips>
  <ScaleCrop>false</ScaleCrop>
  <HeadingPairs>
    <vt:vector size="6" baseType="variant">
      <vt:variant>
        <vt:lpstr>Fonts Used</vt:lpstr>
      </vt:variant>
      <vt:variant>
        <vt:i4>15</vt:i4>
      </vt:variant>
      <vt:variant>
        <vt:lpstr>Theme</vt:lpstr>
      </vt:variant>
      <vt:variant>
        <vt:i4>1</vt:i4>
      </vt:variant>
      <vt:variant>
        <vt:lpstr>Slide Titles</vt:lpstr>
      </vt:variant>
      <vt:variant>
        <vt:i4>83</vt:i4>
      </vt:variant>
    </vt:vector>
  </HeadingPairs>
  <TitlesOfParts>
    <vt:vector size="99" baseType="lpstr">
      <vt:lpstr>Arial</vt:lpstr>
      <vt:lpstr>Calibri</vt:lpstr>
      <vt:lpstr>Calibri Light</vt:lpstr>
      <vt:lpstr>Cambria</vt:lpstr>
      <vt:lpstr>Comic Sans MS</vt:lpstr>
      <vt:lpstr>Consolas</vt:lpstr>
      <vt:lpstr>Segoe UI</vt:lpstr>
      <vt:lpstr>Segoe UI  </vt:lpstr>
      <vt:lpstr>Segoe UI Light</vt:lpstr>
      <vt:lpstr>Segoe UI Light (Headings)</vt:lpstr>
      <vt:lpstr>Segoe UI Semibold</vt:lpstr>
      <vt:lpstr>Segoe UI Semilight</vt:lpstr>
      <vt:lpstr>Swis721 Mio</vt:lpstr>
      <vt:lpstr>Times New Roman</vt:lpstr>
      <vt:lpstr>Wingdings</vt:lpstr>
      <vt:lpstr>Dark Blue</vt:lpstr>
      <vt:lpstr>Introduction to Azure SQL Database</vt:lpstr>
      <vt:lpstr>PowerPoint Presentation</vt:lpstr>
      <vt:lpstr>Learning Units covered in this Module</vt:lpstr>
      <vt:lpstr>Lesson 1: Basic concepts of Azure SQL Database</vt:lpstr>
      <vt:lpstr>Objectives</vt:lpstr>
      <vt:lpstr>What is Microsoft Azure?</vt:lpstr>
      <vt:lpstr>What is Microsoft Azure?</vt:lpstr>
      <vt:lpstr>Benefits of Cloud Computing</vt:lpstr>
      <vt:lpstr>Database as a Service </vt:lpstr>
      <vt:lpstr>Hosting Models</vt:lpstr>
      <vt:lpstr>Data platform continuum</vt:lpstr>
      <vt:lpstr>Azure SQL has come a long way</vt:lpstr>
      <vt:lpstr>PowerPoint Presentation</vt:lpstr>
      <vt:lpstr>Azure SQL Database Architecture</vt:lpstr>
      <vt:lpstr>What are my options?</vt:lpstr>
      <vt:lpstr>A closer look… Best for</vt:lpstr>
      <vt:lpstr>Azure SQL PaaS deployment options</vt:lpstr>
      <vt:lpstr>Azure SQL Database Purchasing models and resources</vt:lpstr>
      <vt:lpstr>Purchasing models available for Azure SQL Database deployment:</vt:lpstr>
      <vt:lpstr>Overview Service Tiers </vt:lpstr>
      <vt:lpstr>Demonstration</vt:lpstr>
      <vt:lpstr>Database Transaction Units (DTUs)</vt:lpstr>
      <vt:lpstr>DTU-based model: Service Tiers </vt:lpstr>
      <vt:lpstr>vCore-based purchasing model: Provisioned compute tier </vt:lpstr>
      <vt:lpstr>vCore-based purchasing model: Provisioned compute tier </vt:lpstr>
      <vt:lpstr>     General Purpose </vt:lpstr>
      <vt:lpstr>      Business Critical</vt:lpstr>
      <vt:lpstr>     Hyperscale</vt:lpstr>
      <vt:lpstr>Choose from vCore hardware generations</vt:lpstr>
      <vt:lpstr>vCore-based purchasing model: Serverless compute tier</vt:lpstr>
      <vt:lpstr>Provisioned compute and serverless meet different needs</vt:lpstr>
      <vt:lpstr>Serverless price to performance with per-second billing </vt:lpstr>
      <vt:lpstr>What is Azure SQL Database Hyperscale?</vt:lpstr>
      <vt:lpstr>Hyperscale is the foundation for massive app growth</vt:lpstr>
      <vt:lpstr>Hyperscale components</vt:lpstr>
      <vt:lpstr>Hyperscale architecture</vt:lpstr>
      <vt:lpstr>Hyperscale architecture </vt:lpstr>
      <vt:lpstr>Write IO</vt:lpstr>
      <vt:lpstr>Read IO</vt:lpstr>
      <vt:lpstr>Pay only for what you need</vt:lpstr>
      <vt:lpstr>Identify the right Azure SQL Database/MI SKU for your on-premises database (I/II)</vt:lpstr>
      <vt:lpstr>Identify the right Azure SQL Database/MI SKU for your on-premises database (II/II)</vt:lpstr>
      <vt:lpstr>Questions?</vt:lpstr>
      <vt:lpstr>Knowledge Check</vt:lpstr>
      <vt:lpstr>Lesson 2: How to create Azure SQL Database</vt:lpstr>
      <vt:lpstr>Objectives</vt:lpstr>
      <vt:lpstr>Azure SQL Database Server is not a machine... </vt:lpstr>
      <vt:lpstr>Server Provisioning</vt:lpstr>
      <vt:lpstr>Azure SQL Database Firewall</vt:lpstr>
      <vt:lpstr>Create the database</vt:lpstr>
      <vt:lpstr>Demonstration</vt:lpstr>
      <vt:lpstr>Create an Azure SQL Database</vt:lpstr>
      <vt:lpstr>Questions?</vt:lpstr>
      <vt:lpstr>Knowledge Check</vt:lpstr>
      <vt:lpstr>Lesson 3: Introduction to Elastic Database Pools in Azure SQL Database</vt:lpstr>
      <vt:lpstr>Objectives</vt:lpstr>
      <vt:lpstr>What is an Azure SQL elastic pool?</vt:lpstr>
      <vt:lpstr>What is an Azure SQL elastic pool?</vt:lpstr>
      <vt:lpstr>DTU-based Elastic Pool service tiers</vt:lpstr>
      <vt:lpstr>vCore-based Elastic Pool service tiers - General Purpose</vt:lpstr>
      <vt:lpstr>vCore-based Elastic Pool service tiers - Business Critical</vt:lpstr>
      <vt:lpstr>When to consider a pool?</vt:lpstr>
      <vt:lpstr>Rules of Thumb</vt:lpstr>
      <vt:lpstr>Impact of changing service tier or rescaling compute size</vt:lpstr>
      <vt:lpstr>Sizing an Elastic Pool</vt:lpstr>
      <vt:lpstr>Change elastic pool storage size</vt:lpstr>
      <vt:lpstr>Demonstration</vt:lpstr>
      <vt:lpstr>Questions?</vt:lpstr>
      <vt:lpstr>Knowledge Check</vt:lpstr>
      <vt:lpstr>Lesson 4: The difference between SQL Server IaaS and PaaS Solutions</vt:lpstr>
      <vt:lpstr>Objectives</vt:lpstr>
      <vt:lpstr>Data platform continuum</vt:lpstr>
      <vt:lpstr>A closer look… Best for</vt:lpstr>
      <vt:lpstr>Azure SQL Database developer’s intelligent cloud database service</vt:lpstr>
      <vt:lpstr>Azure SQL Database — Everything built-in</vt:lpstr>
      <vt:lpstr>Azure SQL Database —   Everything built in</vt:lpstr>
      <vt:lpstr>Total Application Cost</vt:lpstr>
      <vt:lpstr>A hybrid Journey to the Cloud</vt:lpstr>
      <vt:lpstr>Azure Hybrid Benefit for SQL Server</vt:lpstr>
      <vt:lpstr>Questions?</vt:lpstr>
      <vt:lpstr>Knowledge Check</vt:lpstr>
      <vt:lpstr>Module 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Azure SQL Database</dc:title>
  <dc:creator>Renata Festa</dc:creator>
  <cp:lastModifiedBy>John Deardurff</cp:lastModifiedBy>
  <cp:revision>26</cp:revision>
  <dcterms:created xsi:type="dcterms:W3CDTF">2020-03-23T21:04:08Z</dcterms:created>
  <dcterms:modified xsi:type="dcterms:W3CDTF">2022-02-07T15:0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ies>
</file>